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tags/tag29.xml" ContentType="application/vnd.openxmlformats-officedocument.presentationml.tags+xml"/>
  <Override PartName="/ppt/notesSlides/notesSlide24.xml" ContentType="application/vnd.openxmlformats-officedocument.presentationml.notesSlide+xml"/>
  <Override PartName="/ppt/tags/tag30.xml" ContentType="application/vnd.openxmlformats-officedocument.presentationml.tags+xml"/>
  <Override PartName="/ppt/notesSlides/notesSlide25.xml" ContentType="application/vnd.openxmlformats-officedocument.presentationml.notesSlide+xml"/>
  <Override PartName="/ppt/tags/tag3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handoutMasterIdLst>
    <p:handoutMasterId r:id="rId33"/>
  </p:handoutMasterIdLst>
  <p:sldIdLst>
    <p:sldId id="4747" r:id="rId2"/>
    <p:sldId id="4746" r:id="rId3"/>
    <p:sldId id="1253" r:id="rId4"/>
    <p:sldId id="1284" r:id="rId5"/>
    <p:sldId id="4749" r:id="rId6"/>
    <p:sldId id="1255" r:id="rId7"/>
    <p:sldId id="4738" r:id="rId8"/>
    <p:sldId id="4750" r:id="rId9"/>
    <p:sldId id="4739" r:id="rId10"/>
    <p:sldId id="4752" r:id="rId11"/>
    <p:sldId id="4748" r:id="rId12"/>
    <p:sldId id="4740" r:id="rId13"/>
    <p:sldId id="1239" r:id="rId14"/>
    <p:sldId id="393" r:id="rId15"/>
    <p:sldId id="1271" r:id="rId16"/>
    <p:sldId id="377" r:id="rId17"/>
    <p:sldId id="1246" r:id="rId18"/>
    <p:sldId id="1268" r:id="rId19"/>
    <p:sldId id="1267" r:id="rId20"/>
    <p:sldId id="353" r:id="rId21"/>
    <p:sldId id="406" r:id="rId22"/>
    <p:sldId id="4751" r:id="rId23"/>
    <p:sldId id="4753" r:id="rId24"/>
    <p:sldId id="1279" r:id="rId25"/>
    <p:sldId id="4754" r:id="rId26"/>
    <p:sldId id="259" r:id="rId27"/>
    <p:sldId id="261" r:id="rId28"/>
    <p:sldId id="4742" r:id="rId29"/>
    <p:sldId id="4755" r:id="rId30"/>
    <p:sldId id="4743" r:id="rId31"/>
  </p:sldIdLst>
  <p:sldSz cx="12192000" cy="6858000"/>
  <p:notesSz cx="6858000" cy="9926638"/>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na Zempili (GR)" initials="EZ(" lastIdx="2" clrIdx="0">
    <p:extLst>
      <p:ext uri="{19B8F6BF-5375-455C-9EA6-DF929625EA0E}">
        <p15:presenceInfo xmlns:p15="http://schemas.microsoft.com/office/powerpoint/2012/main" userId="S::elina.zempili@pwc.com::4d5954be-e10a-47cc-a22b-c43612a58be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013476"/>
    <a:srgbClr val="D9D9D9"/>
    <a:srgbClr val="9D90A0"/>
    <a:srgbClr val="4A66AC"/>
    <a:srgbClr val="072C62"/>
    <a:srgbClr val="242852"/>
    <a:srgbClr val="297FD5"/>
    <a:srgbClr val="7F8FA9"/>
    <a:srgbClr val="85B2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17" autoAdjust="0"/>
    <p:restoredTop sz="95116" autoAdjust="0"/>
  </p:normalViewPr>
  <p:slideViewPr>
    <p:cSldViewPr snapToGrid="0">
      <p:cViewPr varScale="1">
        <p:scale>
          <a:sx n="83" d="100"/>
          <a:sy n="83" d="100"/>
        </p:scale>
        <p:origin x="629" y="72"/>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64" d="100"/>
          <a:sy n="64" d="100"/>
        </p:scale>
        <p:origin x="-2544" y="-72"/>
      </p:cViewPr>
      <p:guideLst>
        <p:guide orient="horz" pos="3127"/>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6332"/>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sz="quarter" idx="1"/>
          </p:nvPr>
        </p:nvSpPr>
        <p:spPr>
          <a:xfrm>
            <a:off x="3884613" y="0"/>
            <a:ext cx="2971800" cy="496332"/>
          </a:xfrm>
          <a:prstGeom prst="rect">
            <a:avLst/>
          </a:prstGeom>
        </p:spPr>
        <p:txBody>
          <a:bodyPr vert="horz" lIns="91440" tIns="45720" rIns="91440" bIns="45720" rtlCol="0"/>
          <a:lstStyle>
            <a:lvl1pPr algn="r">
              <a:defRPr sz="1200"/>
            </a:lvl1pPr>
          </a:lstStyle>
          <a:p>
            <a:fld id="{B99DAEA4-6EE6-4310-BA09-D44CC378EECF}" type="datetimeFigureOut">
              <a:rPr lang="el-GR" smtClean="0"/>
              <a:pPr/>
              <a:t>7/7/2022</a:t>
            </a:fld>
            <a:endParaRPr lang="el-GR"/>
          </a:p>
        </p:txBody>
      </p:sp>
      <p:sp>
        <p:nvSpPr>
          <p:cNvPr id="4" name="Footer Placeholder 3"/>
          <p:cNvSpPr>
            <a:spLocks noGrp="1"/>
          </p:cNvSpPr>
          <p:nvPr>
            <p:ph type="ftr" sz="quarter" idx="2"/>
          </p:nvPr>
        </p:nvSpPr>
        <p:spPr>
          <a:xfrm>
            <a:off x="0" y="9428583"/>
            <a:ext cx="2971800" cy="496332"/>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p:cNvSpPr>
            <a:spLocks noGrp="1"/>
          </p:cNvSpPr>
          <p:nvPr>
            <p:ph type="sldNum" sz="quarter" idx="3"/>
          </p:nvPr>
        </p:nvSpPr>
        <p:spPr>
          <a:xfrm>
            <a:off x="3884613" y="9428583"/>
            <a:ext cx="2971800" cy="496332"/>
          </a:xfrm>
          <a:prstGeom prst="rect">
            <a:avLst/>
          </a:prstGeom>
        </p:spPr>
        <p:txBody>
          <a:bodyPr vert="horz" lIns="91440" tIns="45720" rIns="91440" bIns="45720" rtlCol="0" anchor="b"/>
          <a:lstStyle>
            <a:lvl1pPr algn="r">
              <a:defRPr sz="1200"/>
            </a:lvl1pPr>
          </a:lstStyle>
          <a:p>
            <a:fld id="{7F8333AD-C887-437E-A95E-2EA0E34DAAF8}" type="slidenum">
              <a:rPr lang="el-GR" smtClean="0"/>
              <a:pPr/>
              <a:t>‹#›</a:t>
            </a:fld>
            <a:endParaRPr lang="el-GR"/>
          </a:p>
        </p:txBody>
      </p:sp>
    </p:spTree>
    <p:extLst>
      <p:ext uri="{BB962C8B-B14F-4D97-AF65-F5344CB8AC3E}">
        <p14:creationId xmlns:p14="http://schemas.microsoft.com/office/powerpoint/2010/main" val="30330706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E27361A4-19E4-4DC0-A8EF-B5C5544A5937}" type="datetimeFigureOut">
              <a:rPr lang="en-GB" smtClean="0"/>
              <a:pPr/>
              <a:t>07/07/2022</a:t>
            </a:fld>
            <a:endParaRPr lang="en-GB"/>
          </a:p>
        </p:txBody>
      </p:sp>
      <p:sp>
        <p:nvSpPr>
          <p:cNvPr id="4" name="Slide Image Placehold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77CF8C31-C0A2-4F6F-B75A-6CC4FAA7F1C1}" type="slidenum">
              <a:rPr lang="en-GB" smtClean="0"/>
              <a:pPr/>
              <a:t>‹#›</a:t>
            </a:fld>
            <a:endParaRPr lang="en-GB"/>
          </a:p>
        </p:txBody>
      </p:sp>
    </p:spTree>
    <p:extLst>
      <p:ext uri="{BB962C8B-B14F-4D97-AF65-F5344CB8AC3E}">
        <p14:creationId xmlns:p14="http://schemas.microsoft.com/office/powerpoint/2010/main" val="24490112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1241425"/>
            <a:ext cx="5953125" cy="3349625"/>
          </a:xfrm>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F8410D24-7A1B-4617-972B-A3FD426D7952}" type="slidenum">
              <a:rPr lang="el-GR" smtClean="0"/>
              <a:pPr/>
              <a:t>1</a:t>
            </a:fld>
            <a:endParaRPr lang="el-GR"/>
          </a:p>
        </p:txBody>
      </p:sp>
    </p:spTree>
    <p:extLst>
      <p:ext uri="{BB962C8B-B14F-4D97-AF65-F5344CB8AC3E}">
        <p14:creationId xmlns:p14="http://schemas.microsoft.com/office/powerpoint/2010/main" val="2563983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60"/>
        <p:cNvGrpSpPr/>
        <p:nvPr/>
      </p:nvGrpSpPr>
      <p:grpSpPr>
        <a:xfrm>
          <a:off x="0" y="0"/>
          <a:ext cx="0" cy="0"/>
          <a:chOff x="0" y="0"/>
          <a:chExt cx="0" cy="0"/>
        </a:xfrm>
      </p:grpSpPr>
      <p:sp>
        <p:nvSpPr>
          <p:cNvPr id="2861" name="Google Shape;2861;p50:notes"/>
          <p:cNvSpPr>
            <a:spLocks noGrp="1" noRot="1" noChangeAspect="1"/>
          </p:cNvSpPr>
          <p:nvPr>
            <p:ph type="sldImg" idx="2"/>
          </p:nvPr>
        </p:nvSpPr>
        <p:spPr>
          <a:xfrm>
            <a:off x="-560388" y="877888"/>
            <a:ext cx="7797801" cy="43862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62" name="Google Shape;2862;p50:notes"/>
          <p:cNvSpPr txBox="1">
            <a:spLocks noGrp="1"/>
          </p:cNvSpPr>
          <p:nvPr>
            <p:ph type="body" idx="1"/>
          </p:nvPr>
        </p:nvSpPr>
        <p:spPr>
          <a:xfrm>
            <a:off x="679768" y="4715153"/>
            <a:ext cx="5438140" cy="4466987"/>
          </a:xfrm>
          <a:prstGeom prst="rect">
            <a:avLst/>
          </a:prstGeom>
          <a:noFill/>
          <a:ln>
            <a:noFill/>
          </a:ln>
        </p:spPr>
        <p:txBody>
          <a:bodyPr spcFirstLastPara="1" wrap="square" lIns="96650" tIns="48325" rIns="96650" bIns="48325" anchor="t" anchorCtr="0">
            <a:noAutofit/>
          </a:bodyPr>
          <a:lstStyle/>
          <a:p>
            <a:pPr>
              <a:buFont typeface="Wingdings" panose="05000000000000000000" pitchFamily="2" charset="2"/>
              <a:buChar char="ü"/>
            </a:pPr>
            <a:r>
              <a:rPr lang="el-GR" sz="1200" dirty="0"/>
              <a:t>Προσέγγιση “από πάνω προς τα κάτω”, </a:t>
            </a:r>
            <a:r>
              <a:rPr lang="en-US" sz="1200" dirty="0"/>
              <a:t>top</a:t>
            </a:r>
            <a:r>
              <a:rPr lang="el-GR" sz="1200" dirty="0"/>
              <a:t>-</a:t>
            </a:r>
            <a:r>
              <a:rPr lang="en-US" sz="1200" dirty="0"/>
              <a:t>down approach</a:t>
            </a:r>
            <a:endParaRPr lang="el-GR" sz="1200" dirty="0"/>
          </a:p>
          <a:p>
            <a:pPr>
              <a:buFont typeface="Wingdings" panose="05000000000000000000" pitchFamily="2" charset="2"/>
              <a:buChar char="ü"/>
            </a:pPr>
            <a:r>
              <a:rPr lang="el-GR" sz="1200" dirty="0"/>
              <a:t>Προσέγγιση «από κάτω προς τα πάνω», </a:t>
            </a:r>
            <a:r>
              <a:rPr lang="en-US" sz="1200" dirty="0"/>
              <a:t>bottom</a:t>
            </a:r>
            <a:r>
              <a:rPr lang="el-GR" sz="1200" dirty="0"/>
              <a:t>-</a:t>
            </a:r>
            <a:r>
              <a:rPr lang="en-US" sz="1200" dirty="0"/>
              <a:t>up approach</a:t>
            </a:r>
            <a:endParaRPr lang="el-GR" sz="1200" dirty="0"/>
          </a:p>
          <a:p>
            <a:pPr>
              <a:buFont typeface="Wingdings" panose="05000000000000000000" pitchFamily="2" charset="2"/>
              <a:buChar char="ü"/>
            </a:pPr>
            <a:r>
              <a:rPr lang="el-GR" sz="1200" dirty="0"/>
              <a:t>Ενσωμάτωση νέων δομών πολυμερούς οικονομικής διπλωματίας και δημόσιας διπλωματίας στο ΥΠΕΞ =&gt; Ανάγκη για συνεννόηση και </a:t>
            </a:r>
            <a:r>
              <a:rPr lang="el-GR" sz="1200" dirty="0" err="1"/>
              <a:t>διάδραση</a:t>
            </a:r>
            <a:r>
              <a:rPr lang="el-GR" sz="1200" dirty="0"/>
              <a:t> μεταξύ όλων των Δομών και των Σχεδίων  ώστε να δίνουν ενιαία συνεκτική κατεύθυνση </a:t>
            </a:r>
          </a:p>
          <a:p>
            <a:pPr>
              <a:buFont typeface="Wingdings" panose="05000000000000000000" pitchFamily="2" charset="2"/>
              <a:buChar char="ü"/>
            </a:pPr>
            <a:r>
              <a:rPr lang="el-GR" sz="1200" dirty="0"/>
              <a:t>Παρακολούθηση και ενσωμάτωση στοιχείων του Ετήσιου Σχεδίου Δράσης ΥΠΕΞ (Επιτελικό Κράτος) και του Εθνικού Στρατηγικού Σχεδίου Εξωστρέφειας.  </a:t>
            </a:r>
          </a:p>
          <a:p>
            <a:pPr>
              <a:buFont typeface="Wingdings" panose="05000000000000000000" pitchFamily="2" charset="2"/>
              <a:buChar char="ü"/>
            </a:pPr>
            <a:r>
              <a:rPr lang="el-GR" sz="1200" dirty="0"/>
              <a:t>Συμπερίληψη στο Επιχειρησιακό Σχέδιο δράσης για εκπόνηση Στρατηγικής Δημόσιας Διπλωματίας</a:t>
            </a:r>
            <a:endParaRPr lang="en-GB" sz="1200" dirty="0"/>
          </a:p>
          <a:p>
            <a:pPr>
              <a:buFont typeface="Wingdings" panose="05000000000000000000" pitchFamily="2" charset="2"/>
              <a:buChar char="ü"/>
            </a:pPr>
            <a:r>
              <a:rPr lang="el-GR" sz="1200" dirty="0"/>
              <a:t>Ανατροφοδότηση από Γεν. Διευθύνσεις και Διευθύνσεις  - Ενσωμάτωση αλλαγών που αξιολογήθηκαν ως σημαντικές στη διαδικασία κατάρτισης – παρακολούθησης ΣΕΣ </a:t>
            </a:r>
            <a:endParaRPr lang="en-GB" sz="1200" dirty="0"/>
          </a:p>
          <a:p>
            <a:pPr>
              <a:buFont typeface="Wingdings" panose="05000000000000000000" pitchFamily="2" charset="2"/>
              <a:buChar char="ü"/>
            </a:pPr>
            <a:r>
              <a:rPr lang="el-GR" sz="1200" dirty="0" err="1"/>
              <a:t>Επαναδιατύπωση</a:t>
            </a:r>
            <a:r>
              <a:rPr lang="el-GR" sz="1200" dirty="0"/>
              <a:t> Στόχων, στις περιπτώσεις που κρίθηκε αναγκαίο, ώστε να είναι σαφείς, περιεκτικοί, αντιπροσωπευτικοί, υλοποιήσιμοι και ευρέως αποδεκτοί (ιδιοκτησία όλων, “</a:t>
            </a:r>
            <a:r>
              <a:rPr lang="en-US" sz="1200" dirty="0"/>
              <a:t>ownership</a:t>
            </a:r>
            <a:r>
              <a:rPr lang="el-GR" sz="1200" dirty="0"/>
              <a:t>”).</a:t>
            </a:r>
          </a:p>
          <a:p>
            <a:pPr>
              <a:buFont typeface="Wingdings" panose="05000000000000000000" pitchFamily="2" charset="2"/>
              <a:buChar char="ü"/>
            </a:pPr>
            <a:r>
              <a:rPr lang="el-GR" sz="1200" dirty="0"/>
              <a:t>Υλοποίηση Στόχων μέσω δράσεων</a:t>
            </a:r>
          </a:p>
          <a:p>
            <a:pPr>
              <a:buFont typeface="Wingdings" panose="05000000000000000000" pitchFamily="2" charset="2"/>
              <a:buChar char="ü"/>
            </a:pPr>
            <a:r>
              <a:rPr lang="el-GR" sz="1200" dirty="0">
                <a:latin typeface="Calibri" panose="020F0502020204030204" pitchFamily="34" charset="0"/>
                <a:cs typeface="Calibri" panose="020F0502020204030204" pitchFamily="34" charset="0"/>
              </a:rPr>
              <a:t>Σύνδεση των στόχων και των δράσεων επίτευξής τους με τους πόρους  (ανθρώπινους, χρηματικούς, υλικοτεχνικός εξοπλισμός και υποδομές) σε δεύτερο χρόνο.</a:t>
            </a:r>
            <a:endParaRPr lang="en-GB" sz="1200" dirty="0">
              <a:latin typeface="Calibri" panose="020F0502020204030204" pitchFamily="34" charset="0"/>
              <a:cs typeface="Calibri" panose="020F0502020204030204" pitchFamily="34" charset="0"/>
            </a:endParaRPr>
          </a:p>
          <a:p>
            <a:pPr marL="152400" lvl="0" indent="0" algn="l" rtl="0">
              <a:lnSpc>
                <a:spcPct val="100000"/>
              </a:lnSpc>
              <a:spcBef>
                <a:spcPts val="0"/>
              </a:spcBef>
              <a:spcAft>
                <a:spcPts val="0"/>
              </a:spcAft>
              <a:buSzPts val="1200"/>
              <a:buNone/>
            </a:pPr>
            <a:endParaRPr dirty="0"/>
          </a:p>
        </p:txBody>
      </p:sp>
      <p:sp>
        <p:nvSpPr>
          <p:cNvPr id="2863" name="Google Shape;2863;p50:notes"/>
          <p:cNvSpPr txBox="1">
            <a:spLocks noGrp="1"/>
          </p:cNvSpPr>
          <p:nvPr>
            <p:ph type="sldNum" idx="12"/>
          </p:nvPr>
        </p:nvSpPr>
        <p:spPr>
          <a:xfrm>
            <a:off x="3850443" y="9428584"/>
            <a:ext cx="2945659" cy="496332"/>
          </a:xfrm>
          <a:prstGeom prst="rect">
            <a:avLst/>
          </a:prstGeom>
          <a:noFill/>
          <a:ln>
            <a:noFill/>
          </a:ln>
        </p:spPr>
        <p:txBody>
          <a:bodyPr spcFirstLastPara="1" wrap="square" lIns="96650" tIns="48325" rIns="96650" bIns="48325"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10</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8678153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1241425"/>
            <a:ext cx="5953125" cy="3349625"/>
          </a:xfrm>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F8410D24-7A1B-4617-972B-A3FD426D7952}" type="slidenum">
              <a:rPr lang="el-GR" smtClean="0"/>
              <a:pPr/>
              <a:t>11</a:t>
            </a:fld>
            <a:endParaRPr lang="el-GR"/>
          </a:p>
        </p:txBody>
      </p:sp>
    </p:spTree>
    <p:extLst>
      <p:ext uri="{BB962C8B-B14F-4D97-AF65-F5344CB8AC3E}">
        <p14:creationId xmlns:p14="http://schemas.microsoft.com/office/powerpoint/2010/main" val="3579439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12</a:t>
            </a:fld>
            <a:endParaRPr lang="en-GB"/>
          </a:p>
        </p:txBody>
      </p:sp>
    </p:spTree>
    <p:extLst>
      <p:ext uri="{BB962C8B-B14F-4D97-AF65-F5344CB8AC3E}">
        <p14:creationId xmlns:p14="http://schemas.microsoft.com/office/powerpoint/2010/main" val="38842385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13</a:t>
            </a:fld>
            <a:endParaRPr lang="en-GB"/>
          </a:p>
        </p:txBody>
      </p:sp>
    </p:spTree>
    <p:extLst>
      <p:ext uri="{BB962C8B-B14F-4D97-AF65-F5344CB8AC3E}">
        <p14:creationId xmlns:p14="http://schemas.microsoft.com/office/powerpoint/2010/main" val="3972411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14</a:t>
            </a:fld>
            <a:endParaRPr lang="en-GB"/>
          </a:p>
        </p:txBody>
      </p:sp>
    </p:spTree>
    <p:extLst>
      <p:ext uri="{BB962C8B-B14F-4D97-AF65-F5344CB8AC3E}">
        <p14:creationId xmlns:p14="http://schemas.microsoft.com/office/powerpoint/2010/main" val="41247847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Ο 3</a:t>
            </a:r>
            <a:r>
              <a:rPr lang="el-GR" baseline="30000" dirty="0"/>
              <a:t>ος</a:t>
            </a:r>
            <a:r>
              <a:rPr lang="el-GR" dirty="0"/>
              <a:t> Άξονας αποτελεί ουσιαστικά το Εθνικό Στρατηγικό Σχέδιο Εξωστρέφειας, το οποίο παρουσιάστηκε πρόσφατα (26/5) από τον ΥΠΕΞ, τον ΥΦΥΠΕΞ </a:t>
            </a:r>
            <a:r>
              <a:rPr lang="el-GR" dirty="0" err="1"/>
              <a:t>κ.Φραγκογιάννη</a:t>
            </a:r>
            <a:r>
              <a:rPr lang="el-GR" dirty="0"/>
              <a:t> και τον ΓΓΔΟΣΕ κ. </a:t>
            </a:r>
            <a:r>
              <a:rPr lang="el-GR" dirty="0" err="1"/>
              <a:t>Σμυρλή</a:t>
            </a:r>
            <a:r>
              <a:rPr lang="el-GR" dirty="0"/>
              <a:t>.</a:t>
            </a:r>
          </a:p>
          <a:p>
            <a:r>
              <a:rPr lang="el-GR" dirty="0"/>
              <a:t>Οι στόχοι που παρουσιάζονται και οι δράσεις μέσω των οποίων υλοποιούνται, έχουν ήδη παρουσιαστεί.</a:t>
            </a:r>
          </a:p>
          <a:p>
            <a:endParaRPr lang="el-GR" dirty="0"/>
          </a:p>
          <a:p>
            <a:r>
              <a:rPr lang="el-GR" dirty="0"/>
              <a:t>  </a:t>
            </a:r>
          </a:p>
          <a:p>
            <a:endParaRPr lang="el-GR" dirty="0"/>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15</a:t>
            </a:fld>
            <a:endParaRPr lang="en-GB"/>
          </a:p>
        </p:txBody>
      </p:sp>
    </p:spTree>
    <p:extLst>
      <p:ext uri="{BB962C8B-B14F-4D97-AF65-F5344CB8AC3E}">
        <p14:creationId xmlns:p14="http://schemas.microsoft.com/office/powerpoint/2010/main" val="2254045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p:txBody>
          <a:bodyPr>
            <a:normAutofit/>
          </a:bodyPr>
          <a:lstStyle/>
          <a:p>
            <a:r>
              <a:rPr lang="el-GR" dirty="0"/>
              <a:t>Σκοπός του ΣΕΣ είναι να ελέγχω εάν με δεδομένες τις δυνατότητες και τους περιορισμούς μου επιλέγω το σωστό μίγμα δράσεων για να πετύχω τους στόχους μου. Με άλλα λόγια κάνω τα σωστά πράγματα για να πετύχω τους σκοπούς μου;  </a:t>
            </a:r>
          </a:p>
          <a:p>
            <a:endParaRPr lang="el-GR" dirty="0"/>
          </a:p>
          <a:p>
            <a:r>
              <a:rPr lang="el-GR" dirty="0"/>
              <a:t>Θα το δούμε με ένα παράδειγμα από τον 3</a:t>
            </a:r>
            <a:r>
              <a:rPr lang="el-GR" baseline="30000" dirty="0"/>
              <a:t>ο</a:t>
            </a:r>
            <a:r>
              <a:rPr lang="el-GR" dirty="0"/>
              <a:t> Στρατηγικό Άξονα/ Εθνικού Στρατηγικού Σχεδίου Εξωστρέφειας.</a:t>
            </a:r>
          </a:p>
          <a:p>
            <a:endParaRPr lang="el-GR" dirty="0"/>
          </a:p>
          <a:p>
            <a:r>
              <a:rPr lang="el-GR" dirty="0"/>
              <a:t>Όπως θα παρατηρήσατε, δεν είναι μαζί μας οι κ.κ. ΥΦΥΠΕΞ </a:t>
            </a:r>
            <a:r>
              <a:rPr lang="el-GR" dirty="0" err="1"/>
              <a:t>Φραγκογιάννης</a:t>
            </a:r>
            <a:r>
              <a:rPr lang="el-GR" dirty="0"/>
              <a:t> και ΓΓΔΟΣΕ </a:t>
            </a:r>
            <a:r>
              <a:rPr lang="el-GR" dirty="0" err="1"/>
              <a:t>Σμυρλής</a:t>
            </a:r>
            <a:r>
              <a:rPr lang="el-GR" dirty="0"/>
              <a:t>. Κι αυτό διότι, ταυτόχρονα με αυτή την εκδήλωση, υλοποιούν το </a:t>
            </a:r>
            <a:r>
              <a:rPr lang="el-GR" dirty="0" err="1"/>
              <a:t>Στρ.και</a:t>
            </a:r>
            <a:r>
              <a:rPr lang="el-GR" dirty="0"/>
              <a:t> </a:t>
            </a:r>
            <a:r>
              <a:rPr lang="el-GR" dirty="0" err="1"/>
              <a:t>Επιχ.Σχέδιο</a:t>
            </a:r>
            <a:r>
              <a:rPr lang="el-GR" dirty="0"/>
              <a:t> στην πράξη και εν προκειμένω τη δράση του </a:t>
            </a:r>
            <a:r>
              <a:rPr lang="en-US" dirty="0"/>
              <a:t>Green Lanes - Thessaloniki Connectivity Forum, </a:t>
            </a:r>
            <a:r>
              <a:rPr lang="el-GR" dirty="0"/>
              <a:t>που στόχο έχει να συμβάλλει στην ενίσχυση της συνδεσιμότητας των μεταφορών μέσω των ταχύτερων εμπορικών ροών για βασικά αγαθά</a:t>
            </a:r>
          </a:p>
          <a:p>
            <a:endParaRPr lang="el-GR" dirty="0"/>
          </a:p>
          <a:p>
            <a:r>
              <a:rPr lang="nl-NL" dirty="0"/>
              <a:t>*</a:t>
            </a:r>
            <a:r>
              <a:rPr lang="el-GR" dirty="0"/>
              <a:t>πράσινες λωρίδες γρήγορης διέλευσης των συνόρων εμπορευματικών οχημάτων που μεταφέρουν βασικά αγαθά πχ φάρμακα – ξεκίνησε με αφορμή τον </a:t>
            </a:r>
            <a:r>
              <a:rPr lang="el-GR" dirty="0" err="1"/>
              <a:t>κορωνοϊό</a:t>
            </a:r>
            <a:endParaRPr lang="nl-NL" dirty="0"/>
          </a:p>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16</a:t>
            </a:fld>
            <a:endParaRPr lang="en-GB"/>
          </a:p>
        </p:txBody>
      </p:sp>
    </p:spTree>
    <p:extLst>
      <p:ext uri="{BB962C8B-B14F-4D97-AF65-F5344CB8AC3E}">
        <p14:creationId xmlns:p14="http://schemas.microsoft.com/office/powerpoint/2010/main" val="3645807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Ο χάρτης την πυκνότητα της ελληνικής ομογένειας ανά τον κόσμο – Μεγαλύτερη συγκέντρωση στις πιο σκουρόχρωμες περιοχές</a:t>
            </a:r>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17</a:t>
            </a:fld>
            <a:endParaRPr lang="en-GB"/>
          </a:p>
        </p:txBody>
      </p:sp>
    </p:spTree>
    <p:extLst>
      <p:ext uri="{BB962C8B-B14F-4D97-AF65-F5344CB8AC3E}">
        <p14:creationId xmlns:p14="http://schemas.microsoft.com/office/powerpoint/2010/main" val="12800824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18</a:t>
            </a:fld>
            <a:endParaRPr lang="en-GB"/>
          </a:p>
        </p:txBody>
      </p:sp>
    </p:spTree>
    <p:extLst>
      <p:ext uri="{BB962C8B-B14F-4D97-AF65-F5344CB8AC3E}">
        <p14:creationId xmlns:p14="http://schemas.microsoft.com/office/powerpoint/2010/main" val="26995874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19</a:t>
            </a:fld>
            <a:endParaRPr lang="en-GB"/>
          </a:p>
        </p:txBody>
      </p:sp>
    </p:spTree>
    <p:extLst>
      <p:ext uri="{BB962C8B-B14F-4D97-AF65-F5344CB8AC3E}">
        <p14:creationId xmlns:p14="http://schemas.microsoft.com/office/powerpoint/2010/main" val="2786890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 name="Google Shape;101;p2: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l-GR" dirty="0"/>
              <a:t>Σήμερα θα σας παρουσιάσουμε το Στρατηγικό Σχέδιο 2022-2025 και θα αναφερθούμε στο Επιχειρησιακό Σχέδιο που είναι σε εξέλιξη για το τρέχον έτος. </a:t>
            </a:r>
          </a:p>
          <a:p>
            <a:pPr marL="0" lvl="0" indent="0" algn="l" rtl="0">
              <a:spcBef>
                <a:spcPts val="0"/>
              </a:spcBef>
              <a:spcAft>
                <a:spcPts val="0"/>
              </a:spcAft>
              <a:buNone/>
            </a:pPr>
            <a:r>
              <a:rPr lang="el-GR" dirty="0"/>
              <a:t>Θα μιλήσουμε, δηλαδή, για τα συστατικά στοιχεία/επίπεδα του Στρατηγικού Σχεδίου 2022-2025, τη μεθοδολογία κατάρτισης Επιχειρησιακού Σχεδίου και για τα ψηφιακά εργαλεία που έχουμε αναπτύξει για να παρακολουθούμε και να αξιοποιούμε τις δράσεις του επιχειρησιακού σχεδίου. Θα αναφερθούμε και σε συγκεκριμένα παραδείγματα.</a:t>
            </a:r>
          </a:p>
          <a:p>
            <a:pPr marL="0" lvl="0" indent="0" algn="l" rtl="0">
              <a:spcBef>
                <a:spcPts val="0"/>
              </a:spcBef>
              <a:spcAft>
                <a:spcPts val="0"/>
              </a:spcAft>
              <a:buNone/>
            </a:pPr>
            <a:endParaRPr lang="el-GR" dirty="0"/>
          </a:p>
          <a:p>
            <a:pPr marL="0" lvl="0" indent="0" algn="l" rtl="0">
              <a:spcBef>
                <a:spcPts val="0"/>
              </a:spcBef>
              <a:spcAft>
                <a:spcPts val="0"/>
              </a:spcAft>
              <a:buNone/>
            </a:pPr>
            <a:r>
              <a:rPr lang="el-GR" dirty="0"/>
              <a:t>  </a:t>
            </a:r>
            <a:endParaRPr dirty="0"/>
          </a:p>
        </p:txBody>
      </p:sp>
      <p:sp>
        <p:nvSpPr>
          <p:cNvPr id="102" name="Google Shape;102;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extLst>
      <p:ext uri="{BB962C8B-B14F-4D97-AF65-F5344CB8AC3E}">
        <p14:creationId xmlns:p14="http://schemas.microsoft.com/office/powerpoint/2010/main" val="269260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20</a:t>
            </a:fld>
            <a:endParaRPr lang="en-GB"/>
          </a:p>
        </p:txBody>
      </p:sp>
    </p:spTree>
    <p:extLst>
      <p:ext uri="{BB962C8B-B14F-4D97-AF65-F5344CB8AC3E}">
        <p14:creationId xmlns:p14="http://schemas.microsoft.com/office/powerpoint/2010/main" val="38061378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sz="1200" u="sng" kern="1200" dirty="0">
                <a:solidFill>
                  <a:schemeClr val="tx1"/>
                </a:solidFill>
                <a:effectLst/>
                <a:latin typeface="+mn-lt"/>
                <a:ea typeface="+mn-ea"/>
                <a:cs typeface="+mn-cs"/>
              </a:rPr>
              <a:t>Ένα ακόμα παράδειγμα</a:t>
            </a:r>
            <a:r>
              <a:rPr lang="en-US" sz="1200" u="sng" kern="1200" dirty="0">
                <a:solidFill>
                  <a:schemeClr val="tx1"/>
                </a:solidFill>
                <a:effectLst/>
                <a:latin typeface="+mn-lt"/>
                <a:ea typeface="+mn-ea"/>
                <a:cs typeface="+mn-cs"/>
              </a:rPr>
              <a:t>: </a:t>
            </a:r>
            <a:r>
              <a:rPr lang="el-GR" sz="1200" u="sng" kern="1200" dirty="0">
                <a:solidFill>
                  <a:schemeClr val="tx1"/>
                </a:solidFill>
                <a:effectLst/>
                <a:latin typeface="+mn-lt"/>
                <a:ea typeface="+mn-ea"/>
                <a:cs typeface="+mn-cs"/>
              </a:rPr>
              <a:t>οι δράσεις/έργα για την επίτευξη του Στόχου 5.4 περί </a:t>
            </a:r>
            <a:r>
              <a:rPr lang="el-GR" sz="1200" u="sng" kern="1200" dirty="0" err="1">
                <a:solidFill>
                  <a:schemeClr val="tx1"/>
                </a:solidFill>
                <a:effectLst/>
                <a:latin typeface="+mn-lt"/>
                <a:ea typeface="+mn-ea"/>
                <a:cs typeface="+mn-cs"/>
              </a:rPr>
              <a:t>Ψηφιοποίησης</a:t>
            </a:r>
            <a:r>
              <a:rPr lang="el-GR" sz="1200" u="sng" kern="1200" dirty="0">
                <a:solidFill>
                  <a:schemeClr val="tx1"/>
                </a:solidFill>
                <a:effectLst/>
                <a:latin typeface="+mn-lt"/>
                <a:ea typeface="+mn-ea"/>
                <a:cs typeface="+mn-cs"/>
              </a:rPr>
              <a:t> ΥΠΕΞ, οι πόροι για τα οποία έχουν εξασφαλιστεί από το Ταμείο Ανάκαμψης και Ανθεκτικότητας και για τα οποία η Δ/</a:t>
            </a:r>
            <a:r>
              <a:rPr lang="el-GR" sz="1200" u="sng" kern="1200" dirty="0" err="1">
                <a:solidFill>
                  <a:schemeClr val="tx1"/>
                </a:solidFill>
                <a:effectLst/>
                <a:latin typeface="+mn-lt"/>
                <a:ea typeface="+mn-ea"/>
                <a:cs typeface="+mn-cs"/>
              </a:rPr>
              <a:t>νσή</a:t>
            </a:r>
            <a:r>
              <a:rPr lang="el-GR" sz="1200" u="sng" kern="1200" dirty="0">
                <a:solidFill>
                  <a:schemeClr val="tx1"/>
                </a:solidFill>
                <a:effectLst/>
                <a:latin typeface="+mn-lt"/>
                <a:ea typeface="+mn-ea"/>
                <a:cs typeface="+mn-cs"/>
              </a:rPr>
              <a:t> μας έχει αναλάβει τον συντονισμό υλοποίησης από πλευράς ΥΠΕΞ.</a:t>
            </a:r>
          </a:p>
          <a:p>
            <a:r>
              <a:rPr lang="el-GR" sz="1200" u="sng" kern="1200" dirty="0">
                <a:solidFill>
                  <a:schemeClr val="tx1"/>
                </a:solidFill>
                <a:effectLst/>
                <a:latin typeface="+mn-lt"/>
                <a:ea typeface="+mn-ea"/>
                <a:cs typeface="+mn-cs"/>
              </a:rPr>
              <a:t>Έργο: Ψηφιακός Μετασχηματισμός του Υπουργείου Εξωτερικών</a:t>
            </a:r>
            <a:endParaRPr lang="el-GR" sz="1200" kern="1200" dirty="0">
              <a:solidFill>
                <a:schemeClr val="tx1"/>
              </a:solidFill>
              <a:effectLst/>
              <a:latin typeface="+mn-lt"/>
              <a:ea typeface="+mn-ea"/>
              <a:cs typeface="+mn-cs"/>
            </a:endParaRPr>
          </a:p>
          <a:p>
            <a:r>
              <a:rPr lang="el-GR" sz="1200" kern="1200" dirty="0">
                <a:solidFill>
                  <a:schemeClr val="tx1"/>
                </a:solidFill>
                <a:effectLst/>
                <a:latin typeface="+mn-lt"/>
                <a:ea typeface="+mn-ea"/>
                <a:cs typeface="+mn-cs"/>
              </a:rPr>
              <a:t>Συνολικός Προϋπολογισμός: 60.200.000 €</a:t>
            </a:r>
          </a:p>
          <a:p>
            <a:r>
              <a:rPr lang="el-GR" sz="1200" kern="1200" dirty="0">
                <a:solidFill>
                  <a:schemeClr val="tx1"/>
                </a:solidFill>
                <a:effectLst/>
                <a:latin typeface="+mn-lt"/>
                <a:ea typeface="+mn-ea"/>
                <a:cs typeface="+mn-cs"/>
              </a:rPr>
              <a:t> </a:t>
            </a:r>
          </a:p>
          <a:p>
            <a:r>
              <a:rPr lang="el-GR" sz="1200" b="1" i="1" u="sng" kern="1200" dirty="0" err="1">
                <a:solidFill>
                  <a:schemeClr val="tx1"/>
                </a:solidFill>
                <a:effectLst/>
                <a:latin typeface="+mn-lt"/>
                <a:ea typeface="+mn-ea"/>
                <a:cs typeface="+mn-cs"/>
              </a:rPr>
              <a:t>Υποέργο</a:t>
            </a:r>
            <a:r>
              <a:rPr lang="el-GR" sz="1200" b="1" i="1" u="sng" kern="1200" dirty="0">
                <a:solidFill>
                  <a:schemeClr val="tx1"/>
                </a:solidFill>
                <a:effectLst/>
                <a:latin typeface="+mn-lt"/>
                <a:ea typeface="+mn-ea"/>
                <a:cs typeface="+mn-cs"/>
              </a:rPr>
              <a:t> 1: Σύστημα Υποστήριξης Στρατηγικού και Επιχειρησιακού Σχεδιασμού</a:t>
            </a:r>
            <a:endParaRPr lang="el-GR" sz="1200" kern="1200" dirty="0">
              <a:solidFill>
                <a:schemeClr val="tx1"/>
              </a:solidFill>
              <a:effectLst/>
              <a:latin typeface="+mn-lt"/>
              <a:ea typeface="+mn-ea"/>
              <a:cs typeface="+mn-cs"/>
            </a:endParaRPr>
          </a:p>
          <a:p>
            <a:r>
              <a:rPr lang="el-GR" sz="1200" b="1" i="1" u="sng" kern="1200" dirty="0">
                <a:solidFill>
                  <a:schemeClr val="tx1"/>
                </a:solidFill>
                <a:effectLst/>
                <a:latin typeface="+mn-lt"/>
                <a:ea typeface="+mn-ea"/>
                <a:cs typeface="+mn-cs"/>
              </a:rPr>
              <a:t>Το έργο κυρίως αφορά σε ανάπτυξη Ολοκληρωμένου Πληροφοριακού Συστήματος για τις ανάγκες εφαρμογής Στρατηγικού και Επιχειρησιακού Σχεδιασμού στο κλειστό δίκτυο του Υπουργείου, στη βάση Οδηγού/Εγχειριδίου Διεργασιών και Υποδειγμάτων</a:t>
            </a:r>
            <a:r>
              <a:rPr lang="el-GR" sz="1200" b="1" kern="1200" dirty="0">
                <a:solidFill>
                  <a:schemeClr val="tx1"/>
                </a:solidFill>
                <a:effectLst/>
                <a:latin typeface="+mn-lt"/>
                <a:ea typeface="+mn-ea"/>
                <a:cs typeface="+mn-cs"/>
              </a:rPr>
              <a:t> με αποτύπωση των ροών εργασίας, των ρόλων όλων των εμπλεκομένων και περιγραφές διεργασιών – Περιλαμβάνει </a:t>
            </a:r>
            <a:r>
              <a:rPr lang="el-GR" sz="1200" b="1" i="1" u="sng" kern="1200" dirty="0">
                <a:solidFill>
                  <a:schemeClr val="tx1"/>
                </a:solidFill>
                <a:effectLst/>
                <a:latin typeface="+mn-lt"/>
                <a:ea typeface="+mn-ea"/>
                <a:cs typeface="+mn-cs"/>
              </a:rPr>
              <a:t>Πλατφόρμα Ροής Εργασιών, Σύστημα Διαχείρισης ρόλων και χρηστών, Σύστημα Ηλεκτρονικής Διακίνησης Εγγράφων (ΣΗΔΕ) και ηλεκτρονικής αλληλογραφίας (</a:t>
            </a:r>
            <a:r>
              <a:rPr lang="en-US" sz="1200" b="1" i="1" u="sng" kern="1200" dirty="0">
                <a:solidFill>
                  <a:schemeClr val="tx1"/>
                </a:solidFill>
                <a:effectLst/>
                <a:latin typeface="+mn-lt"/>
                <a:ea typeface="+mn-ea"/>
                <a:cs typeface="+mn-cs"/>
              </a:rPr>
              <a:t>e</a:t>
            </a:r>
            <a:r>
              <a:rPr lang="el-GR" sz="1200" b="1" i="1" u="sng" kern="1200" dirty="0">
                <a:solidFill>
                  <a:schemeClr val="tx1"/>
                </a:solidFill>
                <a:effectLst/>
                <a:latin typeface="+mn-lt"/>
                <a:ea typeface="+mn-ea"/>
                <a:cs typeface="+mn-cs"/>
              </a:rPr>
              <a:t>-</a:t>
            </a:r>
            <a:r>
              <a:rPr lang="en-US" sz="1200" b="1" i="1" u="sng" kern="1200" dirty="0">
                <a:solidFill>
                  <a:schemeClr val="tx1"/>
                </a:solidFill>
                <a:effectLst/>
                <a:latin typeface="+mn-lt"/>
                <a:ea typeface="+mn-ea"/>
                <a:cs typeface="+mn-cs"/>
              </a:rPr>
              <a:t>mail</a:t>
            </a:r>
            <a:r>
              <a:rPr lang="el-GR" sz="1200" b="1" i="1" u="sng"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l-GR" sz="1200" kern="1200" dirty="0">
              <a:solidFill>
                <a:schemeClr val="tx1"/>
              </a:solidFill>
              <a:effectLst/>
              <a:latin typeface="+mn-lt"/>
              <a:ea typeface="+mn-ea"/>
              <a:cs typeface="+mn-cs"/>
            </a:endParaRPr>
          </a:p>
          <a:p>
            <a:r>
              <a:rPr lang="el-GR" sz="1200" b="1" i="1" u="sng" kern="1200" dirty="0" err="1">
                <a:solidFill>
                  <a:schemeClr val="tx1"/>
                </a:solidFill>
                <a:effectLst/>
                <a:latin typeface="+mn-lt"/>
                <a:ea typeface="+mn-ea"/>
                <a:cs typeface="+mn-cs"/>
              </a:rPr>
              <a:t>Υποέργο</a:t>
            </a:r>
            <a:r>
              <a:rPr lang="el-GR" sz="1200" b="1" i="1" u="sng" kern="1200" dirty="0">
                <a:solidFill>
                  <a:schemeClr val="tx1"/>
                </a:solidFill>
                <a:effectLst/>
                <a:latin typeface="+mn-lt"/>
                <a:ea typeface="+mn-ea"/>
                <a:cs typeface="+mn-cs"/>
              </a:rPr>
              <a:t> 2: </a:t>
            </a:r>
            <a:r>
              <a:rPr lang="el-GR" sz="1200" b="1" i="1" u="sng" kern="1200" dirty="0" err="1">
                <a:solidFill>
                  <a:schemeClr val="tx1"/>
                </a:solidFill>
                <a:effectLst/>
                <a:latin typeface="+mn-lt"/>
                <a:ea typeface="+mn-ea"/>
                <a:cs typeface="+mn-cs"/>
              </a:rPr>
              <a:t>Ψηφιοποίηση</a:t>
            </a:r>
            <a:r>
              <a:rPr lang="el-GR" sz="1200" b="1" i="1" u="sng" kern="1200" dirty="0">
                <a:solidFill>
                  <a:schemeClr val="tx1"/>
                </a:solidFill>
                <a:effectLst/>
                <a:latin typeface="+mn-lt"/>
                <a:ea typeface="+mn-ea"/>
                <a:cs typeface="+mn-cs"/>
              </a:rPr>
              <a:t> Διπλωματικού και Ιστορικού Αρχείου</a:t>
            </a:r>
          </a:p>
          <a:p>
            <a:endParaRPr lang="el-GR" sz="1200" b="1" i="1" u="sng" kern="1200" dirty="0">
              <a:solidFill>
                <a:schemeClr val="tx1"/>
              </a:solidFill>
              <a:effectLst/>
              <a:latin typeface="+mn-lt"/>
              <a:ea typeface="+mn-ea"/>
              <a:cs typeface="+mn-cs"/>
            </a:endParaRPr>
          </a:p>
          <a:p>
            <a:r>
              <a:rPr lang="el-GR" sz="1200" b="1" kern="1200" dirty="0">
                <a:solidFill>
                  <a:schemeClr val="tx1"/>
                </a:solidFill>
                <a:effectLst/>
                <a:latin typeface="+mn-lt"/>
                <a:ea typeface="+mn-ea"/>
                <a:cs typeface="+mn-cs"/>
              </a:rPr>
              <a:t>Σκοπός του έργου είναι η δημιουργία Επιχειρησιακού Εργαλείου Τεχνητής Νοημοσύνης Εννοιολογικής Αναζήτησης το οποίο σε συνδυασμό με την </a:t>
            </a:r>
            <a:r>
              <a:rPr lang="el-GR" sz="1200" b="1" kern="1200" dirty="0" err="1">
                <a:solidFill>
                  <a:schemeClr val="tx1"/>
                </a:solidFill>
                <a:effectLst/>
                <a:latin typeface="+mn-lt"/>
                <a:ea typeface="+mn-ea"/>
                <a:cs typeface="+mn-cs"/>
              </a:rPr>
              <a:t>ψηφιοποίηση</a:t>
            </a:r>
            <a:r>
              <a:rPr lang="el-GR" sz="1200" b="1" kern="1200" dirty="0">
                <a:solidFill>
                  <a:schemeClr val="tx1"/>
                </a:solidFill>
                <a:effectLst/>
                <a:latin typeface="+mn-lt"/>
                <a:ea typeface="+mn-ea"/>
                <a:cs typeface="+mn-cs"/>
              </a:rPr>
              <a:t> και τον συσχετισμό των σχετικών εγγράφων του αρχειακού υλικού του Υπουργείου Εξωτερικών θα διασφαλίζεται άμεση πρόσβαση στην πληροφορία, στο συντομότερο χρονικό διάστημα σε όποιο βάθος χρόνου απαιτεί η αναζήτηση, με υποστήριξη εννοιολογικών αναζητήσεων βασισμένων σε σύγχρονα εργαλεία τεχνητής νοημοσύνης. </a:t>
            </a:r>
          </a:p>
          <a:p>
            <a:r>
              <a:rPr lang="el-GR" sz="1200" b="1" kern="1200" dirty="0">
                <a:solidFill>
                  <a:schemeClr val="tx1"/>
                </a:solidFill>
                <a:effectLst/>
                <a:latin typeface="+mn-lt"/>
                <a:ea typeface="+mn-ea"/>
                <a:cs typeface="+mn-cs"/>
              </a:rPr>
              <a:t>Έτσι θα αποτελέσει το κεντρικό εργαλείο για την βελτίωση της διοικητικής λειτουργίας και της ποιότητας εξυπηρέτησης των υπηρεσιών του ΥΠΕΞ καθώς και της αναβάθμισης του λειτουργικού επιπέδου των υπηρεσιών του ΥΠΕΞ, με τον ψηφιακό μετασχηματισμό και την αξιοποίηση τεχνολογιών αιχμής.</a:t>
            </a:r>
          </a:p>
          <a:p>
            <a:r>
              <a:rPr lang="el-GR" sz="1200" b="1" kern="1200" dirty="0">
                <a:solidFill>
                  <a:schemeClr val="tx1"/>
                </a:solidFill>
                <a:effectLst/>
                <a:latin typeface="+mn-lt"/>
                <a:ea typeface="+mn-ea"/>
                <a:cs typeface="+mn-cs"/>
              </a:rPr>
              <a:t>Η ψηφιακή αναβάθμιση των συστημάτων και η </a:t>
            </a:r>
            <a:r>
              <a:rPr lang="el-GR" sz="1200" b="1" kern="1200" dirty="0" err="1">
                <a:solidFill>
                  <a:schemeClr val="tx1"/>
                </a:solidFill>
                <a:effectLst/>
                <a:latin typeface="+mn-lt"/>
                <a:ea typeface="+mn-ea"/>
                <a:cs typeface="+mn-cs"/>
              </a:rPr>
              <a:t>ψηφιοποίηση</a:t>
            </a:r>
            <a:r>
              <a:rPr lang="el-GR" sz="1200" b="1" kern="1200" dirty="0">
                <a:solidFill>
                  <a:schemeClr val="tx1"/>
                </a:solidFill>
                <a:effectLst/>
                <a:latin typeface="+mn-lt"/>
                <a:ea typeface="+mn-ea"/>
                <a:cs typeface="+mn-cs"/>
              </a:rPr>
              <a:t> του ιστορικού αρχείου του Υπουργείου Εξωτερικών θα βελτιώσει την εργασία του προσωπικού και θα οδηγήσει στην εξοικονόμηση οικονομικών πόρων, θα ελαχιστοποιήσει τον χρόνο διεκπεραίωσης των αιτημάτων, θα δώσει δυνατότητα πρόσβασης στα στοιχεία σε εξουσιοδοτημένους χρήστες, ενώ θα διευκολύνει και πρόσβαση σε αναζητούμενη πληροφορία και τελικά στην διαμόρφωση πολιτικών επιλογών και σχετικής πολιτικής.</a:t>
            </a:r>
          </a:p>
          <a:p>
            <a:endParaRPr lang="el-GR" sz="1200" kern="1200" dirty="0">
              <a:solidFill>
                <a:schemeClr val="tx1"/>
              </a:solidFill>
              <a:effectLst/>
              <a:latin typeface="+mn-lt"/>
              <a:ea typeface="+mn-ea"/>
              <a:cs typeface="+mn-cs"/>
            </a:endParaRPr>
          </a:p>
          <a:p>
            <a:r>
              <a:rPr lang="el-GR" sz="1200" b="1" i="1" u="sng" kern="1200" dirty="0" err="1">
                <a:solidFill>
                  <a:schemeClr val="tx1"/>
                </a:solidFill>
                <a:effectLst/>
                <a:latin typeface="+mn-lt"/>
                <a:ea typeface="+mn-ea"/>
                <a:cs typeface="+mn-cs"/>
              </a:rPr>
              <a:t>Υποέργο</a:t>
            </a:r>
            <a:r>
              <a:rPr lang="el-GR" sz="1200" b="1" i="1" u="sng" kern="1200" dirty="0">
                <a:solidFill>
                  <a:schemeClr val="tx1"/>
                </a:solidFill>
                <a:effectLst/>
                <a:latin typeface="+mn-lt"/>
                <a:ea typeface="+mn-ea"/>
                <a:cs typeface="+mn-cs"/>
              </a:rPr>
              <a:t> 3: </a:t>
            </a:r>
            <a:r>
              <a:rPr lang="el-GR" sz="1200" b="1" kern="1200" dirty="0">
                <a:solidFill>
                  <a:schemeClr val="tx1"/>
                </a:solidFill>
                <a:effectLst/>
                <a:latin typeface="+mn-lt"/>
                <a:ea typeface="+mn-ea"/>
                <a:cs typeface="+mn-cs"/>
              </a:rPr>
              <a:t>Παγκόσμια Πλατφόρμα Ψηφιακού Κέντρου Ενημέρωσης</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kern="1200" dirty="0">
                <a:solidFill>
                  <a:schemeClr val="tx1"/>
                </a:solidFill>
                <a:effectLst/>
                <a:latin typeface="+mn-lt"/>
                <a:ea typeface="+mn-ea"/>
                <a:cs typeface="+mn-cs"/>
              </a:rPr>
              <a:t>Στο έργο περιλαμβάνονται</a:t>
            </a:r>
            <a:r>
              <a:rPr lang="en-US" sz="1200" b="1" kern="1200" dirty="0">
                <a:solidFill>
                  <a:schemeClr val="tx1"/>
                </a:solidFill>
                <a:effectLst/>
                <a:latin typeface="+mn-lt"/>
                <a:ea typeface="+mn-ea"/>
                <a:cs typeface="+mn-cs"/>
              </a:rPr>
              <a:t>: </a:t>
            </a:r>
            <a:endParaRPr lang="el-GR" sz="1200" b="1"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l-GR" sz="1200" b="1" kern="1200" dirty="0">
                <a:solidFill>
                  <a:schemeClr val="tx1"/>
                </a:solidFill>
                <a:effectLst/>
                <a:latin typeface="+mn-lt"/>
                <a:ea typeface="+mn-ea"/>
                <a:cs typeface="+mn-cs"/>
              </a:rPr>
              <a:t>Κεντρικός εξοπλισμός ψηφιακού κέντρου ενημέρωσης</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l-GR" sz="1200" b="1" kern="1200" dirty="0">
                <a:solidFill>
                  <a:schemeClr val="tx1"/>
                </a:solidFill>
                <a:effectLst/>
                <a:latin typeface="+mn-lt"/>
                <a:ea typeface="+mn-ea"/>
                <a:cs typeface="+mn-cs"/>
              </a:rPr>
              <a:t>Σύστημα Συλλογής, Καταγραφής και διαχείρισης Αποδελτίωσης παγκόσμιων ΜΜΕ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l-GR" sz="1200" b="1" kern="1200" dirty="0">
                <a:solidFill>
                  <a:schemeClr val="tx1"/>
                </a:solidFill>
                <a:effectLst/>
                <a:latin typeface="+mn-lt"/>
                <a:ea typeface="+mn-ea"/>
                <a:cs typeface="+mn-cs"/>
              </a:rPr>
              <a:t>Πλατφόρμα διαχείρισης Χρηστών, Περιεχομένου &amp; Εφαρμογές διανομής δημοσιότητας</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l-GR" sz="1200" b="1" kern="1200" dirty="0">
                <a:solidFill>
                  <a:schemeClr val="tx1"/>
                </a:solidFill>
                <a:effectLst/>
                <a:latin typeface="+mn-lt"/>
                <a:ea typeface="+mn-ea"/>
                <a:cs typeface="+mn-cs"/>
              </a:rPr>
              <a:t>Σύστημα Συλλογής και Ταξινόμησης Τηλεοπτικών και Ραδιοφωνικών αναφορών </a:t>
            </a:r>
          </a:p>
          <a:p>
            <a:endParaRPr lang="el-GR" sz="1200" b="1" i="1" u="sng" kern="1200" dirty="0">
              <a:solidFill>
                <a:schemeClr val="tx1"/>
              </a:solidFill>
              <a:effectLst/>
              <a:latin typeface="+mn-lt"/>
              <a:ea typeface="+mn-ea"/>
              <a:cs typeface="+mn-cs"/>
            </a:endParaRPr>
          </a:p>
          <a:p>
            <a:r>
              <a:rPr lang="el-GR" sz="1200" b="1" i="1" u="sng" kern="1200" dirty="0" err="1">
                <a:solidFill>
                  <a:schemeClr val="tx1"/>
                </a:solidFill>
                <a:effectLst/>
                <a:latin typeface="+mn-lt"/>
                <a:ea typeface="+mn-ea"/>
                <a:cs typeface="+mn-cs"/>
              </a:rPr>
              <a:t>Υποέργο</a:t>
            </a:r>
            <a:r>
              <a:rPr lang="el-GR" sz="1200" b="1" i="1" u="sng" kern="1200" dirty="0">
                <a:solidFill>
                  <a:schemeClr val="tx1"/>
                </a:solidFill>
                <a:effectLst/>
                <a:latin typeface="+mn-lt"/>
                <a:ea typeface="+mn-ea"/>
                <a:cs typeface="+mn-cs"/>
              </a:rPr>
              <a:t> 4: Εκσυγχρονισμός κρυπτογραφικών Τεχνολογιών Πληροφορικής και Επικοινωνιών  (ΤΠΕ) καθώς και υποδομών ασφάλειας	</a:t>
            </a:r>
            <a:endParaRPr lang="el-GR" sz="1200" kern="1200" dirty="0">
              <a:solidFill>
                <a:schemeClr val="tx1"/>
              </a:solidFill>
              <a:effectLst/>
              <a:latin typeface="+mn-lt"/>
              <a:ea typeface="+mn-ea"/>
              <a:cs typeface="+mn-cs"/>
            </a:endParaRPr>
          </a:p>
          <a:p>
            <a:endParaRPr lang="el-GR" sz="1200" kern="1200" dirty="0">
              <a:solidFill>
                <a:schemeClr val="tx1"/>
              </a:solidFill>
              <a:effectLst/>
              <a:latin typeface="+mn-lt"/>
              <a:ea typeface="+mn-ea"/>
              <a:cs typeface="+mn-cs"/>
            </a:endParaRPr>
          </a:p>
          <a:p>
            <a:endParaRPr lang="el-GR" sz="1200" kern="1200" dirty="0">
              <a:solidFill>
                <a:schemeClr val="tx1"/>
              </a:solidFill>
              <a:effectLst/>
              <a:latin typeface="+mn-lt"/>
              <a:ea typeface="+mn-ea"/>
              <a:cs typeface="+mn-cs"/>
            </a:endParaRPr>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21</a:t>
            </a:fld>
            <a:endParaRPr lang="en-GB"/>
          </a:p>
        </p:txBody>
      </p:sp>
    </p:spTree>
    <p:extLst>
      <p:ext uri="{BB962C8B-B14F-4D97-AF65-F5344CB8AC3E}">
        <p14:creationId xmlns:p14="http://schemas.microsoft.com/office/powerpoint/2010/main" val="30639978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1241425"/>
            <a:ext cx="5953125" cy="3349625"/>
          </a:xfrm>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F8410D24-7A1B-4617-972B-A3FD426D7952}" type="slidenum">
              <a:rPr lang="el-GR" smtClean="0"/>
              <a:pPr/>
              <a:t>22</a:t>
            </a:fld>
            <a:endParaRPr lang="el-GR"/>
          </a:p>
        </p:txBody>
      </p:sp>
    </p:spTree>
    <p:extLst>
      <p:ext uri="{BB962C8B-B14F-4D97-AF65-F5344CB8AC3E}">
        <p14:creationId xmlns:p14="http://schemas.microsoft.com/office/powerpoint/2010/main" val="36293618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ι κύκλοι συνδέονται, η στρατηγική δίνει κατεύθυνση στην επιχειρησιακή δράση και οι επιχειρησιακές ικανότητες και δυνατότητες ανατροφοδοτούν την διαμόρφωση της στρατηγικής σε έναν πολυετή κύκλο/ σε βάθος χρόνου </a:t>
            </a:r>
            <a:endParaRPr lang="en-GB" dirty="0"/>
          </a:p>
          <a:p>
            <a:endParaRPr lang="el-GR" dirty="0"/>
          </a:p>
          <a:p>
            <a:r>
              <a:rPr lang="el-GR" dirty="0"/>
              <a:t>Οι κλειστοί κύκλοι έχουν ετήσια αναφορά, ο ανοιχτός κύκλος της Στρατηγικής πολυετή. </a:t>
            </a:r>
            <a:endParaRPr lang="en-GB" dirty="0"/>
          </a:p>
        </p:txBody>
      </p:sp>
      <p:sp>
        <p:nvSpPr>
          <p:cNvPr id="4" name="Slide Number Placeholder 3"/>
          <p:cNvSpPr>
            <a:spLocks noGrp="1"/>
          </p:cNvSpPr>
          <p:nvPr>
            <p:ph type="sldNum" sz="quarter" idx="5"/>
          </p:nvPr>
        </p:nvSpPr>
        <p:spPr/>
        <p:txBody>
          <a:bodyPr/>
          <a:lstStyle/>
          <a:p>
            <a:fld id="{77CF8C31-C0A2-4F6F-B75A-6CC4FAA7F1C1}" type="slidenum">
              <a:rPr lang="en-GB" smtClean="0"/>
              <a:pPr/>
              <a:t>23</a:t>
            </a:fld>
            <a:endParaRPr lang="en-GB"/>
          </a:p>
        </p:txBody>
      </p:sp>
    </p:spTree>
    <p:extLst>
      <p:ext uri="{BB962C8B-B14F-4D97-AF65-F5344CB8AC3E}">
        <p14:creationId xmlns:p14="http://schemas.microsoft.com/office/powerpoint/2010/main" val="36998746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Για να εφαρμοστεί ο ΣΕΣ χρειάζεται μία ψηφιακή υποδομή που να διατρέχει όλο το εγχείρημα</a:t>
            </a:r>
          </a:p>
          <a:p>
            <a:r>
              <a:rPr lang="el-GR" dirty="0"/>
              <a:t>- Μέχρι την ολοκλήρωση της ψηφιακής μεταρρύθμισης, να υπάρχει ενδιάμεση ψηφιακή λύση με δωρεάν εργαλεία </a:t>
            </a:r>
          </a:p>
          <a:p>
            <a:endParaRPr lang="el-GR" dirty="0"/>
          </a:p>
          <a:p>
            <a:r>
              <a:rPr lang="el-GR" dirty="0"/>
              <a:t>Στο επιχειρησιακό Σχέδιο περιλαμβάνονται αδιαβάθμητες δράσεις.</a:t>
            </a:r>
          </a:p>
          <a:p>
            <a:endParaRPr lang="el-GR" dirty="0"/>
          </a:p>
          <a:p>
            <a:endParaRPr lang="el-GR" dirty="0"/>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24</a:t>
            </a:fld>
            <a:endParaRPr lang="en-GB"/>
          </a:p>
        </p:txBody>
      </p:sp>
    </p:spTree>
    <p:extLst>
      <p:ext uri="{BB962C8B-B14F-4D97-AF65-F5344CB8AC3E}">
        <p14:creationId xmlns:p14="http://schemas.microsoft.com/office/powerpoint/2010/main" val="41415371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lvl="0"/>
            <a:r>
              <a:rPr lang="en-US" dirty="0"/>
              <a:t>ΚΥ: ΔΕΝ </a:t>
            </a:r>
            <a:r>
              <a:rPr lang="en-US" dirty="0" err="1"/>
              <a:t>συμμετείχ</a:t>
            </a:r>
            <a:r>
              <a:rPr lang="en-US" dirty="0"/>
              <a:t>αν </a:t>
            </a:r>
          </a:p>
          <a:p>
            <a:pPr lvl="0"/>
            <a:r>
              <a:rPr lang="en-US" dirty="0"/>
              <a:t>- </a:t>
            </a:r>
            <a:r>
              <a:rPr lang="en-US" dirty="0" err="1"/>
              <a:t>γι</a:t>
            </a:r>
            <a:r>
              <a:rPr lang="en-US" dirty="0"/>
              <a:t>α πχ ορισμένοι Γενικοί Δ/ντές που θεώρησαν ότι καλύφθηκαν από Δ/νσεις</a:t>
            </a:r>
          </a:p>
          <a:p>
            <a:pPr lvl="0"/>
            <a:r>
              <a:rPr lang="en-US" dirty="0"/>
              <a:t>- </a:t>
            </a:r>
            <a:r>
              <a:rPr lang="en-US" dirty="0" err="1"/>
              <a:t>ορισμένες</a:t>
            </a:r>
            <a:r>
              <a:rPr lang="en-US" dirty="0"/>
              <a:t> </a:t>
            </a:r>
            <a:r>
              <a:rPr lang="en-US" dirty="0" err="1"/>
              <a:t>Μονάδες</a:t>
            </a:r>
            <a:r>
              <a:rPr lang="en-US" dirty="0"/>
              <a:t> όπ</a:t>
            </a:r>
            <a:r>
              <a:rPr lang="en-US" dirty="0" err="1"/>
              <a:t>ως</a:t>
            </a:r>
            <a:r>
              <a:rPr lang="en-US" dirty="0"/>
              <a:t> ΠΣΕΑ, </a:t>
            </a:r>
            <a:r>
              <a:rPr lang="en-US" dirty="0" err="1"/>
              <a:t>Ειδικοί</a:t>
            </a:r>
            <a:r>
              <a:rPr lang="en-US" dirty="0"/>
              <a:t> </a:t>
            </a:r>
          </a:p>
          <a:p>
            <a:pPr lvl="0"/>
            <a:r>
              <a:rPr lang="en-US" dirty="0"/>
              <a:t>Απ</a:t>
            </a:r>
            <a:r>
              <a:rPr lang="en-US" dirty="0" err="1"/>
              <a:t>εστ</a:t>
            </a:r>
            <a:r>
              <a:rPr lang="en-US" dirty="0"/>
              <a:t>αλμένοι (3), Οικονομικές Διευθύνσεις (ΣΤ4,5,7)</a:t>
            </a:r>
          </a:p>
          <a:p>
            <a:pPr lvl="0"/>
            <a:r>
              <a:rPr lang="en-US" dirty="0"/>
              <a:t>- ΔΓ ΥΠΕΞ και ΑΝΥΠΕΞ</a:t>
            </a:r>
          </a:p>
          <a:p>
            <a:endParaRPr lang="el-GR" dirty="0"/>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25</a:t>
            </a:fld>
            <a:endParaRPr lang="en-GB"/>
          </a:p>
        </p:txBody>
      </p:sp>
    </p:spTree>
    <p:extLst>
      <p:ext uri="{BB962C8B-B14F-4D97-AF65-F5344CB8AC3E}">
        <p14:creationId xmlns:p14="http://schemas.microsoft.com/office/powerpoint/2010/main" val="38186295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26</a:t>
            </a:fld>
            <a:endParaRPr lang="en-GB"/>
          </a:p>
        </p:txBody>
      </p:sp>
    </p:spTree>
    <p:extLst>
      <p:ext uri="{BB962C8B-B14F-4D97-AF65-F5344CB8AC3E}">
        <p14:creationId xmlns:p14="http://schemas.microsoft.com/office/powerpoint/2010/main" val="1306416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ΩΣ ΥΠΟΥΡΓΕΙΟ</a:t>
            </a:r>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27</a:t>
            </a:fld>
            <a:endParaRPr lang="en-GB"/>
          </a:p>
        </p:txBody>
      </p:sp>
    </p:spTree>
    <p:extLst>
      <p:ext uri="{BB962C8B-B14F-4D97-AF65-F5344CB8AC3E}">
        <p14:creationId xmlns:p14="http://schemas.microsoft.com/office/powerpoint/2010/main" val="14842813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72249"/>
          </a:xfrm>
          <a:prstGeom prst="rect">
            <a:avLst/>
          </a:prstGeom>
        </p:spPr>
        <p:txBody>
          <a:bodyPr vert="horz" lIns="91440" tIns="45720" rIns="91440" bIns="45720" rtlCol="0"/>
          <a:lstStyle>
            <a:lvl1pPr algn="l">
              <a:defRPr sz="1200"/>
            </a:lvl1pPr>
          </a:lstStyle>
          <a:p>
            <a:endParaRPr lang="cs-CZ"/>
          </a:p>
        </p:txBody>
      </p:sp>
      <p:sp>
        <p:nvSpPr>
          <p:cNvPr id="3" name="Date Placeholder 2"/>
          <p:cNvSpPr>
            <a:spLocks noGrp="1"/>
          </p:cNvSpPr>
          <p:nvPr>
            <p:ph type="dt" idx="1"/>
          </p:nvPr>
        </p:nvSpPr>
        <p:spPr>
          <a:xfrm>
            <a:off x="5180013" y="0"/>
            <a:ext cx="3962400" cy="372249"/>
          </a:xfrm>
          <a:prstGeom prst="rect">
            <a:avLst/>
          </a:prstGeom>
        </p:spPr>
        <p:txBody>
          <a:bodyPr vert="horz" lIns="91440" tIns="45720" rIns="91440" bIns="45720" rtlCol="0"/>
          <a:lstStyle>
            <a:lvl1pPr algn="r">
              <a:defRPr sz="1200"/>
            </a:lvl1pPr>
          </a:lstStyle>
          <a:p>
            <a:fld id="{B7268E1E-0E44-426D-905E-8AD9B19D2182}" type="datetimeFigureOut">
              <a:rPr lang="cs-CZ" smtClean="0"/>
              <a:t>07.07.2022</a:t>
            </a:fld>
            <a:endParaRPr lang="cs-CZ"/>
          </a:p>
        </p:txBody>
      </p:sp>
      <p:sp>
        <p:nvSpPr>
          <p:cNvPr id="4" name="Slide Image Placeholder 3"/>
          <p:cNvSpPr>
            <a:spLocks noGrp="1" noRot="1" noChangeAspect="1"/>
          </p:cNvSpPr>
          <p:nvPr>
            <p:ph type="sldImg" idx="2"/>
          </p:nvPr>
        </p:nvSpPr>
        <p:spPr>
          <a:xfrm>
            <a:off x="2095500" y="557213"/>
            <a:ext cx="4953000" cy="2786062"/>
          </a:xfrm>
          <a:prstGeom prst="rect">
            <a:avLst/>
          </a:prstGeom>
          <a:noFill/>
          <a:ln w="12700">
            <a:solidFill>
              <a:prstClr val="black"/>
            </a:solidFill>
          </a:ln>
        </p:spPr>
        <p:txBody>
          <a:bodyPr vert="horz" lIns="91440" tIns="45720" rIns="91440" bIns="45720" rtlCol="0" anchor="ctr"/>
          <a:lstStyle/>
          <a:p>
            <a:endParaRPr lang="cs-CZ"/>
          </a:p>
        </p:txBody>
      </p:sp>
      <p:sp>
        <p:nvSpPr>
          <p:cNvPr id="5" name="Notes Placeholder 4"/>
          <p:cNvSpPr>
            <a:spLocks noGrp="1"/>
          </p:cNvSpPr>
          <p:nvPr>
            <p:ph type="body" sz="quarter" idx="3"/>
          </p:nvPr>
        </p:nvSpPr>
        <p:spPr>
          <a:xfrm>
            <a:off x="914400" y="3529471"/>
            <a:ext cx="7315200" cy="3345071"/>
          </a:xfrm>
          <a:prstGeom prst="rect">
            <a:avLst/>
          </a:prstGeom>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Σύντομα θα ενημερωθείτε για την πλατφόρμα παρακολούθησης και αξιολόγησης</a:t>
            </a:r>
          </a:p>
          <a:p>
            <a:pPr marL="0" marR="0" lvl="0" indent="0" algn="l" defTabSz="914400" rtl="0" eaLnBrk="1" fontAlgn="auto" latinLnBrk="0" hangingPunct="1">
              <a:lnSpc>
                <a:spcPct val="100000"/>
              </a:lnSpc>
              <a:spcBef>
                <a:spcPts val="0"/>
              </a:spcBef>
              <a:spcAft>
                <a:spcPts val="0"/>
              </a:spcAft>
              <a:buClrTx/>
              <a:buSzTx/>
              <a:buFontTx/>
              <a:buNone/>
              <a:tabLst/>
              <a:defRPr/>
            </a:pPr>
            <a:endParaRPr lang="el-GR"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l-GR"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Αξιολόγηση επιχειρησιακού Σχεδίου σημαίνει </a:t>
            </a:r>
            <a:r>
              <a:rPr lang="en-US" dirty="0"/>
              <a:t>: </a:t>
            </a:r>
            <a:r>
              <a:rPr lang="el-GR" dirty="0"/>
              <a:t>Ν</a:t>
            </a:r>
            <a:r>
              <a:rPr lang="en-US" dirty="0"/>
              <a:t>α </a:t>
            </a:r>
            <a:r>
              <a:rPr lang="en-US" dirty="0" err="1"/>
              <a:t>εξηγήσουμε</a:t>
            </a:r>
            <a:r>
              <a:rPr lang="en-US" dirty="0"/>
              <a:t>, να </a:t>
            </a:r>
            <a:r>
              <a:rPr lang="en-US" dirty="0" err="1"/>
              <a:t>ερμηνεύσουμε</a:t>
            </a:r>
            <a:r>
              <a:rPr lang="en-US" dirty="0"/>
              <a:t>  τα </a:t>
            </a:r>
            <a:r>
              <a:rPr lang="en-US" dirty="0" err="1"/>
              <a:t>συλλεγχθέντ</a:t>
            </a:r>
            <a:r>
              <a:rPr lang="en-US" dirty="0"/>
              <a:t>α δεδομένα </a:t>
            </a:r>
            <a:r>
              <a:rPr lang="el-GR" dirty="0"/>
              <a:t>με </a:t>
            </a:r>
            <a:r>
              <a:rPr lang="en-US" dirty="0"/>
              <a:t> </a:t>
            </a:r>
            <a:r>
              <a:rPr lang="el-GR" dirty="0"/>
              <a:t>πέρα από ποσοτική και π</a:t>
            </a:r>
            <a:r>
              <a:rPr lang="en-US" dirty="0" err="1"/>
              <a:t>οιοτική</a:t>
            </a:r>
            <a:r>
              <a:rPr lang="en-US" dirty="0"/>
              <a:t> α</a:t>
            </a:r>
            <a:r>
              <a:rPr lang="en-US" dirty="0" err="1"/>
              <a:t>νάλυση</a:t>
            </a:r>
            <a:r>
              <a:rPr lang="en-US" dirty="0"/>
              <a:t>, </a:t>
            </a:r>
            <a:r>
              <a:rPr lang="el-GR" dirty="0"/>
              <a:t>δηλ. αν</a:t>
            </a:r>
            <a:r>
              <a:rPr lang="en-US" dirty="0"/>
              <a:t>α</a:t>
            </a:r>
            <a:r>
              <a:rPr lang="en-US" dirty="0" err="1"/>
              <a:t>κάλυψη</a:t>
            </a:r>
            <a:r>
              <a:rPr lang="en-US" dirty="0"/>
              <a:t> </a:t>
            </a:r>
            <a:r>
              <a:rPr lang="en-US" dirty="0" err="1"/>
              <a:t>μοτί</a:t>
            </a:r>
            <a:r>
              <a:rPr lang="en-US" dirty="0"/>
              <a:t>βων για</a:t>
            </a:r>
            <a:r>
              <a:rPr lang="el-GR" dirty="0"/>
              <a:t> </a:t>
            </a:r>
            <a:r>
              <a:rPr lang="en-US" dirty="0" err="1"/>
              <a:t>Αιτίες</a:t>
            </a:r>
            <a:r>
              <a:rPr lang="el-GR" dirty="0"/>
              <a:t>,</a:t>
            </a:r>
            <a:r>
              <a:rPr lang="en-US" dirty="0"/>
              <a:t> </a:t>
            </a:r>
            <a:r>
              <a:rPr lang="en-US" dirty="0" err="1"/>
              <a:t>Συνέ</a:t>
            </a:r>
            <a:r>
              <a:rPr lang="en-US" dirty="0"/>
              <a:t>πειες</a:t>
            </a:r>
            <a:r>
              <a:rPr lang="el-GR" dirty="0"/>
              <a:t>, </a:t>
            </a:r>
            <a:r>
              <a:rPr lang="en-US" dirty="0" err="1"/>
              <a:t>Συχνότητες</a:t>
            </a:r>
            <a:r>
              <a:rPr lang="el-GR" dirty="0"/>
              <a:t> εμφάνισης, </a:t>
            </a:r>
            <a:r>
              <a:rPr lang="en-US" dirty="0"/>
              <a:t> </a:t>
            </a:r>
            <a:r>
              <a:rPr lang="en-US" dirty="0" err="1"/>
              <a:t>Μεγέθη</a:t>
            </a:r>
            <a:r>
              <a:rPr lang="el-GR" dirty="0"/>
              <a:t>, </a:t>
            </a:r>
            <a:r>
              <a:rPr lang="en-US" dirty="0" err="1"/>
              <a:t>Δομές</a:t>
            </a:r>
            <a:r>
              <a:rPr lang="el-GR" dirty="0"/>
              <a:t>, </a:t>
            </a:r>
            <a:r>
              <a:rPr lang="en-US" dirty="0"/>
              <a:t> </a:t>
            </a:r>
            <a:r>
              <a:rPr lang="en-US" dirty="0" err="1"/>
              <a:t>Δι</a:t>
            </a:r>
            <a:r>
              <a:rPr lang="en-US" dirty="0"/>
              <a:t>αδικασίες</a:t>
            </a:r>
            <a:r>
              <a:rPr lang="el-GR" dirty="0"/>
              <a:t> και κυρίως ΑΜΕΣΑ-ΕΜΜΕΣΑ ΑΠΟΤΕΛΕΣΜΑΤΑ και ΜΑΚΡΟΧΡΟΝΙΟ ΑΝΤΙΚΤΥΠΟ]</a:t>
            </a:r>
            <a:endParaRPr lang="en-US" dirty="0"/>
          </a:p>
        </p:txBody>
      </p:sp>
      <p:sp>
        <p:nvSpPr>
          <p:cNvPr id="6" name="Footer Placeholder 5"/>
          <p:cNvSpPr>
            <a:spLocks noGrp="1"/>
          </p:cNvSpPr>
          <p:nvPr>
            <p:ph type="ftr" sz="quarter" idx="4"/>
          </p:nvPr>
        </p:nvSpPr>
        <p:spPr>
          <a:xfrm>
            <a:off x="0" y="7058943"/>
            <a:ext cx="3962400" cy="370526"/>
          </a:xfrm>
          <a:prstGeom prst="rect">
            <a:avLst/>
          </a:prstGeom>
        </p:spPr>
        <p:txBody>
          <a:bodyPr vert="horz" lIns="91440" tIns="45720" rIns="91440" bIns="45720" rtlCol="0" anchor="b"/>
          <a:lstStyle>
            <a:lvl1pPr algn="l">
              <a:defRPr sz="1200"/>
            </a:lvl1pPr>
          </a:lstStyle>
          <a:p>
            <a:endParaRPr lang="cs-CZ"/>
          </a:p>
        </p:txBody>
      </p:sp>
      <p:sp>
        <p:nvSpPr>
          <p:cNvPr id="7" name="Slide Number Placeholder 6"/>
          <p:cNvSpPr>
            <a:spLocks noGrp="1"/>
          </p:cNvSpPr>
          <p:nvPr>
            <p:ph type="sldNum" sz="quarter" idx="5"/>
          </p:nvPr>
        </p:nvSpPr>
        <p:spPr>
          <a:xfrm>
            <a:off x="5180013" y="7058943"/>
            <a:ext cx="3962400" cy="370526"/>
          </a:xfrm>
          <a:prstGeom prst="rect">
            <a:avLst/>
          </a:prstGeom>
        </p:spPr>
        <p:txBody>
          <a:bodyPr vert="horz" lIns="91440" tIns="45720" rIns="91440" bIns="45720" rtlCol="0" anchor="b"/>
          <a:lstStyle>
            <a:lvl1pPr algn="r">
              <a:defRPr sz="1200"/>
            </a:lvl1pPr>
          </a:lstStyle>
          <a:p>
            <a:fld id="{871B2431-D351-4C6E-A3CF-9DFAC0E3E050}" type="slidenum">
              <a:rPr lang="cs-CZ" smtClean="0"/>
              <a:t>28</a:t>
            </a:fld>
            <a:endParaRPr lang="cs-CZ"/>
          </a:p>
        </p:txBody>
      </p:sp>
    </p:spTree>
    <p:extLst>
      <p:ext uri="{BB962C8B-B14F-4D97-AF65-F5344CB8AC3E}">
        <p14:creationId xmlns:p14="http://schemas.microsoft.com/office/powerpoint/2010/main" val="23859782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4"/>
        <p:cNvGrpSpPr/>
        <p:nvPr/>
      </p:nvGrpSpPr>
      <p:grpSpPr>
        <a:xfrm>
          <a:off x="0" y="0"/>
          <a:ext cx="0" cy="0"/>
          <a:chOff x="0" y="0"/>
          <a:chExt cx="0" cy="0"/>
        </a:xfrm>
      </p:grpSpPr>
      <p:sp>
        <p:nvSpPr>
          <p:cNvPr id="605" name="Google Shape;605;p24: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606" name="Google Shape;606;p2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1241425"/>
            <a:ext cx="5953125" cy="3349625"/>
          </a:xfrm>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F8410D24-7A1B-4617-972B-A3FD426D7952}" type="slidenum">
              <a:rPr lang="el-GR" smtClean="0"/>
              <a:pPr/>
              <a:t>3</a:t>
            </a:fld>
            <a:endParaRPr lang="el-GR"/>
          </a:p>
        </p:txBody>
      </p:sp>
    </p:spTree>
    <p:extLst>
      <p:ext uri="{BB962C8B-B14F-4D97-AF65-F5344CB8AC3E}">
        <p14:creationId xmlns:p14="http://schemas.microsoft.com/office/powerpoint/2010/main" val="2563983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i="1" dirty="0"/>
              <a:t>ΓΙΑΤΙ Στρατηγικός και Επιχειρησιακός Σχεδιασμός?</a:t>
            </a:r>
          </a:p>
          <a:p>
            <a:r>
              <a:rPr lang="el-GR" dirty="0"/>
              <a:t>Σε εφαρμογή του Οργανισμού</a:t>
            </a:r>
          </a:p>
          <a:p>
            <a:r>
              <a:rPr lang="el-GR" dirty="0"/>
              <a:t>Προκλήσεις εξωτερικού περιβάλλοντος που διαρκώς μεταβαλλόμενο</a:t>
            </a:r>
          </a:p>
          <a:p>
            <a:r>
              <a:rPr lang="el-GR" dirty="0"/>
              <a:t>4ετή αναφορά – σε αντιστοιχία με το Μεσοπρόθεσμο Πλαίσιο Δημοσιονομικής Πολιτικής</a:t>
            </a:r>
          </a:p>
          <a:p>
            <a:endParaRPr lang="el-GR" dirty="0"/>
          </a:p>
          <a:p>
            <a:r>
              <a:rPr lang="el-GR" dirty="0"/>
              <a:t>Η Πυραμίδα αποτυπώνει τα επίπεδα του ΣΕΣ και τους κύριους υπεύθυνους σε κάθε επίπεδο</a:t>
            </a:r>
          </a:p>
          <a:p>
            <a:endParaRPr lang="el-GR" dirty="0"/>
          </a:p>
        </p:txBody>
      </p:sp>
      <p:sp>
        <p:nvSpPr>
          <p:cNvPr id="4" name="Θέση αριθμού διαφάνειας 3"/>
          <p:cNvSpPr>
            <a:spLocks noGrp="1"/>
          </p:cNvSpPr>
          <p:nvPr>
            <p:ph type="sldNum" sz="quarter" idx="5"/>
          </p:nvPr>
        </p:nvSpPr>
        <p:spPr/>
        <p:txBody>
          <a:bodyPr/>
          <a:lstStyle/>
          <a:p>
            <a:fld id="{77CF8C31-C0A2-4F6F-B75A-6CC4FAA7F1C1}" type="slidenum">
              <a:rPr lang="en-GB" smtClean="0"/>
              <a:pPr/>
              <a:t>4</a:t>
            </a:fld>
            <a:endParaRPr lang="en-GB"/>
          </a:p>
        </p:txBody>
      </p:sp>
    </p:spTree>
    <p:extLst>
      <p:ext uri="{BB962C8B-B14F-4D97-AF65-F5344CB8AC3E}">
        <p14:creationId xmlns:p14="http://schemas.microsoft.com/office/powerpoint/2010/main" val="536199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1241425"/>
            <a:ext cx="5953125" cy="3349625"/>
          </a:xfrm>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F8410D24-7A1B-4617-972B-A3FD426D7952}" type="slidenum">
              <a:rPr lang="el-GR" smtClean="0"/>
              <a:pPr/>
              <a:t>5</a:t>
            </a:fld>
            <a:endParaRPr lang="el-GR"/>
          </a:p>
        </p:txBody>
      </p:sp>
    </p:spTree>
    <p:extLst>
      <p:ext uri="{BB962C8B-B14F-4D97-AF65-F5344CB8AC3E}">
        <p14:creationId xmlns:p14="http://schemas.microsoft.com/office/powerpoint/2010/main" val="4137045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E8EEC893-552B-4D40-A021-6486092AA657}"/>
              </a:ext>
            </a:extLst>
          </p:cNvPr>
          <p:cNvSpPr>
            <a:spLocks noGrp="1" noRot="1" noChangeAspect="1" noChangeArrowheads="1" noTextEdit="1"/>
          </p:cNvSpPr>
          <p:nvPr>
            <p:ph type="sldImg"/>
          </p:nvPr>
        </p:nvSpPr>
        <p:spPr bwMode="auto">
          <a:xfrm>
            <a:off x="452438" y="1241425"/>
            <a:ext cx="5953125" cy="3349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86E1D98B-66F0-4BD9-AF0F-3B748074E1C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l-GR" altLang="en-US" dirty="0"/>
              <a:t>Οι αξίες που διέπουν ή πρέπει να διέπουν το Υπουργείο Εξωτερικών και τους υπαλλήλους του είναι…</a:t>
            </a:r>
            <a:endParaRPr lang="en-GB" altLang="en-US" dirty="0"/>
          </a:p>
          <a:p>
            <a:pPr eaLnBrk="1" hangingPunct="1">
              <a:spcBef>
                <a:spcPct val="0"/>
              </a:spcBef>
            </a:pPr>
            <a:endParaRPr lang="en-GB" altLang="en-US" dirty="0"/>
          </a:p>
        </p:txBody>
      </p:sp>
      <p:sp>
        <p:nvSpPr>
          <p:cNvPr id="35844" name="Slide Number Placeholder 3">
            <a:extLst>
              <a:ext uri="{FF2B5EF4-FFF2-40B4-BE49-F238E27FC236}">
                <a16:creationId xmlns:a16="http://schemas.microsoft.com/office/drawing/2014/main" id="{E9C8D288-7833-49D1-9970-F40D1F6E640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1F52DD9-BF9B-4EC7-804E-4C5FF85AA0AA}" type="slidenum">
              <a:rPr lang="el-GR" altLang="en-US">
                <a:latin typeface="Calibri" panose="020F0502020204030204" pitchFamily="34" charset="0"/>
              </a:rPr>
              <a:pPr/>
              <a:t>6</a:t>
            </a:fld>
            <a:endParaRPr lang="el-GR" altLang="en-US">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
        <p:cNvGrpSpPr/>
        <p:nvPr/>
      </p:nvGrpSpPr>
      <p:grpSpPr>
        <a:xfrm>
          <a:off x="0" y="0"/>
          <a:ext cx="0" cy="0"/>
          <a:chOff x="0" y="0"/>
          <a:chExt cx="0" cy="0"/>
        </a:xfrm>
      </p:grpSpPr>
      <p:sp>
        <p:nvSpPr>
          <p:cNvPr id="316" name="Google Shape;316;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eaLnBrk="1" hangingPunct="1">
              <a:spcBef>
                <a:spcPct val="0"/>
              </a:spcBef>
            </a:pPr>
            <a:r>
              <a:rPr lang="el-GR" altLang="en-US" dirty="0"/>
              <a:t>Αποστολή-&gt; αναφέρεται στον Οργανισμό </a:t>
            </a:r>
          </a:p>
          <a:p>
            <a:pPr eaLnBrk="1" hangingPunct="1">
              <a:spcBef>
                <a:spcPct val="0"/>
              </a:spcBef>
            </a:pPr>
            <a:endParaRPr lang="el-GR" altLang="en-US" dirty="0"/>
          </a:p>
          <a:p>
            <a:pPr eaLnBrk="1" hangingPunct="1">
              <a:spcBef>
                <a:spcPct val="0"/>
              </a:spcBef>
            </a:pPr>
            <a:r>
              <a:rPr lang="el-GR" altLang="en-US" dirty="0"/>
              <a:t>Όραμα είναι αυτό που θέλουμε να είμαστε/να γίνουμε/να κάνουμε</a:t>
            </a:r>
          </a:p>
          <a:p>
            <a:pPr marL="0" lvl="0" indent="0" algn="l" rtl="0">
              <a:lnSpc>
                <a:spcPct val="100000"/>
              </a:lnSpc>
              <a:spcBef>
                <a:spcPts val="0"/>
              </a:spcBef>
              <a:spcAft>
                <a:spcPts val="0"/>
              </a:spcAft>
              <a:buSzPts val="1400"/>
              <a:buNone/>
            </a:pPr>
            <a:endParaRPr lang="en-US" dirty="0"/>
          </a:p>
          <a:p>
            <a:r>
              <a:rPr lang="el-GR" sz="1200" b="1" kern="1200" dirty="0">
                <a:solidFill>
                  <a:schemeClr val="tx1"/>
                </a:solidFill>
                <a:effectLst/>
                <a:latin typeface="+mn-lt"/>
                <a:ea typeface="+mn-ea"/>
                <a:cs typeface="+mn-cs"/>
              </a:rPr>
              <a:t>Εμπλεκόμενα και </a:t>
            </a:r>
            <a:r>
              <a:rPr lang="el-GR" sz="1200" b="1" kern="1200" dirty="0" err="1">
                <a:solidFill>
                  <a:schemeClr val="tx1"/>
                </a:solidFill>
                <a:effectLst/>
                <a:latin typeface="+mn-lt"/>
                <a:ea typeface="+mn-ea"/>
                <a:cs typeface="+mn-cs"/>
              </a:rPr>
              <a:t>συνεισφέροντα</a:t>
            </a:r>
            <a:r>
              <a:rPr lang="el-GR" sz="1200" b="1" kern="1200" dirty="0">
                <a:solidFill>
                  <a:schemeClr val="tx1"/>
                </a:solidFill>
                <a:effectLst/>
                <a:latin typeface="+mn-lt"/>
                <a:ea typeface="+mn-ea"/>
                <a:cs typeface="+mn-cs"/>
              </a:rPr>
              <a:t> μέρη (</a:t>
            </a:r>
            <a:r>
              <a:rPr lang="el-GR" sz="1200" b="1" kern="1200" dirty="0" err="1">
                <a:solidFill>
                  <a:schemeClr val="tx1"/>
                </a:solidFill>
                <a:effectLst/>
                <a:latin typeface="+mn-lt"/>
                <a:ea typeface="+mn-ea"/>
                <a:cs typeface="+mn-cs"/>
              </a:rPr>
              <a:t>Stakeholders</a:t>
            </a:r>
            <a:r>
              <a:rPr lang="el-GR" sz="1200" b="1" kern="1200" dirty="0">
                <a:solidFill>
                  <a:schemeClr val="tx1"/>
                </a:solidFill>
                <a:effectLst/>
                <a:latin typeface="+mn-lt"/>
                <a:ea typeface="+mn-ea"/>
                <a:cs typeface="+mn-cs"/>
              </a:rPr>
              <a:t>)</a:t>
            </a:r>
            <a:endParaRPr lang="el-GR" sz="1200" kern="1200" dirty="0">
              <a:solidFill>
                <a:schemeClr val="tx1"/>
              </a:solidFill>
              <a:effectLst/>
              <a:latin typeface="+mn-lt"/>
              <a:ea typeface="+mn-ea"/>
              <a:cs typeface="+mn-cs"/>
            </a:endParaRPr>
          </a:p>
          <a:p>
            <a:r>
              <a:rPr lang="el-GR" sz="1200" kern="1200" dirty="0">
                <a:solidFill>
                  <a:schemeClr val="tx1"/>
                </a:solidFill>
                <a:effectLst/>
                <a:latin typeface="+mn-lt"/>
                <a:ea typeface="+mn-ea"/>
                <a:cs typeface="+mn-cs"/>
              </a:rPr>
              <a:t>Πέραν όλων</a:t>
            </a:r>
            <a:r>
              <a:rPr lang="en-US" sz="1200" kern="1200" dirty="0">
                <a:solidFill>
                  <a:schemeClr val="tx1"/>
                </a:solidFill>
                <a:effectLst/>
                <a:latin typeface="+mn-lt"/>
                <a:ea typeface="+mn-ea"/>
                <a:cs typeface="+mn-cs"/>
              </a:rPr>
              <a:t> </a:t>
            </a:r>
            <a:r>
              <a:rPr lang="el-GR" sz="1200" kern="1200" dirty="0">
                <a:solidFill>
                  <a:schemeClr val="tx1"/>
                </a:solidFill>
                <a:effectLst/>
                <a:latin typeface="+mn-lt"/>
                <a:ea typeface="+mn-ea"/>
                <a:cs typeface="+mn-cs"/>
              </a:rPr>
              <a:t>των Οργανικών Μονάδων και του Ανθρώπινου </a:t>
            </a:r>
            <a:r>
              <a:rPr lang="el-GR" sz="1200" kern="1200" dirty="0" err="1">
                <a:solidFill>
                  <a:schemeClr val="tx1"/>
                </a:solidFill>
                <a:effectLst/>
                <a:latin typeface="+mn-lt"/>
                <a:ea typeface="+mn-ea"/>
                <a:cs typeface="+mn-cs"/>
              </a:rPr>
              <a:t>Δυναμικούτου</a:t>
            </a:r>
            <a:r>
              <a:rPr lang="el-GR" sz="1200" kern="1200" dirty="0">
                <a:solidFill>
                  <a:schemeClr val="tx1"/>
                </a:solidFill>
                <a:effectLst/>
                <a:latin typeface="+mn-lt"/>
                <a:ea typeface="+mn-ea"/>
                <a:cs typeface="+mn-cs"/>
              </a:rPr>
              <a:t> Υπουργείου Εξωτερικών, ενδεικτικά εμπλεκόμενα και </a:t>
            </a:r>
            <a:r>
              <a:rPr lang="el-GR" sz="1200" kern="1200" dirty="0" err="1">
                <a:solidFill>
                  <a:schemeClr val="tx1"/>
                </a:solidFill>
                <a:effectLst/>
                <a:latin typeface="+mn-lt"/>
                <a:ea typeface="+mn-ea"/>
                <a:cs typeface="+mn-cs"/>
              </a:rPr>
              <a:t>συνεισφέροντα</a:t>
            </a:r>
            <a:r>
              <a:rPr lang="el-GR" sz="1200" kern="1200" dirty="0">
                <a:solidFill>
                  <a:schemeClr val="tx1"/>
                </a:solidFill>
                <a:effectLst/>
                <a:latin typeface="+mn-lt"/>
                <a:ea typeface="+mn-ea"/>
                <a:cs typeface="+mn-cs"/>
              </a:rPr>
              <a:t> μέρη στον Στρατηγικό Σχεδιασμό είναι:</a:t>
            </a:r>
            <a:r>
              <a:rPr lang="en-US" sz="1200" kern="1200" dirty="0">
                <a:solidFill>
                  <a:schemeClr val="tx1"/>
                </a:solidFill>
                <a:effectLst/>
                <a:latin typeface="+mn-lt"/>
                <a:ea typeface="+mn-ea"/>
                <a:cs typeface="+mn-cs"/>
              </a:rPr>
              <a:t> </a:t>
            </a:r>
            <a:r>
              <a:rPr lang="el-GR" sz="1200" kern="1200" dirty="0">
                <a:solidFill>
                  <a:schemeClr val="tx1"/>
                </a:solidFill>
                <a:effectLst/>
                <a:latin typeface="+mn-lt"/>
                <a:ea typeface="+mn-ea"/>
                <a:cs typeface="+mn-cs"/>
              </a:rPr>
              <a:t>Κυβερνητικοί Φορείς:  το σύνολο των </a:t>
            </a:r>
            <a:r>
              <a:rPr lang="el-GR" sz="1200" kern="1200" dirty="0" err="1">
                <a:solidFill>
                  <a:schemeClr val="tx1"/>
                </a:solidFill>
                <a:effectLst/>
                <a:latin typeface="+mn-lt"/>
                <a:ea typeface="+mn-ea"/>
                <a:cs typeface="+mn-cs"/>
              </a:rPr>
              <a:t>Υπουργείων,τωνυπηρεσιών</a:t>
            </a:r>
            <a:r>
              <a:rPr lang="el-GR" sz="1200" kern="1200" dirty="0">
                <a:solidFill>
                  <a:schemeClr val="tx1"/>
                </a:solidFill>
                <a:effectLst/>
                <a:latin typeface="+mn-lt"/>
                <a:ea typeface="+mn-ea"/>
                <a:cs typeface="+mn-cs"/>
              </a:rPr>
              <a:t> τους και των εποπτευόμενων </a:t>
            </a:r>
            <a:r>
              <a:rPr lang="el-GR" sz="1200" kern="1200" dirty="0" err="1">
                <a:solidFill>
                  <a:schemeClr val="tx1"/>
                </a:solidFill>
                <a:effectLst/>
                <a:latin typeface="+mn-lt"/>
                <a:ea typeface="+mn-ea"/>
                <a:cs typeface="+mn-cs"/>
              </a:rPr>
              <a:t>φορέωντους</a:t>
            </a:r>
            <a:endParaRPr lang="el-GR" sz="1200" kern="1200" dirty="0">
              <a:solidFill>
                <a:schemeClr val="tx1"/>
              </a:solidFill>
              <a:effectLst/>
              <a:latin typeface="+mn-lt"/>
              <a:ea typeface="+mn-ea"/>
              <a:cs typeface="+mn-cs"/>
            </a:endParaRPr>
          </a:p>
          <a:p>
            <a:pPr lvl="0"/>
            <a:r>
              <a:rPr lang="el-GR" sz="1200" kern="1200" dirty="0">
                <a:solidFill>
                  <a:schemeClr val="tx1"/>
                </a:solidFill>
                <a:effectLst/>
                <a:latin typeface="+mn-lt"/>
                <a:ea typeface="+mn-ea"/>
                <a:cs typeface="+mn-cs"/>
              </a:rPr>
              <a:t>Ευρωπαϊκή Ένωση</a:t>
            </a:r>
          </a:p>
          <a:p>
            <a:pPr lvl="0"/>
            <a:r>
              <a:rPr lang="el-GR" sz="1200" kern="1200" dirty="0">
                <a:solidFill>
                  <a:schemeClr val="tx1"/>
                </a:solidFill>
                <a:effectLst/>
                <a:latin typeface="+mn-lt"/>
                <a:ea typeface="+mn-ea"/>
                <a:cs typeface="+mn-cs"/>
              </a:rPr>
              <a:t>Διεθνείς και Περιφερειακοί Οργανισμοί</a:t>
            </a:r>
          </a:p>
          <a:p>
            <a:pPr lvl="0"/>
            <a:r>
              <a:rPr lang="el-GR" sz="1200" kern="1200" dirty="0">
                <a:solidFill>
                  <a:schemeClr val="tx1"/>
                </a:solidFill>
                <a:effectLst/>
                <a:latin typeface="+mn-lt"/>
                <a:ea typeface="+mn-ea"/>
                <a:cs typeface="+mn-cs"/>
              </a:rPr>
              <a:t>Διπλωματικές Αποστολές, Υπουργεία Εξωτερικών και άλλα Υπουργεία ξένων κρατών</a:t>
            </a:r>
          </a:p>
          <a:p>
            <a:pPr lvl="0"/>
            <a:r>
              <a:rPr lang="el-GR" sz="1200" kern="1200" dirty="0">
                <a:solidFill>
                  <a:schemeClr val="tx1"/>
                </a:solidFill>
                <a:effectLst/>
                <a:latin typeface="+mn-lt"/>
                <a:ea typeface="+mn-ea"/>
                <a:cs typeface="+mn-cs"/>
              </a:rPr>
              <a:t>Κρατικοί και ιδιωτικοί φορείς Εξωστρέφειας </a:t>
            </a:r>
          </a:p>
          <a:p>
            <a:pPr lvl="0"/>
            <a:r>
              <a:rPr lang="el-GR" sz="1200" kern="1200" dirty="0">
                <a:solidFill>
                  <a:schemeClr val="tx1"/>
                </a:solidFill>
                <a:effectLst/>
                <a:latin typeface="+mn-lt"/>
                <a:ea typeface="+mn-ea"/>
                <a:cs typeface="+mn-cs"/>
              </a:rPr>
              <a:t>Απόδημος Ελληνισμός</a:t>
            </a:r>
          </a:p>
          <a:p>
            <a:pPr lvl="0"/>
            <a:r>
              <a:rPr lang="el-GR" sz="1200" kern="1200" dirty="0">
                <a:solidFill>
                  <a:schemeClr val="tx1"/>
                </a:solidFill>
                <a:effectLst/>
                <a:latin typeface="+mn-lt"/>
                <a:ea typeface="+mn-ea"/>
                <a:cs typeface="+mn-cs"/>
              </a:rPr>
              <a:t>Επιχειρήσεις</a:t>
            </a:r>
          </a:p>
          <a:p>
            <a:pPr lvl="0"/>
            <a:r>
              <a:rPr lang="el-GR" sz="1200" kern="1200" dirty="0">
                <a:solidFill>
                  <a:schemeClr val="tx1"/>
                </a:solidFill>
                <a:effectLst/>
                <a:latin typeface="+mn-lt"/>
                <a:ea typeface="+mn-ea"/>
                <a:cs typeface="+mn-cs"/>
              </a:rPr>
              <a:t>Μέσα Μαζικής Ενημέρωσης και Μέσα Κοινωνικής Δικτύωσης</a:t>
            </a:r>
          </a:p>
          <a:p>
            <a:pPr lvl="0"/>
            <a:r>
              <a:rPr lang="el-GR" sz="1200" kern="1200" dirty="0">
                <a:solidFill>
                  <a:schemeClr val="tx1"/>
                </a:solidFill>
                <a:effectLst/>
                <a:latin typeface="+mn-lt"/>
                <a:ea typeface="+mn-ea"/>
                <a:cs typeface="+mn-cs"/>
              </a:rPr>
              <a:t>Θρησκευτικοί φορείς </a:t>
            </a:r>
          </a:p>
          <a:p>
            <a:pPr lvl="0"/>
            <a:r>
              <a:rPr lang="el-GR" sz="1200" kern="1200" dirty="0">
                <a:solidFill>
                  <a:schemeClr val="tx1"/>
                </a:solidFill>
                <a:effectLst/>
                <a:latin typeface="+mn-lt"/>
                <a:ea typeface="+mn-ea"/>
                <a:cs typeface="+mn-cs"/>
              </a:rPr>
              <a:t>Πολιτιστικοί φορείς</a:t>
            </a:r>
          </a:p>
          <a:p>
            <a:pPr lvl="0"/>
            <a:r>
              <a:rPr lang="el-GR" sz="1200" kern="1200" dirty="0">
                <a:solidFill>
                  <a:schemeClr val="tx1"/>
                </a:solidFill>
                <a:effectLst/>
                <a:latin typeface="+mn-lt"/>
                <a:ea typeface="+mn-ea"/>
                <a:cs typeface="+mn-cs"/>
              </a:rPr>
              <a:t>Μορφωτικά Ιδρύματα και εκπαιδευτικοί φορείς</a:t>
            </a:r>
          </a:p>
          <a:p>
            <a:pPr lvl="0"/>
            <a:r>
              <a:rPr lang="el-GR" sz="1200" kern="1200" dirty="0">
                <a:solidFill>
                  <a:schemeClr val="tx1"/>
                </a:solidFill>
                <a:effectLst/>
                <a:latin typeface="+mn-lt"/>
                <a:ea typeface="+mn-ea"/>
                <a:cs typeface="+mn-cs"/>
              </a:rPr>
              <a:t>Κοινωνία των Πολιτών, Μη Κυβερνητικές Οργανώσεις</a:t>
            </a:r>
          </a:p>
          <a:p>
            <a:pPr lvl="0"/>
            <a:r>
              <a:rPr lang="el-GR" sz="1200" kern="1200" dirty="0">
                <a:solidFill>
                  <a:schemeClr val="tx1"/>
                </a:solidFill>
                <a:effectLst/>
                <a:latin typeface="+mn-lt"/>
                <a:ea typeface="+mn-ea"/>
                <a:cs typeface="+mn-cs"/>
              </a:rPr>
              <a:t>Δεξαμενές σκέψης</a:t>
            </a:r>
          </a:p>
          <a:p>
            <a:pPr marL="0" lvl="0" indent="0" algn="l" rtl="0">
              <a:lnSpc>
                <a:spcPct val="100000"/>
              </a:lnSpc>
              <a:spcBef>
                <a:spcPts val="0"/>
              </a:spcBef>
              <a:spcAft>
                <a:spcPts val="0"/>
              </a:spcAft>
              <a:buSzPts val="1400"/>
              <a:buNone/>
            </a:pPr>
            <a:endParaRPr dirty="0"/>
          </a:p>
        </p:txBody>
      </p:sp>
      <p:sp>
        <p:nvSpPr>
          <p:cNvPr id="317" name="Google Shape;317;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390841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1241425"/>
            <a:ext cx="5953125" cy="3349625"/>
          </a:xfrm>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F8410D24-7A1B-4617-972B-A3FD426D7952}" type="slidenum">
              <a:rPr lang="el-GR" smtClean="0"/>
              <a:pPr/>
              <a:t>8</a:t>
            </a:fld>
            <a:endParaRPr lang="el-GR"/>
          </a:p>
        </p:txBody>
      </p:sp>
    </p:spTree>
    <p:extLst>
      <p:ext uri="{BB962C8B-B14F-4D97-AF65-F5344CB8AC3E}">
        <p14:creationId xmlns:p14="http://schemas.microsoft.com/office/powerpoint/2010/main" val="3214948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dirty="0">
                <a:latin typeface="+mn-lt"/>
              </a:rPr>
              <a:t>Το Στρατηγικό Σχέδιο του ΥΠΕΞ αναπτύσσεται </a:t>
            </a:r>
            <a:r>
              <a:rPr lang="el-GR" sz="1200" b="1" dirty="0">
                <a:latin typeface="+mn-lt"/>
              </a:rPr>
              <a:t>σε πέντε (5) Στρατηγικούς Άξονες:</a:t>
            </a:r>
          </a:p>
          <a:p>
            <a:pPr marL="0" marR="0" lvl="0" indent="0" algn="l" defTabSz="914400" rtl="0" eaLnBrk="1" fontAlgn="auto" latinLnBrk="0" hangingPunct="1">
              <a:lnSpc>
                <a:spcPct val="100000"/>
              </a:lnSpc>
              <a:spcBef>
                <a:spcPts val="0"/>
              </a:spcBef>
              <a:spcAft>
                <a:spcPts val="0"/>
              </a:spcAft>
              <a:buClrTx/>
              <a:buSzTx/>
              <a:buFontTx/>
              <a:buNone/>
              <a:tabLst/>
              <a:defRPr/>
            </a:pPr>
            <a:r>
              <a:rPr lang="el-GR" altLang="en-US" sz="1200" dirty="0">
                <a:solidFill>
                  <a:srgbClr val="000000"/>
                </a:solidFill>
                <a:latin typeface="+mn-lt"/>
                <a:cs typeface="Calibri" panose="020F0502020204030204" pitchFamily="34" charset="0"/>
              </a:rPr>
              <a:t>Οι</a:t>
            </a:r>
            <a:r>
              <a:rPr lang="el-GR" sz="1200" dirty="0">
                <a:latin typeface="+mn-lt"/>
              </a:rPr>
              <a:t> </a:t>
            </a:r>
            <a:r>
              <a:rPr lang="el-GR" sz="1200" b="1" dirty="0">
                <a:latin typeface="+mn-lt"/>
              </a:rPr>
              <a:t>Στρατηγικοί Άξονες</a:t>
            </a:r>
            <a:r>
              <a:rPr lang="el-GR" sz="1200" dirty="0">
                <a:latin typeface="+mn-lt"/>
              </a:rPr>
              <a:t> αποτελούν τη βάση πάνω στην οποία αναπτύσσονται η </a:t>
            </a:r>
            <a:r>
              <a:rPr lang="el-GR" sz="1200" dirty="0" err="1">
                <a:latin typeface="+mn-lt"/>
              </a:rPr>
              <a:t>στοχοθεσία</a:t>
            </a:r>
            <a:r>
              <a:rPr lang="el-GR" sz="1200" dirty="0">
                <a:latin typeface="+mn-lt"/>
              </a:rPr>
              <a:t> και η δραστηριότητα του Υπουργείου. Προσδιορίζονται από την πολιτική ηγεσία του Υπουργείου στο πλαίσιο της υλοποίησης των Στρατηγικών Επιλογών της Κυβέρνησης</a:t>
            </a:r>
          </a:p>
          <a:p>
            <a:pPr marL="0" marR="0" lvl="0" indent="0" algn="l" defTabSz="914400" rtl="0" eaLnBrk="1" fontAlgn="auto" latinLnBrk="0" hangingPunct="1">
              <a:lnSpc>
                <a:spcPct val="100000"/>
              </a:lnSpc>
              <a:spcBef>
                <a:spcPts val="0"/>
              </a:spcBef>
              <a:spcAft>
                <a:spcPts val="0"/>
              </a:spcAft>
              <a:buClrTx/>
              <a:buSzTx/>
              <a:buFontTx/>
              <a:buNone/>
              <a:tabLst/>
              <a:defRPr/>
            </a:pPr>
            <a:r>
              <a:rPr lang="el-GR" altLang="en-US" sz="1300" i="1" dirty="0">
                <a:solidFill>
                  <a:srgbClr val="000000"/>
                </a:solidFill>
                <a:latin typeface="Calibri" panose="020F0502020204030204" pitchFamily="34" charset="0"/>
                <a:cs typeface="Calibri" panose="020F0502020204030204" pitchFamily="34" charset="0"/>
              </a:rPr>
              <a:t>[Οι </a:t>
            </a:r>
            <a:r>
              <a:rPr lang="el-GR" altLang="en-US" sz="1300" b="1" i="1" dirty="0">
                <a:solidFill>
                  <a:srgbClr val="000000"/>
                </a:solidFill>
                <a:latin typeface="Calibri" panose="020F0502020204030204" pitchFamily="34" charset="0"/>
                <a:cs typeface="Calibri" panose="020F0502020204030204" pitchFamily="34" charset="0"/>
              </a:rPr>
              <a:t>Στρατηγικές Επιλογές </a:t>
            </a:r>
            <a:r>
              <a:rPr lang="el-GR" altLang="en-US" sz="1300" i="1" dirty="0">
                <a:solidFill>
                  <a:srgbClr val="000000"/>
                </a:solidFill>
                <a:latin typeface="Calibri" panose="020F0502020204030204" pitchFamily="34" charset="0"/>
                <a:cs typeface="Calibri" panose="020F0502020204030204" pitchFamily="34" charset="0"/>
              </a:rPr>
              <a:t>της Κυβέρνησης</a:t>
            </a:r>
            <a:r>
              <a:rPr lang="en-US" altLang="en-US" sz="1300" i="1" dirty="0">
                <a:solidFill>
                  <a:srgbClr val="000000"/>
                </a:solidFill>
                <a:latin typeface="Calibri" panose="020F0502020204030204" pitchFamily="34" charset="0"/>
                <a:cs typeface="Calibri" panose="020F0502020204030204" pitchFamily="34" charset="0"/>
              </a:rPr>
              <a:t> </a:t>
            </a:r>
            <a:r>
              <a:rPr lang="el-GR" altLang="en-US" sz="1300" i="1" dirty="0">
                <a:solidFill>
                  <a:srgbClr val="000000"/>
                </a:solidFill>
                <a:latin typeface="Calibri" panose="020F0502020204030204" pitchFamily="34" charset="0"/>
                <a:cs typeface="Calibri" panose="020F0502020204030204" pitchFamily="34" charset="0"/>
              </a:rPr>
              <a:t>συμφωνούνται στο Υπουργικό Συμβούλιο Προγραμματισμού και Αξιολόγησης Κυβερνητικού Έργου του Απριλίου κάθε έτους, σύμφωνα με τις διατάξεις του ν. 4622/2019 (Επιτελικού Κράτους). Οι </a:t>
            </a:r>
            <a:r>
              <a:rPr lang="el-GR" sz="1300" i="1" dirty="0">
                <a:solidFill>
                  <a:srgbClr val="000000"/>
                </a:solidFill>
                <a:latin typeface="Calibri" panose="020F0502020204030204" pitchFamily="34" charset="0"/>
                <a:cs typeface="Calibri" panose="020F0502020204030204" pitchFamily="34" charset="0"/>
              </a:rPr>
              <a:t>ανακοινωθείσες </a:t>
            </a:r>
            <a:r>
              <a:rPr lang="el-GR" altLang="en-US" sz="1300" i="1" dirty="0">
                <a:solidFill>
                  <a:srgbClr val="000000"/>
                </a:solidFill>
                <a:latin typeface="Calibri" panose="020F0502020204030204" pitchFamily="34" charset="0"/>
                <a:cs typeface="Calibri" panose="020F0502020204030204" pitchFamily="34" charset="0"/>
              </a:rPr>
              <a:t>Στρατηγικές Επιλογές της κυβέρνησης, στην υλοποίηση των οποίων συμβάλλει το Υπουργείο Εξωτερικών είναι:….]</a:t>
            </a:r>
          </a:p>
          <a:p>
            <a:pPr marL="0" marR="0" lvl="0" indent="0" algn="l" defTabSz="914400" rtl="0" eaLnBrk="1" fontAlgn="auto" latinLnBrk="0" hangingPunct="1">
              <a:lnSpc>
                <a:spcPct val="100000"/>
              </a:lnSpc>
              <a:spcBef>
                <a:spcPts val="0"/>
              </a:spcBef>
              <a:spcAft>
                <a:spcPts val="0"/>
              </a:spcAft>
              <a:buClrTx/>
              <a:buSzTx/>
              <a:buFontTx/>
              <a:buNone/>
              <a:tabLst/>
              <a:defRPr/>
            </a:pPr>
            <a:endParaRPr lang="el-GR" altLang="en-US" sz="1400" dirty="0">
              <a:solidFill>
                <a:srgbClr val="000000"/>
              </a:solidFill>
              <a:latin typeface="Calibri" panose="020F0502020204030204" pitchFamily="34" charset="0"/>
              <a:cs typeface="Calibri" panose="020F0502020204030204" pitchFamily="34" charset="0"/>
            </a:endParaRPr>
          </a:p>
          <a:p>
            <a:pPr>
              <a:buFont typeface="Wingdings" panose="05000000000000000000" pitchFamily="2" charset="2"/>
              <a:buChar char="ü"/>
            </a:pPr>
            <a:r>
              <a:rPr lang="el-GR" sz="1200" dirty="0">
                <a:latin typeface="Calibri" panose="020F0502020204030204" pitchFamily="34" charset="0"/>
                <a:cs typeface="Calibri" panose="020F0502020204030204" pitchFamily="34" charset="0"/>
              </a:rPr>
              <a:t>Υπεύθυνος για την διατύπωση των Στόχων και τον συντονισμό της υλοποίησης των Δράσεων που υπάγονται στους Στρατηγικούς Άξονες 1,2 και 5 είναι ο Υπηρεσιακός Γενικός Γραμματέας. </a:t>
            </a:r>
          </a:p>
          <a:p>
            <a:pPr>
              <a:buFont typeface="Wingdings" panose="05000000000000000000" pitchFamily="2" charset="2"/>
              <a:buChar char="ü"/>
            </a:pPr>
            <a:r>
              <a:rPr lang="el-GR" sz="1200" dirty="0">
                <a:latin typeface="Calibri" panose="020F0502020204030204" pitchFamily="34" charset="0"/>
                <a:cs typeface="Calibri" panose="020F0502020204030204" pitchFamily="34" charset="0"/>
              </a:rPr>
              <a:t>Αντίστοιχα, υπεύθυνος για τους Στόχους του Στρατηγικού Άξονα 3 είναι ο Γενικός Γραμματέας Διεθνών Οικονομικών Σχέσεων και Εξωστρέφειας και για τους Στόχους του Στρατηγικού Άξονα 4 ο Γενικός Γραμματέας Δημόσιας Διπλωματίας και Απόδημου Ελληνισμού.</a:t>
            </a:r>
          </a:p>
          <a:p>
            <a:pPr>
              <a:buFont typeface="Wingdings" panose="05000000000000000000" pitchFamily="2" charset="2"/>
              <a:buChar char="ü"/>
            </a:pPr>
            <a:r>
              <a:rPr lang="el-GR" sz="1200" dirty="0"/>
              <a:t>Σε επίπεδο Επιχειρησιακού Σχεδίου, η υλοποίηση των Δράσεων απαιτεί, σε πολλές περιπτώσεις, συνεργασία μεταξύ των Γενικών Γραμματειών και των Γενικών Διευθύνσεων  και Διευθύνσεων που υπάγονται στην αρμοδιότητά τους, και στις οποίες θα ανατεθεί από πλευράς Γενικών Γραμματέων, η υλοποίηση των Στόχων.  </a:t>
            </a:r>
            <a:endParaRPr lang="en-GB"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mn-lt"/>
            </a:endParaRPr>
          </a:p>
          <a:p>
            <a:endParaRPr lang="en-GB" dirty="0"/>
          </a:p>
        </p:txBody>
      </p:sp>
      <p:sp>
        <p:nvSpPr>
          <p:cNvPr id="4" name="Slide Number Placeholder 3"/>
          <p:cNvSpPr>
            <a:spLocks noGrp="1"/>
          </p:cNvSpPr>
          <p:nvPr>
            <p:ph type="sldNum" sz="quarter" idx="5"/>
          </p:nvPr>
        </p:nvSpPr>
        <p:spPr/>
        <p:txBody>
          <a:bodyPr/>
          <a:lstStyle/>
          <a:p>
            <a:fld id="{77CF8C31-C0A2-4F6F-B75A-6CC4FAA7F1C1}" type="slidenum">
              <a:rPr lang="en-GB" smtClean="0"/>
              <a:pPr/>
              <a:t>9</a:t>
            </a:fld>
            <a:endParaRPr lang="en-GB"/>
          </a:p>
        </p:txBody>
      </p:sp>
    </p:spTree>
    <p:extLst>
      <p:ext uri="{BB962C8B-B14F-4D97-AF65-F5344CB8AC3E}">
        <p14:creationId xmlns:p14="http://schemas.microsoft.com/office/powerpoint/2010/main" val="3389263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028E3-7165-42E0-8A36-BBD8C512B2B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E344350-C4EF-4D72-A7DE-82905FABB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32837B3-8767-4604-B0FB-0AE2C50CD010}"/>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5" name="Footer Placeholder 4">
            <a:extLst>
              <a:ext uri="{FF2B5EF4-FFF2-40B4-BE49-F238E27FC236}">
                <a16:creationId xmlns:a16="http://schemas.microsoft.com/office/drawing/2014/main" id="{A15FB75B-7C91-48AB-A63E-D84CF58412A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66AD9F8-2293-4ED7-A67A-8EACAAD6D3A7}"/>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22196764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7DF13-4E03-490A-97B4-2501FC778E1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DA794B2-7179-439D-9E3E-02C42D75D24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5F0616E-D5DE-40BF-B319-658C21EA3D9B}"/>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5" name="Footer Placeholder 4">
            <a:extLst>
              <a:ext uri="{FF2B5EF4-FFF2-40B4-BE49-F238E27FC236}">
                <a16:creationId xmlns:a16="http://schemas.microsoft.com/office/drawing/2014/main" id="{38FC4E60-37BC-41C9-B30F-50C0BF7DDD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DDB1FE1-C1F4-4BB1-9F90-FA75642D2343}"/>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3699650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BF75CD-B0E4-4404-A5D4-DE1A4C50046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D8D2C33-E97B-4E48-A15A-083D8133C89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6758C5E-5922-4CE4-8390-5DFB66629538}"/>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5" name="Footer Placeholder 4">
            <a:extLst>
              <a:ext uri="{FF2B5EF4-FFF2-40B4-BE49-F238E27FC236}">
                <a16:creationId xmlns:a16="http://schemas.microsoft.com/office/drawing/2014/main" id="{19399EA8-7505-4C35-ADAC-B3551CDCDF4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EA99337-7257-41B6-84F8-439851A064AE}"/>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36028636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BCFB74-8AB9-4AE2-AF06-B7B8F1EB64B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1" name="think-cell Slide" r:id="rId4" imgW="360" imgH="360" progId="TCLayout.ActiveDocument.1">
                  <p:embed/>
                </p:oleObj>
              </mc:Choice>
              <mc:Fallback>
                <p:oleObj name="think-cell Slide"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vert="horz"/>
          <a:lstStyle/>
          <a:p>
            <a:r>
              <a:rPr lang="en-US"/>
              <a:t>Click to edit Master title style</a:t>
            </a:r>
            <a:endParaRPr lang="en-GB"/>
          </a:p>
        </p:txBody>
      </p:sp>
    </p:spTree>
    <p:extLst>
      <p:ext uri="{BB962C8B-B14F-4D97-AF65-F5344CB8AC3E}">
        <p14:creationId xmlns:p14="http://schemas.microsoft.com/office/powerpoint/2010/main" val="42565337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 No image">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83B33DBB-755B-40A0-B4C5-47952EA5029D}"/>
              </a:ext>
            </a:extLst>
          </p:cNvPr>
          <p:cNvSpPr>
            <a:spLocks/>
          </p:cNvSpPr>
          <p:nvPr userDrawn="1"/>
        </p:nvSpPr>
        <p:spPr bwMode="auto">
          <a:xfrm>
            <a:off x="3" y="0"/>
            <a:ext cx="1587500" cy="6858000"/>
          </a:xfrm>
          <a:custGeom>
            <a:avLst/>
            <a:gdLst>
              <a:gd name="T0" fmla="*/ 0 w 1742046"/>
              <a:gd name="T1" fmla="*/ 4156873 h 7772400"/>
              <a:gd name="T2" fmla="*/ 1094789 w 1742046"/>
              <a:gd name="T3" fmla="*/ 4156873 h 7772400"/>
              <a:gd name="T4" fmla="*/ 1094789 w 1742046"/>
              <a:gd name="T5" fmla="*/ 0 h 7772400"/>
              <a:gd name="T6" fmla="*/ 0 w 1742046"/>
              <a:gd name="T7" fmla="*/ 0 h 7772400"/>
              <a:gd name="T8" fmla="*/ 0 w 1742046"/>
              <a:gd name="T9" fmla="*/ 4156873 h 7772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42046" h="7772400">
                <a:moveTo>
                  <a:pt x="0" y="7772400"/>
                </a:moveTo>
                <a:lnTo>
                  <a:pt x="1742046" y="7772400"/>
                </a:lnTo>
                <a:lnTo>
                  <a:pt x="1742046" y="0"/>
                </a:lnTo>
                <a:lnTo>
                  <a:pt x="0" y="0"/>
                </a:lnTo>
                <a:lnTo>
                  <a:pt x="0" y="7772400"/>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l-GR"/>
          </a:p>
        </p:txBody>
      </p:sp>
      <p:sp>
        <p:nvSpPr>
          <p:cNvPr id="2" name="Title 1"/>
          <p:cNvSpPr>
            <a:spLocks noGrp="1"/>
          </p:cNvSpPr>
          <p:nvPr>
            <p:ph type="ctrTitle"/>
          </p:nvPr>
        </p:nvSpPr>
        <p:spPr>
          <a:xfrm>
            <a:off x="2726400" y="1346400"/>
            <a:ext cx="8256000" cy="3510000"/>
          </a:xfrm>
        </p:spPr>
        <p:txBody>
          <a:bodyPr/>
          <a:lstStyle>
            <a:lvl1pPr algn="l">
              <a:defRPr sz="11000">
                <a:solidFill>
                  <a:schemeClr val="bg1"/>
                </a:solidFill>
              </a:defRPr>
            </a:lvl1pPr>
          </a:lstStyle>
          <a:p>
            <a:r>
              <a:rPr lang="en-US"/>
              <a:t>Click to edit Master title style</a:t>
            </a:r>
          </a:p>
        </p:txBody>
      </p:sp>
      <p:sp>
        <p:nvSpPr>
          <p:cNvPr id="7" name="Text Placeholder 3"/>
          <p:cNvSpPr>
            <a:spLocks noGrp="1"/>
          </p:cNvSpPr>
          <p:nvPr>
            <p:ph type="body" sz="quarter" idx="11"/>
          </p:nvPr>
        </p:nvSpPr>
        <p:spPr>
          <a:xfrm>
            <a:off x="2752136"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28791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5038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itle Slide Logo Shape Orange">
  <p:cSld name="Title Slide Logo Shape Orange">
    <p:spTree>
      <p:nvGrpSpPr>
        <p:cNvPr id="1" name="Shape 120"/>
        <p:cNvGrpSpPr/>
        <p:nvPr/>
      </p:nvGrpSpPr>
      <p:grpSpPr>
        <a:xfrm>
          <a:off x="0" y="0"/>
          <a:ext cx="0" cy="0"/>
          <a:chOff x="0" y="0"/>
          <a:chExt cx="0" cy="0"/>
        </a:xfrm>
      </p:grpSpPr>
      <p:sp>
        <p:nvSpPr>
          <p:cNvPr id="121" name="Google Shape;121;p32"/>
          <p:cNvSpPr>
            <a:spLocks noGrp="1"/>
          </p:cNvSpPr>
          <p:nvPr>
            <p:ph type="pic" idx="2"/>
          </p:nvPr>
        </p:nvSpPr>
        <p:spPr>
          <a:xfrm>
            <a:off x="5103159" y="-1"/>
            <a:ext cx="7088841" cy="6858001"/>
          </a:xfrm>
          <a:prstGeom prst="rect">
            <a:avLst/>
          </a:prstGeom>
          <a:solidFill>
            <a:srgbClr val="DEDEDE"/>
          </a:solidFill>
          <a:ln>
            <a:noFill/>
          </a:ln>
        </p:spPr>
      </p:sp>
      <p:sp>
        <p:nvSpPr>
          <p:cNvPr id="125" name="Google Shape;125;p32"/>
          <p:cNvSpPr txBox="1">
            <a:spLocks noGrp="1"/>
          </p:cNvSpPr>
          <p:nvPr>
            <p:ph type="ctrTitle"/>
          </p:nvPr>
        </p:nvSpPr>
        <p:spPr>
          <a:xfrm>
            <a:off x="442913" y="1003610"/>
            <a:ext cx="5258640" cy="2425391"/>
          </a:xfrm>
          <a:prstGeom prst="rect">
            <a:avLst/>
          </a:prstGeom>
          <a:noFill/>
          <a:ln>
            <a:noFill/>
          </a:ln>
        </p:spPr>
        <p:txBody>
          <a:bodyPr spcFirstLastPara="1" wrap="square" lIns="91425" tIns="45700" rIns="91425" bIns="45700" anchor="b" anchorCtr="0">
            <a:normAutofit/>
          </a:bodyPr>
          <a:lstStyle>
            <a:lvl1pPr lvl="0" algn="l">
              <a:lnSpc>
                <a:spcPct val="85000"/>
              </a:lnSpc>
              <a:spcBef>
                <a:spcPts val="0"/>
              </a:spcBef>
              <a:spcAft>
                <a:spcPts val="0"/>
              </a:spcAft>
              <a:buSzPts val="3200"/>
              <a:buNone/>
              <a:defRPr sz="5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 name="Google Shape;126;p32"/>
          <p:cNvSpPr txBox="1">
            <a:spLocks noGrp="1"/>
          </p:cNvSpPr>
          <p:nvPr>
            <p:ph type="subTitle" idx="1"/>
          </p:nvPr>
        </p:nvSpPr>
        <p:spPr>
          <a:xfrm>
            <a:off x="442914" y="3749040"/>
            <a:ext cx="5258640" cy="59436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SzPts val="1100"/>
              <a:buNone/>
              <a:defRPr sz="1600" b="0">
                <a:solidFill>
                  <a:schemeClr val="lt1"/>
                </a:solidFill>
              </a:defRPr>
            </a:lvl1pPr>
            <a:lvl2pPr lvl="1" algn="l">
              <a:lnSpc>
                <a:spcPct val="100000"/>
              </a:lnSpc>
              <a:spcBef>
                <a:spcPts val="0"/>
              </a:spcBef>
              <a:spcAft>
                <a:spcPts val="0"/>
              </a:spcAft>
              <a:buSzPts val="1100"/>
              <a:buNone/>
              <a:defRPr sz="1600">
                <a:solidFill>
                  <a:schemeClr val="lt1"/>
                </a:solidFill>
              </a:defRPr>
            </a:lvl2pPr>
            <a:lvl3pPr lvl="2" algn="l">
              <a:lnSpc>
                <a:spcPct val="100000"/>
              </a:lnSpc>
              <a:spcBef>
                <a:spcPts val="0"/>
              </a:spcBef>
              <a:spcAft>
                <a:spcPts val="0"/>
              </a:spcAft>
              <a:buSzPts val="1100"/>
              <a:buNone/>
              <a:defRPr sz="1600">
                <a:solidFill>
                  <a:schemeClr val="lt1"/>
                </a:solidFill>
              </a:defRPr>
            </a:lvl3pPr>
            <a:lvl4pPr lvl="3" algn="l">
              <a:lnSpc>
                <a:spcPct val="100000"/>
              </a:lnSpc>
              <a:spcBef>
                <a:spcPts val="0"/>
              </a:spcBef>
              <a:spcAft>
                <a:spcPts val="0"/>
              </a:spcAft>
              <a:buSzPts val="1100"/>
              <a:buNone/>
              <a:defRPr sz="1600">
                <a:solidFill>
                  <a:schemeClr val="lt1"/>
                </a:solidFill>
              </a:defRPr>
            </a:lvl4pPr>
            <a:lvl5pPr lvl="4" algn="l">
              <a:lnSpc>
                <a:spcPct val="100000"/>
              </a:lnSpc>
              <a:spcBef>
                <a:spcPts val="0"/>
              </a:spcBef>
              <a:spcAft>
                <a:spcPts val="0"/>
              </a:spcAft>
              <a:buSzPts val="1100"/>
              <a:buNone/>
              <a:defRPr sz="1600">
                <a:solidFill>
                  <a:schemeClr val="lt1"/>
                </a:solidFill>
              </a:defRPr>
            </a:lvl5pPr>
            <a:lvl6pPr lvl="5" algn="l">
              <a:lnSpc>
                <a:spcPct val="100000"/>
              </a:lnSpc>
              <a:spcBef>
                <a:spcPts val="0"/>
              </a:spcBef>
              <a:spcAft>
                <a:spcPts val="0"/>
              </a:spcAft>
              <a:buSzPts val="1800"/>
              <a:buNone/>
              <a:defRPr sz="1600">
                <a:solidFill>
                  <a:schemeClr val="lt1"/>
                </a:solidFill>
              </a:defRPr>
            </a:lvl6pPr>
            <a:lvl7pPr lvl="6" algn="l">
              <a:lnSpc>
                <a:spcPct val="100000"/>
              </a:lnSpc>
              <a:spcBef>
                <a:spcPts val="0"/>
              </a:spcBef>
              <a:spcAft>
                <a:spcPts val="0"/>
              </a:spcAft>
              <a:buSzPts val="1800"/>
              <a:buNone/>
              <a:defRPr sz="1600">
                <a:solidFill>
                  <a:schemeClr val="lt1"/>
                </a:solidFill>
              </a:defRPr>
            </a:lvl7pPr>
            <a:lvl8pPr lvl="7" algn="l">
              <a:lnSpc>
                <a:spcPct val="100000"/>
              </a:lnSpc>
              <a:spcBef>
                <a:spcPts val="0"/>
              </a:spcBef>
              <a:spcAft>
                <a:spcPts val="0"/>
              </a:spcAft>
              <a:buSzPts val="1800"/>
              <a:buNone/>
              <a:defRPr sz="1600">
                <a:solidFill>
                  <a:schemeClr val="lt1"/>
                </a:solidFill>
              </a:defRPr>
            </a:lvl8pPr>
            <a:lvl9pPr lvl="8" algn="l">
              <a:lnSpc>
                <a:spcPct val="100000"/>
              </a:lnSpc>
              <a:spcBef>
                <a:spcPts val="0"/>
              </a:spcBef>
              <a:spcAft>
                <a:spcPts val="0"/>
              </a:spcAft>
              <a:buSzPts val="1800"/>
              <a:buNone/>
              <a:defRPr sz="1600">
                <a:solidFill>
                  <a:schemeClr val="lt1"/>
                </a:solidFill>
              </a:defRPr>
            </a:lvl9pPr>
          </a:lstStyle>
          <a:p>
            <a:endParaRPr/>
          </a:p>
        </p:txBody>
      </p:sp>
    </p:spTree>
    <p:extLst>
      <p:ext uri="{BB962C8B-B14F-4D97-AF65-F5344CB8AC3E}">
        <p14:creationId xmlns:p14="http://schemas.microsoft.com/office/powerpoint/2010/main" val="562657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_Content: One">
  <p:cSld name="1_Content: One">
    <p:spTree>
      <p:nvGrpSpPr>
        <p:cNvPr id="1" name="Shape 1405"/>
        <p:cNvGrpSpPr/>
        <p:nvPr/>
      </p:nvGrpSpPr>
      <p:grpSpPr>
        <a:xfrm>
          <a:off x="0" y="0"/>
          <a:ext cx="0" cy="0"/>
          <a:chOff x="0" y="0"/>
          <a:chExt cx="0" cy="0"/>
        </a:xfrm>
      </p:grpSpPr>
    </p:spTree>
    <p:extLst>
      <p:ext uri="{BB962C8B-B14F-4D97-AF65-F5344CB8AC3E}">
        <p14:creationId xmlns:p14="http://schemas.microsoft.com/office/powerpoint/2010/main" val="2522158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Slide title]</a:t>
            </a:r>
            <a:endParaRPr lang="en-GB" dirty="0"/>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a:lstStyle/>
          <a:p>
            <a:r>
              <a:rPr lang="en-US"/>
              <a:t>Date</a:t>
            </a:r>
            <a:endParaRPr lang="en-US" dirty="0"/>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p:txBody>
          <a:bodyPr/>
          <a:lstStyle/>
          <a:p>
            <a:pPr algn="l"/>
            <a:r>
              <a:rPr lang="en-US"/>
              <a:t>Presentation Title</a:t>
            </a:r>
            <a:endParaRPr lang="en-US" dirty="0"/>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4045612893"/>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EC76-3195-4126-AA8F-64C0590C602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D935429-0F40-4D20-92E6-1CC34220BF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2A0F7F-56B6-4E2A-AF54-4F7283C204A0}"/>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5" name="Footer Placeholder 4">
            <a:extLst>
              <a:ext uri="{FF2B5EF4-FFF2-40B4-BE49-F238E27FC236}">
                <a16:creationId xmlns:a16="http://schemas.microsoft.com/office/drawing/2014/main" id="{C3ED2B25-F7BD-440A-A1FC-03AA523C7BE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65977A3-DCF0-4505-8857-A89C52EFF4E6}"/>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22805107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6D592-2B5D-4620-9794-443D28F1A42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B3B10D3-9074-4218-ADD8-3104EA35B37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C075957-C6F9-4E75-8D9D-823C6A4B0DB8}"/>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5" name="Footer Placeholder 4">
            <a:extLst>
              <a:ext uri="{FF2B5EF4-FFF2-40B4-BE49-F238E27FC236}">
                <a16:creationId xmlns:a16="http://schemas.microsoft.com/office/drawing/2014/main" id="{0615EA4C-19E1-49B8-A954-4857E221773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99ACEDC-D84F-4CFC-B328-CF7DA5C942EC}"/>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39330454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2D67C-00D2-405D-9DB7-BEF96A57E0E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0EF1CA8-A0B4-4A12-A0CE-86B1CD0CCC0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18ED273-4788-49C6-8C38-8E7D5EB0339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D229279-3B58-4E0D-A167-B50BCBB929EF}"/>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6" name="Footer Placeholder 5">
            <a:extLst>
              <a:ext uri="{FF2B5EF4-FFF2-40B4-BE49-F238E27FC236}">
                <a16:creationId xmlns:a16="http://schemas.microsoft.com/office/drawing/2014/main" id="{1B710572-6D38-46A8-8E85-1C0BB1BF18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C73AFF6-DA8D-4663-AA09-C75B3AE17ABE}"/>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1728445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68286-05ED-446A-BAEF-D3336B60D9B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DA0D47-FC15-489B-8041-44D3FC4D44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2621176-E3EA-45A8-A77C-C4ABA39EB901}"/>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97DDE31-8A77-48E1-8821-E23E9B3D5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0E1656B-2AB7-4CCC-9623-49EAE5E2834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1123FB4-7C99-4FE6-A7EE-F9A616F873DF}"/>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8" name="Footer Placeholder 7">
            <a:extLst>
              <a:ext uri="{FF2B5EF4-FFF2-40B4-BE49-F238E27FC236}">
                <a16:creationId xmlns:a16="http://schemas.microsoft.com/office/drawing/2014/main" id="{2E152E03-0C2C-4044-A7F7-9CF9651B306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96F6012-B672-4A51-A574-1B2638EC8ED2}"/>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27772147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43A1A-0442-428D-9CD9-90B1A4132CB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C066C7A-3CE5-4746-8B27-486DDDDB6E3C}"/>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4" name="Footer Placeholder 3">
            <a:extLst>
              <a:ext uri="{FF2B5EF4-FFF2-40B4-BE49-F238E27FC236}">
                <a16:creationId xmlns:a16="http://schemas.microsoft.com/office/drawing/2014/main" id="{D0B63A4C-569E-43B6-B771-9CD51D2457B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68BCE8B-B993-4F2F-8560-9C09B38F61B0}"/>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1029944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37B6A9-8A3C-4B4F-8180-375B15413BDD}"/>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3" name="Footer Placeholder 2">
            <a:extLst>
              <a:ext uri="{FF2B5EF4-FFF2-40B4-BE49-F238E27FC236}">
                <a16:creationId xmlns:a16="http://schemas.microsoft.com/office/drawing/2014/main" id="{3943C620-54AD-4F44-B6FC-9C7531866FE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9734435-F575-4BC6-927F-EC8DFFDB938F}"/>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809775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70D3B-2C5F-42D1-AB8A-34D3983F19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6FC5F9E-7F15-4DE6-82AD-AF81ACB37F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B4C3F60-E7C9-45C0-A9D3-C6468FBF0D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930E106-496C-43BD-BAD6-B0DF526D303A}"/>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6" name="Footer Placeholder 5">
            <a:extLst>
              <a:ext uri="{FF2B5EF4-FFF2-40B4-BE49-F238E27FC236}">
                <a16:creationId xmlns:a16="http://schemas.microsoft.com/office/drawing/2014/main" id="{0F5547BE-73FC-49AD-B1C9-F851CB2BC46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ED9C39D-BCFD-4890-B096-464C8D109356}"/>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3396983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16794-DD7F-442C-A66F-D72849D9BC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74D816E-51EE-4A21-8FD5-0097E01E6B3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3F2A677-6FA3-43E1-B86C-503041322F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94D8236-5CD9-4DA5-8A54-4D89CFC05A77}"/>
              </a:ext>
            </a:extLst>
          </p:cNvPr>
          <p:cNvSpPr>
            <a:spLocks noGrp="1"/>
          </p:cNvSpPr>
          <p:nvPr>
            <p:ph type="dt" sz="half" idx="10"/>
          </p:nvPr>
        </p:nvSpPr>
        <p:spPr/>
        <p:txBody>
          <a:bodyPr/>
          <a:lstStyle/>
          <a:p>
            <a:fld id="{4E63A024-ADB7-4608-93E9-07153587F9BE}" type="datetimeFigureOut">
              <a:rPr lang="en-GB" smtClean="0"/>
              <a:pPr/>
              <a:t>07/07/2022</a:t>
            </a:fld>
            <a:endParaRPr lang="en-GB"/>
          </a:p>
        </p:txBody>
      </p:sp>
      <p:sp>
        <p:nvSpPr>
          <p:cNvPr id="6" name="Footer Placeholder 5">
            <a:extLst>
              <a:ext uri="{FF2B5EF4-FFF2-40B4-BE49-F238E27FC236}">
                <a16:creationId xmlns:a16="http://schemas.microsoft.com/office/drawing/2014/main" id="{501E4A95-C6D5-418E-B4E3-D82C6880EB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ABD6E70-E73C-462F-9101-04305D67488D}"/>
              </a:ext>
            </a:extLst>
          </p:cNvPr>
          <p:cNvSpPr>
            <a:spLocks noGrp="1"/>
          </p:cNvSpPr>
          <p:nvPr>
            <p:ph type="sldNum" sz="quarter" idx="12"/>
          </p:nvPr>
        </p:nvSpPr>
        <p:spPr/>
        <p:txBody>
          <a:bodyPr/>
          <a:lstStyle/>
          <a:p>
            <a:fld id="{9EE37B7D-0B85-47C7-9431-817B2EEDA451}" type="slidenum">
              <a:rPr lang="en-GB" smtClean="0"/>
              <a:pPr/>
              <a:t>‹#›</a:t>
            </a:fld>
            <a:endParaRPr lang="en-GB"/>
          </a:p>
        </p:txBody>
      </p:sp>
    </p:spTree>
    <p:extLst>
      <p:ext uri="{BB962C8B-B14F-4D97-AF65-F5344CB8AC3E}">
        <p14:creationId xmlns:p14="http://schemas.microsoft.com/office/powerpoint/2010/main" val="27389780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7BB2F5-735E-4FE8-A8D1-BA96A18E1FDE}"/>
              </a:ext>
            </a:extLst>
          </p:cNvPr>
          <p:cNvGraphicFramePr>
            <a:graphicFrameLocks noChangeAspect="1"/>
          </p:cNvGraphicFramePr>
          <p:nvPr userDrawn="1">
            <p:custDataLst>
              <p:tags r:id="rId20"/>
            </p:custDataLst>
            <p:extLst>
              <p:ext uri="{D42A27DB-BD31-4B8C-83A1-F6EECF244321}">
                <p14:modId xmlns:p14="http://schemas.microsoft.com/office/powerpoint/2010/main" val="120930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98" name="think-cell Slide" r:id="rId21" imgW="395" imgH="394" progId="TCLayout.ActiveDocument.1">
                  <p:embed/>
                </p:oleObj>
              </mc:Choice>
              <mc:Fallback>
                <p:oleObj name="think-cell Slide" r:id="rId21" imgW="395" imgH="394"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892DA26-B73C-4BDC-9822-FCCDA29F2C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6B56140-AFC2-4830-BE8F-ACB57FB7F9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AFB0E9-F4A6-46C6-8CDE-42AC4974AEE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63A024-ADB7-4608-93E9-07153587F9BE}" type="datetimeFigureOut">
              <a:rPr lang="en-GB" smtClean="0"/>
              <a:pPr/>
              <a:t>07/07/2022</a:t>
            </a:fld>
            <a:endParaRPr lang="en-GB"/>
          </a:p>
        </p:txBody>
      </p:sp>
      <p:sp>
        <p:nvSpPr>
          <p:cNvPr id="5" name="Footer Placeholder 4">
            <a:extLst>
              <a:ext uri="{FF2B5EF4-FFF2-40B4-BE49-F238E27FC236}">
                <a16:creationId xmlns:a16="http://schemas.microsoft.com/office/drawing/2014/main" id="{009336C4-A053-4F49-B134-1B54775740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812EE22-F024-4E9A-895C-563FC0B81C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E37B7D-0B85-47C7-9431-817B2EEDA451}" type="slidenum">
              <a:rPr lang="en-GB" smtClean="0"/>
              <a:pPr/>
              <a:t>‹#›</a:t>
            </a:fld>
            <a:endParaRPr lang="en-GB"/>
          </a:p>
        </p:txBody>
      </p:sp>
    </p:spTree>
    <p:extLst>
      <p:ext uri="{BB962C8B-B14F-4D97-AF65-F5344CB8AC3E}">
        <p14:creationId xmlns:p14="http://schemas.microsoft.com/office/powerpoint/2010/main" val="18478066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notesSlide" Target="../notesSlides/notesSlide1.xml"/><Relationship Id="rId4" Type="http://schemas.openxmlformats.org/officeDocument/2006/relationships/slideLayout" Target="../slideLayouts/slideLayout13.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xml"/><Relationship Id="rId7" Type="http://schemas.openxmlformats.org/officeDocument/2006/relationships/oleObject" Target="../embeddings/oleObject13.bin"/><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3.jpeg"/><Relationship Id="rId5" Type="http://schemas.openxmlformats.org/officeDocument/2006/relationships/notesSlide" Target="../notesSlides/notesSlide11.xml"/><Relationship Id="rId4"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png"/><Relationship Id="rId9" Type="http://schemas.openxmlformats.org/officeDocument/2006/relationships/image" Target="../media/image16.jpeg"/></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7.xml"/><Relationship Id="rId7" Type="http://schemas.openxmlformats.org/officeDocument/2006/relationships/oleObject" Target="../embeddings/oleObject19.bin"/><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3.jpeg"/><Relationship Id="rId5" Type="http://schemas.openxmlformats.org/officeDocument/2006/relationships/notesSlide" Target="../notesSlides/notesSlide22.xml"/><Relationship Id="rId4"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7.xml"/><Relationship Id="rId7" Type="http://schemas.openxmlformats.org/officeDocument/2006/relationships/image" Target="../media/image18.png"/><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7.xml"/><Relationship Id="rId7" Type="http://schemas.openxmlformats.org/officeDocument/2006/relationships/image" Target="../media/image18.png"/><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1.png"/><Relationship Id="rId2" Type="http://schemas.openxmlformats.org/officeDocument/2006/relationships/tags" Target="../tags/tag31.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xml"/><Relationship Id="rId7" Type="http://schemas.openxmlformats.org/officeDocument/2006/relationships/oleObject" Target="../embeddings/oleObject5.bin"/><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jpeg"/><Relationship Id="rId5" Type="http://schemas.openxmlformats.org/officeDocument/2006/relationships/notesSlide" Target="../notesSlides/notesSlide3.xml"/><Relationship Id="rId4"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oleObject" Target="../embeddings/oleObject7.bin"/><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jpeg"/><Relationship Id="rId5" Type="http://schemas.openxmlformats.org/officeDocument/2006/relationships/notesSlide" Target="../notesSlides/notesSlide5.xml"/><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xml"/><Relationship Id="rId7" Type="http://schemas.openxmlformats.org/officeDocument/2006/relationships/oleObject" Target="../embeddings/oleObject10.bin"/><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3.jpeg"/><Relationship Id="rId5" Type="http://schemas.openxmlformats.org/officeDocument/2006/relationships/notesSlide" Target="../notesSlides/notesSlide8.xml"/><Relationship Id="rId4"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building, stone, government building, colonnade&#10;&#10;Description automatically generated">
            <a:extLst>
              <a:ext uri="{FF2B5EF4-FFF2-40B4-BE49-F238E27FC236}">
                <a16:creationId xmlns:a16="http://schemas.microsoft.com/office/drawing/2014/main" id="{19538348-D829-4641-9124-1886074832D3}"/>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0" y="-380"/>
            <a:ext cx="12192676" cy="6858380"/>
          </a:xfrm>
          <a:prstGeom prst="rect">
            <a:avLst/>
          </a:prstGeom>
        </p:spPr>
      </p:pic>
      <p:graphicFrame>
        <p:nvGraphicFramePr>
          <p:cNvPr id="7" name="Object 6" hidden="1">
            <a:extLst>
              <a:ext uri="{FF2B5EF4-FFF2-40B4-BE49-F238E27FC236}">
                <a16:creationId xmlns:a16="http://schemas.microsoft.com/office/drawing/2014/main" id="{8A2B45E6-C490-4119-B0D0-475C31EE97BB}"/>
              </a:ext>
            </a:extLst>
          </p:cNvPr>
          <p:cNvGraphicFramePr>
            <a:graphicFrameLocks noChangeAspect="1"/>
          </p:cNvGraphicFramePr>
          <p:nvPr>
            <p:custDataLst>
              <p:tags r:id="rId2"/>
            </p:custDataLst>
          </p:nvPr>
        </p:nvGraphicFramePr>
        <p:xfrm>
          <a:off x="1593" y="1591"/>
          <a:ext cx="1588" cy="1588"/>
        </p:xfrm>
        <a:graphic>
          <a:graphicData uri="http://schemas.openxmlformats.org/presentationml/2006/ole">
            <mc:AlternateContent xmlns:mc="http://schemas.openxmlformats.org/markup-compatibility/2006">
              <mc:Choice xmlns:v="urn:schemas-microsoft-com:vml" Requires="v">
                <p:oleObj spid="_x0000_s76930"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8A2B45E6-C490-4119-B0D0-475C31EE97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C38DB20-36FD-4622-BED2-2D5B9F9A9840}"/>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33" eaLnBrk="1" fontAlgn="auto" hangingPunct="1">
              <a:spcBef>
                <a:spcPts val="0"/>
              </a:spcBef>
              <a:spcAft>
                <a:spcPts val="0"/>
              </a:spcAft>
              <a:defRPr/>
            </a:pPr>
            <a:endParaRPr lang="en-GB" sz="11000" err="1">
              <a:solidFill>
                <a:prstClr val="white"/>
              </a:solidFill>
              <a:latin typeface="KPMG Extralight" panose="020B0303030202040204" pitchFamily="34" charset="0"/>
              <a:sym typeface="KPMG Extralight" panose="020B0303030202040204" pitchFamily="34" charset="0"/>
            </a:endParaRPr>
          </a:p>
        </p:txBody>
      </p:sp>
      <p:pic>
        <p:nvPicPr>
          <p:cNvPr id="27" name="Picture 26" descr="A picture containing text&#10;&#10;Description automatically generated">
            <a:extLst>
              <a:ext uri="{FF2B5EF4-FFF2-40B4-BE49-F238E27FC236}">
                <a16:creationId xmlns:a16="http://schemas.microsoft.com/office/drawing/2014/main" id="{2BA5F551-3CD9-4DAD-BC7D-3A5AD1E855A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77705" y="878191"/>
            <a:ext cx="884108" cy="900684"/>
          </a:xfrm>
          <a:prstGeom prst="rect">
            <a:avLst/>
          </a:prstGeom>
        </p:spPr>
      </p:pic>
      <p:sp>
        <p:nvSpPr>
          <p:cNvPr id="16" name="Title 1">
            <a:extLst>
              <a:ext uri="{FF2B5EF4-FFF2-40B4-BE49-F238E27FC236}">
                <a16:creationId xmlns:a16="http://schemas.microsoft.com/office/drawing/2014/main" id="{9067C54E-2890-4108-BC82-1F8DB6DD50C7}"/>
              </a:ext>
            </a:extLst>
          </p:cNvPr>
          <p:cNvSpPr>
            <a:spLocks noGrp="1"/>
          </p:cNvSpPr>
          <p:nvPr>
            <p:ph type="ctrTitle"/>
          </p:nvPr>
        </p:nvSpPr>
        <p:spPr>
          <a:xfrm>
            <a:off x="467352" y="3697290"/>
            <a:ext cx="10767792" cy="2829019"/>
          </a:xfrm>
          <a:noFill/>
        </p:spPr>
        <p:txBody>
          <a:bodyPr vert="horz" anchor="t" anchorCtr="0">
            <a:normAutofit fontScale="90000"/>
          </a:bodyPr>
          <a:lstStyle>
            <a:lvl1pPr algn="l">
              <a:defRPr sz="11000" baseline="0">
                <a:solidFill>
                  <a:srgbClr val="00338D"/>
                </a:solidFill>
              </a:defRPr>
            </a:lvl1pPr>
          </a:lstStyle>
          <a:p>
            <a:pPr>
              <a:lnSpc>
                <a:spcPct val="100000"/>
              </a:lnSpc>
            </a:pPr>
            <a:r>
              <a:rPr lang="el-GR" altLang="en-US" sz="4400" b="1" dirty="0">
                <a:solidFill>
                  <a:schemeClr val="tx2">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ΣΤΡΑΤΗΓΙΚΟ ΣΧΕΔΙΟ </a:t>
            </a:r>
            <a:r>
              <a:rPr lang="en-US" altLang="en-US" sz="4400" b="1" dirty="0">
                <a:solidFill>
                  <a:schemeClr val="tx2">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2022-2025</a:t>
            </a:r>
            <a:br>
              <a:rPr lang="en-US" sz="4400" b="1" dirty="0">
                <a:solidFill>
                  <a:schemeClr val="tx2">
                    <a:lumMod val="75000"/>
                  </a:schemeClr>
                </a:solidFill>
                <a:latin typeface="Calibri" panose="020F0502020204030204" pitchFamily="34" charset="0"/>
                <a:cs typeface="Calibri" panose="020F0502020204030204" pitchFamily="34" charset="0"/>
              </a:rPr>
            </a:br>
            <a:r>
              <a:rPr lang="el-GR" sz="3600" b="1" dirty="0">
                <a:solidFill>
                  <a:schemeClr val="tx2">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ΕΠΙΧΕΙΡΗΣΙΑΚΟ ΣΧΕΔΙΟ 2022</a:t>
            </a:r>
            <a:br>
              <a:rPr lang="el-GR" sz="4400" b="1" dirty="0">
                <a:solidFill>
                  <a:schemeClr val="tx2">
                    <a:lumMod val="75000"/>
                  </a:schemeClr>
                </a:solidFill>
                <a:latin typeface="Calibri" panose="020F0502020204030204" pitchFamily="34" charset="0"/>
                <a:cs typeface="Calibri" panose="020F0502020204030204" pitchFamily="34" charset="0"/>
              </a:rPr>
            </a:br>
            <a:br>
              <a:rPr lang="el-GR" sz="5403" b="1" dirty="0">
                <a:solidFill>
                  <a:schemeClr val="tx2">
                    <a:lumMod val="75000"/>
                  </a:schemeClr>
                </a:solidFill>
                <a:latin typeface="Calibri" panose="020F0502020204030204" pitchFamily="34" charset="0"/>
                <a:cs typeface="Calibri" panose="020F0502020204030204" pitchFamily="34" charset="0"/>
              </a:rPr>
            </a:br>
            <a:r>
              <a:rPr lang="el-GR" sz="2400" dirty="0">
                <a:solidFill>
                  <a:schemeClr val="tx2">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Ιούλιος </a:t>
            </a:r>
            <a:r>
              <a:rPr lang="el-GR" sz="2401" dirty="0">
                <a:solidFill>
                  <a:schemeClr val="tx2">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2022</a:t>
            </a:r>
            <a:r>
              <a:rPr lang="el-GR" sz="2401" b="1" dirty="0">
                <a:solidFill>
                  <a:schemeClr val="tx2">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br>
              <a:rPr lang="el-GR" sz="5403" b="1" dirty="0">
                <a:solidFill>
                  <a:schemeClr val="tx2">
                    <a:lumMod val="75000"/>
                  </a:schemeClr>
                </a:solidFill>
              </a:rPr>
            </a:br>
            <a:endParaRPr lang="en-US" sz="5403" b="1" dirty="0">
              <a:solidFill>
                <a:schemeClr val="tx2">
                  <a:lumMod val="75000"/>
                </a:schemeClr>
              </a:solidFill>
            </a:endParaRPr>
          </a:p>
        </p:txBody>
      </p:sp>
      <p:sp>
        <p:nvSpPr>
          <p:cNvPr id="28" name="Title 1">
            <a:extLst>
              <a:ext uri="{FF2B5EF4-FFF2-40B4-BE49-F238E27FC236}">
                <a16:creationId xmlns:a16="http://schemas.microsoft.com/office/drawing/2014/main" id="{23662372-4A27-4372-9561-FAF19776ECAE}"/>
              </a:ext>
            </a:extLst>
          </p:cNvPr>
          <p:cNvSpPr txBox="1">
            <a:spLocks/>
          </p:cNvSpPr>
          <p:nvPr/>
        </p:nvSpPr>
        <p:spPr>
          <a:xfrm>
            <a:off x="467352" y="1782697"/>
            <a:ext cx="11207685" cy="1844737"/>
          </a:xfrm>
          <a:prstGeom prst="rect">
            <a:avLst/>
          </a:prstGeom>
          <a:noFill/>
        </p:spPr>
        <p:txBody>
          <a:bodyPr vert="horz" lIns="0" tIns="0" rIns="0" bIns="0" rtlCol="0" anchor="t" anchorCtr="0">
            <a:noAutofit/>
          </a:bodyPr>
          <a:lstStyle>
            <a:lvl1pPr algn="l" defTabSz="914400" rtl="0" eaLnBrk="1" latinLnBrk="0" hangingPunct="1">
              <a:lnSpc>
                <a:spcPct val="70000"/>
              </a:lnSpc>
              <a:spcBef>
                <a:spcPct val="0"/>
              </a:spcBef>
              <a:buNone/>
              <a:defRPr sz="11000" kern="1200" baseline="0">
                <a:solidFill>
                  <a:srgbClr val="00338D"/>
                </a:solidFill>
                <a:latin typeface="+mj-lt"/>
                <a:ea typeface="+mj-ea"/>
                <a:cs typeface="+mj-cs"/>
              </a:defRPr>
            </a:lvl1pPr>
          </a:lstStyle>
          <a:p>
            <a:pPr>
              <a:lnSpc>
                <a:spcPct val="100000"/>
              </a:lnSpc>
            </a:pPr>
            <a:r>
              <a:rPr lang="el-GR" sz="2800" dirty="0">
                <a:solidFill>
                  <a:schemeClr val="tx2">
                    <a:lumMod val="50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Υπουργείο Εξωτερικών </a:t>
            </a:r>
          </a:p>
          <a:p>
            <a:pPr>
              <a:lnSpc>
                <a:spcPct val="100000"/>
              </a:lnSpc>
            </a:pPr>
            <a:r>
              <a:rPr lang="el-GR" sz="2800" dirty="0">
                <a:solidFill>
                  <a:schemeClr val="tx2">
                    <a:lumMod val="50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Διεύθυνση Στρατηγικού &amp; Επιχειρησιακού Σχεδιασμού</a:t>
            </a:r>
            <a:br>
              <a:rPr lang="el-GR" sz="3600" b="1" dirty="0">
                <a:solidFill>
                  <a:schemeClr val="tx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br>
            <a:endParaRPr lang="en-US" sz="3600" b="1" dirty="0">
              <a:solidFill>
                <a:schemeClr val="tx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20910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86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E7AFBD-5858-4CBA-8446-A0BD7C1BE2E3}"/>
              </a:ext>
            </a:extLst>
          </p:cNvPr>
          <p:cNvGraphicFramePr>
            <a:graphicFrameLocks noChangeAspect="1"/>
          </p:cNvGraphicFramePr>
          <p:nvPr>
            <p:custDataLst>
              <p:tags r:id="rId2"/>
            </p:custDataLst>
            <p:extLst>
              <p:ext uri="{D42A27DB-BD31-4B8C-83A1-F6EECF244321}">
                <p14:modId xmlns:p14="http://schemas.microsoft.com/office/powerpoint/2010/main" val="3791859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03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E7AFBD-5858-4CBA-8446-A0BD7C1BE2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D0F4AD9-76D2-41C4-AFA2-C15E8FC6E4DA}"/>
              </a:ext>
            </a:extLst>
          </p:cNvPr>
          <p:cNvSpPr/>
          <p:nvPr/>
        </p:nvSpPr>
        <p:spPr>
          <a:xfrm>
            <a:off x="406024" y="1678947"/>
            <a:ext cx="3835270" cy="4901601"/>
          </a:xfrm>
          <a:prstGeom prst="rect">
            <a:avLst/>
          </a:prstGeom>
          <a:ln>
            <a:solidFill>
              <a:srgbClr val="013476"/>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132" name="Text Placeholder 1">
            <a:extLst>
              <a:ext uri="{FF2B5EF4-FFF2-40B4-BE49-F238E27FC236}">
                <a16:creationId xmlns:a16="http://schemas.microsoft.com/office/drawing/2014/main" id="{8E4E72EB-690F-4B08-80CE-A7FB3158CA13}"/>
              </a:ext>
            </a:extLst>
          </p:cNvPr>
          <p:cNvSpPr txBox="1">
            <a:spLocks/>
          </p:cNvSpPr>
          <p:nvPr/>
        </p:nvSpPr>
        <p:spPr>
          <a:xfrm>
            <a:off x="545945" y="2264451"/>
            <a:ext cx="3444949" cy="4245075"/>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Font typeface="Wingdings" panose="05000000000000000000" pitchFamily="2" charset="2"/>
              <a:buChar char="v"/>
              <a:defRPr/>
            </a:pPr>
            <a:r>
              <a:rPr lang="el-GR" sz="1800" dirty="0"/>
              <a:t>Προκύπτουν μέσα από συνεργασία της πολιτικής και της υπηρεσιακής ηγεσίας του Υπουργείου (</a:t>
            </a:r>
            <a:r>
              <a:rPr lang="en-US" sz="1800" i="1" dirty="0"/>
              <a:t>top</a:t>
            </a:r>
            <a:r>
              <a:rPr lang="el-GR" sz="1800" i="1" dirty="0"/>
              <a:t>-</a:t>
            </a:r>
            <a:r>
              <a:rPr lang="en-US" sz="1800" i="1" dirty="0"/>
              <a:t>down </a:t>
            </a:r>
            <a:r>
              <a:rPr lang="el-GR" sz="1800" i="1" dirty="0"/>
              <a:t>&amp; </a:t>
            </a:r>
            <a:r>
              <a:rPr lang="en-US" sz="1800" i="1" dirty="0"/>
              <a:t>bottom</a:t>
            </a:r>
            <a:r>
              <a:rPr lang="el-GR" sz="1800" i="1" dirty="0"/>
              <a:t>-</a:t>
            </a:r>
            <a:r>
              <a:rPr lang="en-US" sz="1800" i="1" dirty="0"/>
              <a:t>up approach</a:t>
            </a:r>
            <a:r>
              <a:rPr lang="el-GR" sz="1800" i="1" dirty="0"/>
              <a:t>)</a:t>
            </a:r>
          </a:p>
          <a:p>
            <a:pPr marL="0" indent="0">
              <a:spcBef>
                <a:spcPts val="0"/>
              </a:spcBef>
              <a:buNone/>
              <a:defRPr/>
            </a:pPr>
            <a:endParaRPr lang="el-GR" sz="1800" i="1" dirty="0"/>
          </a:p>
          <a:p>
            <a:pPr>
              <a:spcBef>
                <a:spcPts val="0"/>
              </a:spcBef>
              <a:buFont typeface="Wingdings" panose="05000000000000000000" pitchFamily="2" charset="2"/>
              <a:buChar char="v"/>
              <a:defRPr/>
            </a:pPr>
            <a:r>
              <a:rPr lang="el-GR" sz="1800" dirty="0"/>
              <a:t>Ενσωματώνουν τα στοιχεία του Ετήσιου Σχεδίου Δράσης ΥΠΕΞ και του Εθνικού Στρατηγικού Σχεδίου Εξωστρέφειας, ενοποιώντας τα σε ένα σύνολο</a:t>
            </a:r>
          </a:p>
          <a:p>
            <a:pPr marL="0" indent="0">
              <a:spcBef>
                <a:spcPts val="0"/>
              </a:spcBef>
              <a:buNone/>
              <a:defRPr/>
            </a:pPr>
            <a:endParaRPr lang="el-GR" altLang="zh-CN" sz="1800" dirty="0">
              <a:latin typeface="Calibri" panose="020F0502020204030204" pitchFamily="34" charset="0"/>
              <a:cs typeface="Calibri" panose="020F0502020204030204" pitchFamily="34" charset="0"/>
            </a:endParaRPr>
          </a:p>
          <a:p>
            <a:pPr>
              <a:spcBef>
                <a:spcPts val="0"/>
              </a:spcBef>
              <a:buFont typeface="Wingdings" panose="05000000000000000000" pitchFamily="2" charset="2"/>
              <a:buChar char="v"/>
              <a:defRPr/>
            </a:pPr>
            <a:r>
              <a:rPr lang="el-GR" altLang="zh-CN" sz="1800" dirty="0">
                <a:latin typeface="Calibri" panose="020F0502020204030204" pitchFamily="34" charset="0"/>
                <a:cs typeface="Calibri" panose="020F0502020204030204" pitchFamily="34" charset="0"/>
              </a:rPr>
              <a:t>Δίνουν ενιαία κατεύθυνση στο ανθρώπινο δυναμικό και προσδιορίζουν το πλαίσιο στο οποίο αναπτύσσει τις δεξιότητες και ικανότητες του</a:t>
            </a:r>
          </a:p>
          <a:p>
            <a:pPr algn="ctr">
              <a:spcBef>
                <a:spcPts val="0"/>
              </a:spcBef>
              <a:buFont typeface="Wingdings" panose="05000000000000000000" pitchFamily="2" charset="2"/>
              <a:buChar char="ü"/>
              <a:defRPr/>
            </a:pPr>
            <a:endParaRPr lang="el-GR" sz="1800" dirty="0"/>
          </a:p>
          <a:p>
            <a:pPr marL="0" indent="0" algn="ctr">
              <a:spcBef>
                <a:spcPts val="0"/>
              </a:spcBef>
              <a:buFont typeface="Arial" panose="020B0604020202020204" pitchFamily="34" charset="0"/>
              <a:buNone/>
              <a:defRPr/>
            </a:pPr>
            <a:endParaRPr lang="el-GR" altLang="zh-CN" sz="1800" dirty="0">
              <a:latin typeface="Calibri" panose="020F0502020204030204" pitchFamily="34" charset="0"/>
              <a:cs typeface="Calibri" panose="020F0502020204030204" pitchFamily="34" charset="0"/>
            </a:endParaRPr>
          </a:p>
          <a:p>
            <a:pPr marL="355600" indent="-355600">
              <a:spcBef>
                <a:spcPts val="0"/>
              </a:spcBef>
              <a:buFont typeface="Wingdings" pitchFamily="2" charset="2"/>
              <a:buChar char="ü"/>
              <a:defRPr/>
            </a:pPr>
            <a:endParaRPr lang="el-GR" altLang="zh-CN" sz="1800" dirty="0">
              <a:latin typeface="Calibri" panose="020F0502020204030204" pitchFamily="34" charset="0"/>
              <a:cs typeface="Calibri" panose="020F0502020204030204" pitchFamily="34" charset="0"/>
            </a:endParaRPr>
          </a:p>
          <a:p>
            <a:pPr marL="0" indent="0">
              <a:spcBef>
                <a:spcPts val="0"/>
              </a:spcBef>
              <a:buFontTx/>
              <a:buNone/>
              <a:defRPr/>
            </a:pPr>
            <a:endParaRPr lang="el-GR" sz="2400" dirty="0">
              <a:latin typeface="Calibri" panose="020F0502020204030204" pitchFamily="34" charset="0"/>
              <a:ea typeface="+mj-ea"/>
              <a:cs typeface="Calibri" panose="020F0502020204030204" pitchFamily="34" charset="0"/>
            </a:endParaRPr>
          </a:p>
        </p:txBody>
      </p:sp>
      <p:sp>
        <p:nvSpPr>
          <p:cNvPr id="2" name="TextBox 1">
            <a:extLst>
              <a:ext uri="{FF2B5EF4-FFF2-40B4-BE49-F238E27FC236}">
                <a16:creationId xmlns:a16="http://schemas.microsoft.com/office/drawing/2014/main" id="{7A5D1DD9-12FE-4617-A352-77645AEA592D}"/>
              </a:ext>
            </a:extLst>
          </p:cNvPr>
          <p:cNvSpPr txBox="1"/>
          <p:nvPr/>
        </p:nvSpPr>
        <p:spPr>
          <a:xfrm>
            <a:off x="426087" y="1787033"/>
            <a:ext cx="3786396" cy="369332"/>
          </a:xfrm>
          <a:prstGeom prst="rect">
            <a:avLst/>
          </a:prstGeom>
          <a:noFill/>
        </p:spPr>
        <p:txBody>
          <a:bodyPr wrap="square" rtlCol="0">
            <a:spAutoFit/>
          </a:bodyPr>
          <a:lstStyle/>
          <a:p>
            <a:r>
              <a:rPr lang="el-GR" b="1" dirty="0"/>
              <a:t>Οι στόχοι </a:t>
            </a:r>
            <a:endParaRPr lang="en-GB" b="1" dirty="0"/>
          </a:p>
        </p:txBody>
      </p:sp>
      <p:grpSp>
        <p:nvGrpSpPr>
          <p:cNvPr id="9" name="Ομάδα 8">
            <a:extLst>
              <a:ext uri="{FF2B5EF4-FFF2-40B4-BE49-F238E27FC236}">
                <a16:creationId xmlns:a16="http://schemas.microsoft.com/office/drawing/2014/main" id="{742AD9E3-2686-4D70-B8B4-8C87131EFC71}"/>
              </a:ext>
            </a:extLst>
          </p:cNvPr>
          <p:cNvGrpSpPr/>
          <p:nvPr/>
        </p:nvGrpSpPr>
        <p:grpSpPr>
          <a:xfrm>
            <a:off x="520090" y="213433"/>
            <a:ext cx="11088000" cy="1375260"/>
            <a:chOff x="520090" y="213433"/>
            <a:chExt cx="11088000" cy="1375260"/>
          </a:xfrm>
        </p:grpSpPr>
        <p:sp>
          <p:nvSpPr>
            <p:cNvPr id="32" name="Title 2">
              <a:extLst>
                <a:ext uri="{FF2B5EF4-FFF2-40B4-BE49-F238E27FC236}">
                  <a16:creationId xmlns:a16="http://schemas.microsoft.com/office/drawing/2014/main" id="{760199FC-24FD-4D5C-9DB4-A780C1DE1A16}"/>
                </a:ext>
              </a:extLst>
            </p:cNvPr>
            <p:cNvSpPr txBox="1">
              <a:spLocks noChangeArrowheads="1"/>
            </p:cNvSpPr>
            <p:nvPr/>
          </p:nvSpPr>
          <p:spPr>
            <a:xfrm>
              <a:off x="568964" y="215571"/>
              <a:ext cx="9547835" cy="5857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l-GR" altLang="en-US" sz="2400" b="1" spc="-1" dirty="0">
                  <a:solidFill>
                    <a:schemeClr val="accent1"/>
                  </a:solidFill>
                  <a:latin typeface="Calibri" panose="020F0502020204030204" pitchFamily="34" charset="0"/>
                  <a:cs typeface="Calibri" panose="020F0502020204030204" pitchFamily="34" charset="0"/>
                  <a:sym typeface="Century Gothic"/>
                </a:rPr>
                <a:t>Στόχοι ΣΕΣ</a:t>
              </a:r>
            </a:p>
          </p:txBody>
        </p:sp>
        <p:sp>
          <p:nvSpPr>
            <p:cNvPr id="133" name="Google Shape;116;p3">
              <a:extLst>
                <a:ext uri="{FF2B5EF4-FFF2-40B4-BE49-F238E27FC236}">
                  <a16:creationId xmlns:a16="http://schemas.microsoft.com/office/drawing/2014/main" id="{4A73BBAB-A077-483E-94A2-D80A2848A8EC}"/>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sz="2400" dirty="0">
                  <a:solidFill>
                    <a:srgbClr val="FFFFFF"/>
                  </a:solidFill>
                  <a:latin typeface="Calibri"/>
                  <a:ea typeface="Calibri"/>
                  <a:cs typeface="Calibri"/>
                  <a:sym typeface="Calibri"/>
                </a:rPr>
                <a:t>Στόχοι </a:t>
              </a:r>
              <a:endParaRPr dirty="0"/>
            </a:p>
          </p:txBody>
        </p:sp>
        <p:cxnSp>
          <p:nvCxnSpPr>
            <p:cNvPr id="122" name="Straight Connector 121">
              <a:extLst>
                <a:ext uri="{FF2B5EF4-FFF2-40B4-BE49-F238E27FC236}">
                  <a16:creationId xmlns:a16="http://schemas.microsoft.com/office/drawing/2014/main" id="{E2D1845C-9BCA-4BD9-9A02-0D9846F4D6A1}"/>
                </a:ext>
              </a:extLst>
            </p:cNvPr>
            <p:cNvCxnSpPr>
              <a:cxnSpLocks/>
            </p:cNvCxnSpPr>
            <p:nvPr/>
          </p:nvCxnSpPr>
          <p:spPr>
            <a:xfrm>
              <a:off x="520090" y="1386136"/>
              <a:ext cx="110880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819429B-E774-4211-9231-7EB6538CFDCA}"/>
                </a:ext>
              </a:extLst>
            </p:cNvPr>
            <p:cNvSpPr/>
            <p:nvPr/>
          </p:nvSpPr>
          <p:spPr>
            <a:xfrm>
              <a:off x="1012812" y="1209590"/>
              <a:ext cx="2101863" cy="379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600" b="1" dirty="0">
                  <a:solidFill>
                    <a:srgbClr val="00338D"/>
                  </a:solidFill>
                  <a:latin typeface="Calibri" panose="020F0502020204030204" pitchFamily="34" charset="0"/>
                  <a:cs typeface="Calibri" panose="020F0502020204030204" pitchFamily="34" charset="0"/>
                </a:rPr>
                <a:t>Μεθοδολογία</a:t>
              </a:r>
              <a:endParaRPr lang="en-GB" sz="1600" b="1" dirty="0">
                <a:solidFill>
                  <a:srgbClr val="00338D"/>
                </a:solidFill>
                <a:latin typeface="Calibri" panose="020F0502020204030204" pitchFamily="34" charset="0"/>
                <a:cs typeface="Calibri" panose="020F0502020204030204" pitchFamily="34" charset="0"/>
              </a:endParaRPr>
            </a:p>
          </p:txBody>
        </p:sp>
        <p:sp>
          <p:nvSpPr>
            <p:cNvPr id="145" name="Rectangle 144">
              <a:extLst>
                <a:ext uri="{FF2B5EF4-FFF2-40B4-BE49-F238E27FC236}">
                  <a16:creationId xmlns:a16="http://schemas.microsoft.com/office/drawing/2014/main" id="{B275B989-DEF1-47AF-A2DE-8FAE6D0A4824}"/>
                </a:ext>
              </a:extLst>
            </p:cNvPr>
            <p:cNvSpPr/>
            <p:nvPr/>
          </p:nvSpPr>
          <p:spPr>
            <a:xfrm>
              <a:off x="6890895" y="1209590"/>
              <a:ext cx="2898700" cy="329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600" b="1" dirty="0">
                  <a:solidFill>
                    <a:srgbClr val="00338D"/>
                  </a:solidFill>
                  <a:latin typeface="Calibri" panose="020F0502020204030204" pitchFamily="34" charset="0"/>
                  <a:cs typeface="Calibri" panose="020F0502020204030204" pitchFamily="34" charset="0"/>
                </a:rPr>
                <a:t>Στόχοι ανά άξονα</a:t>
              </a:r>
              <a:endParaRPr lang="en-GB" sz="1600" b="1" dirty="0">
                <a:solidFill>
                  <a:srgbClr val="00338D"/>
                </a:solidFill>
                <a:latin typeface="Calibri" panose="020F0502020204030204" pitchFamily="34" charset="0"/>
                <a:cs typeface="Calibri" panose="020F0502020204030204" pitchFamily="34" charset="0"/>
              </a:endParaRPr>
            </a:p>
          </p:txBody>
        </p:sp>
      </p:grpSp>
      <p:grpSp>
        <p:nvGrpSpPr>
          <p:cNvPr id="27" name="Group 26">
            <a:extLst>
              <a:ext uri="{FF2B5EF4-FFF2-40B4-BE49-F238E27FC236}">
                <a16:creationId xmlns:a16="http://schemas.microsoft.com/office/drawing/2014/main" id="{03AB9505-0F89-44D1-A32E-353682B3A9CE}"/>
              </a:ext>
            </a:extLst>
          </p:cNvPr>
          <p:cNvGrpSpPr/>
          <p:nvPr/>
        </p:nvGrpSpPr>
        <p:grpSpPr>
          <a:xfrm>
            <a:off x="5294289" y="2068648"/>
            <a:ext cx="6208889" cy="4379381"/>
            <a:chOff x="4564658" y="1780245"/>
            <a:chExt cx="7772769" cy="5394831"/>
          </a:xfrm>
        </p:grpSpPr>
        <p:sp>
          <p:nvSpPr>
            <p:cNvPr id="168" name="Google Shape;2873;p50">
              <a:extLst>
                <a:ext uri="{FF2B5EF4-FFF2-40B4-BE49-F238E27FC236}">
                  <a16:creationId xmlns:a16="http://schemas.microsoft.com/office/drawing/2014/main" id="{5370863F-FFC6-418C-B60C-AF1E67F0394E}"/>
                </a:ext>
              </a:extLst>
            </p:cNvPr>
            <p:cNvSpPr txBox="1"/>
            <p:nvPr/>
          </p:nvSpPr>
          <p:spPr>
            <a:xfrm>
              <a:off x="7741282" y="6703596"/>
              <a:ext cx="1446322" cy="471480"/>
            </a:xfrm>
            <a:prstGeom prst="rect">
              <a:avLst/>
            </a:prstGeom>
            <a:noFill/>
            <a:ln>
              <a:noFill/>
            </a:ln>
          </p:spPr>
          <p:txBody>
            <a:bodyPr spcFirstLastPara="1" wrap="square" lIns="74275" tIns="74275" rIns="74275" bIns="7427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l-GR" sz="1600" b="1" dirty="0">
                  <a:latin typeface="Arial"/>
                  <a:ea typeface="Arial"/>
                  <a:cs typeface="Arial"/>
                  <a:sym typeface="Arial"/>
                </a:rPr>
                <a:t>6</a:t>
              </a:r>
              <a:r>
                <a:rPr lang="el-GR" sz="1600" b="1" i="0" u="none" strike="noStrike" cap="none" dirty="0">
                  <a:latin typeface="Arial"/>
                  <a:ea typeface="Arial"/>
                  <a:cs typeface="Arial"/>
                  <a:sym typeface="Arial"/>
                </a:rPr>
                <a:t> Στόχοι</a:t>
              </a:r>
            </a:p>
          </p:txBody>
        </p:sp>
        <p:grpSp>
          <p:nvGrpSpPr>
            <p:cNvPr id="25" name="Group 24">
              <a:extLst>
                <a:ext uri="{FF2B5EF4-FFF2-40B4-BE49-F238E27FC236}">
                  <a16:creationId xmlns:a16="http://schemas.microsoft.com/office/drawing/2014/main" id="{49251BEA-8BD1-4002-9C61-117FAF793380}"/>
                </a:ext>
              </a:extLst>
            </p:cNvPr>
            <p:cNvGrpSpPr/>
            <p:nvPr/>
          </p:nvGrpSpPr>
          <p:grpSpPr>
            <a:xfrm>
              <a:off x="4564658" y="1780245"/>
              <a:ext cx="7772769" cy="4911231"/>
              <a:chOff x="4564658" y="1780245"/>
              <a:chExt cx="7772769" cy="4911231"/>
            </a:xfrm>
          </p:grpSpPr>
          <p:grpSp>
            <p:nvGrpSpPr>
              <p:cNvPr id="123" name="Group 122">
                <a:extLst>
                  <a:ext uri="{FF2B5EF4-FFF2-40B4-BE49-F238E27FC236}">
                    <a16:creationId xmlns:a16="http://schemas.microsoft.com/office/drawing/2014/main" id="{731878C7-B96D-4151-AEB2-DDDEBFE6A328}"/>
                  </a:ext>
                </a:extLst>
              </p:cNvPr>
              <p:cNvGrpSpPr/>
              <p:nvPr/>
            </p:nvGrpSpPr>
            <p:grpSpPr>
              <a:xfrm>
                <a:off x="6096000" y="1781177"/>
                <a:ext cx="4595358" cy="4595357"/>
                <a:chOff x="2051467" y="2212718"/>
                <a:chExt cx="3385561" cy="3385560"/>
              </a:xfrm>
            </p:grpSpPr>
            <p:sp>
              <p:nvSpPr>
                <p:cNvPr id="127" name="Freeform 4">
                  <a:extLst>
                    <a:ext uri="{FF2B5EF4-FFF2-40B4-BE49-F238E27FC236}">
                      <a16:creationId xmlns:a16="http://schemas.microsoft.com/office/drawing/2014/main" id="{DC415D1C-1798-4851-89CC-E8C2CF0DC2A0}"/>
                    </a:ext>
                  </a:extLst>
                </p:cNvPr>
                <p:cNvSpPr>
                  <a:spLocks/>
                </p:cNvSpPr>
                <p:nvPr/>
              </p:nvSpPr>
              <p:spPr bwMode="gray">
                <a:xfrm>
                  <a:off x="2259162" y="2212718"/>
                  <a:ext cx="1445719" cy="1357483"/>
                </a:xfrm>
                <a:custGeom>
                  <a:avLst/>
                  <a:gdLst>
                    <a:gd name="T0" fmla="*/ 2147483647 w 250"/>
                    <a:gd name="T1" fmla="*/ 2147483647 h 235"/>
                    <a:gd name="T2" fmla="*/ 2147483647 w 250"/>
                    <a:gd name="T3" fmla="*/ 2147483647 h 235"/>
                    <a:gd name="T4" fmla="*/ 2147483647 w 250"/>
                    <a:gd name="T5" fmla="*/ 0 h 235"/>
                    <a:gd name="T6" fmla="*/ 0 w 250"/>
                    <a:gd name="T7" fmla="*/ 2147483647 h 235"/>
                    <a:gd name="T8" fmla="*/ 2147483647 w 250"/>
                    <a:gd name="T9" fmla="*/ 2147483647 h 235"/>
                    <a:gd name="T10" fmla="*/ 2147483647 w 250"/>
                    <a:gd name="T11" fmla="*/ 2147483647 h 235"/>
                    <a:gd name="T12" fmla="*/ 0 60000 65536"/>
                    <a:gd name="T13" fmla="*/ 0 60000 65536"/>
                    <a:gd name="T14" fmla="*/ 0 60000 65536"/>
                    <a:gd name="T15" fmla="*/ 0 60000 65536"/>
                    <a:gd name="T16" fmla="*/ 0 60000 65536"/>
                    <a:gd name="T17" fmla="*/ 0 60000 65536"/>
                    <a:gd name="T18" fmla="*/ 0 w 250"/>
                    <a:gd name="T19" fmla="*/ 0 h 235"/>
                    <a:gd name="T20" fmla="*/ 250 w 250"/>
                    <a:gd name="T21" fmla="*/ 235 h 235"/>
                  </a:gdLst>
                  <a:ahLst/>
                  <a:cxnLst>
                    <a:cxn ang="T12">
                      <a:pos x="T0" y="T1"/>
                    </a:cxn>
                    <a:cxn ang="T13">
                      <a:pos x="T2" y="T3"/>
                    </a:cxn>
                    <a:cxn ang="T14">
                      <a:pos x="T4" y="T5"/>
                    </a:cxn>
                    <a:cxn ang="T15">
                      <a:pos x="T6" y="T7"/>
                    </a:cxn>
                    <a:cxn ang="T16">
                      <a:pos x="T8" y="T9"/>
                    </a:cxn>
                    <a:cxn ang="T17">
                      <a:pos x="T10" y="T11"/>
                    </a:cxn>
                  </a:cxnLst>
                  <a:rect l="T18" t="T19" r="T20" b="T21"/>
                  <a:pathLst>
                    <a:path w="250" h="235">
                      <a:moveTo>
                        <a:pt x="228" y="184"/>
                      </a:moveTo>
                      <a:cubicBezTo>
                        <a:pt x="235" y="182"/>
                        <a:pt x="243" y="181"/>
                        <a:pt x="250" y="181"/>
                      </a:cubicBezTo>
                      <a:cubicBezTo>
                        <a:pt x="250" y="0"/>
                        <a:pt x="250" y="0"/>
                        <a:pt x="250" y="0"/>
                      </a:cubicBezTo>
                      <a:cubicBezTo>
                        <a:pt x="142" y="3"/>
                        <a:pt x="48" y="64"/>
                        <a:pt x="0" y="153"/>
                      </a:cubicBezTo>
                      <a:cubicBezTo>
                        <a:pt x="160" y="235"/>
                        <a:pt x="160" y="235"/>
                        <a:pt x="160" y="235"/>
                      </a:cubicBezTo>
                      <a:cubicBezTo>
                        <a:pt x="175" y="210"/>
                        <a:pt x="199" y="192"/>
                        <a:pt x="228" y="184"/>
                      </a:cubicBezTo>
                      <a:close/>
                    </a:path>
                  </a:pathLst>
                </a:custGeom>
                <a:solidFill>
                  <a:schemeClr val="accent4"/>
                </a:solidFill>
                <a:ln w="3175">
                  <a:noFill/>
                  <a:round/>
                  <a:headEnd/>
                  <a:tailEnd/>
                </a:ln>
              </p:spPr>
              <p:txBody>
                <a:bodyPr/>
                <a:lstStyle/>
                <a:p>
                  <a:pPr defTabSz="781835">
                    <a:defRPr/>
                  </a:pPr>
                  <a:endParaRPr lang="en-GB" sz="1200" kern="0" dirty="0">
                    <a:solidFill>
                      <a:sysClr val="windowText" lastClr="000000"/>
                    </a:solidFill>
                  </a:endParaRPr>
                </a:p>
              </p:txBody>
            </p:sp>
            <p:sp>
              <p:nvSpPr>
                <p:cNvPr id="134" name="Freeform 5">
                  <a:extLst>
                    <a:ext uri="{FF2B5EF4-FFF2-40B4-BE49-F238E27FC236}">
                      <a16:creationId xmlns:a16="http://schemas.microsoft.com/office/drawing/2014/main" id="{FCC89764-760A-43DC-94D5-AD2E5334EA4B}"/>
                    </a:ext>
                  </a:extLst>
                </p:cNvPr>
                <p:cNvSpPr>
                  <a:spLocks/>
                </p:cNvSpPr>
                <p:nvPr/>
              </p:nvSpPr>
              <p:spPr bwMode="gray">
                <a:xfrm>
                  <a:off x="3784971" y="2212718"/>
                  <a:ext cx="1552960" cy="1451148"/>
                </a:xfrm>
                <a:custGeom>
                  <a:avLst/>
                  <a:gdLst>
                    <a:gd name="T0" fmla="*/ 2147483647 w 269"/>
                    <a:gd name="T1" fmla="*/ 2147483647 h 251"/>
                    <a:gd name="T2" fmla="*/ 2147483647 w 269"/>
                    <a:gd name="T3" fmla="*/ 2147483647 h 251"/>
                    <a:gd name="T4" fmla="*/ 0 w 269"/>
                    <a:gd name="T5" fmla="*/ 0 h 251"/>
                    <a:gd name="T6" fmla="*/ 0 w 269"/>
                    <a:gd name="T7" fmla="*/ 2147483647 h 251"/>
                    <a:gd name="T8" fmla="*/ 2147483647 w 269"/>
                    <a:gd name="T9" fmla="*/ 2147483647 h 251"/>
                    <a:gd name="T10" fmla="*/ 2147483647 w 269"/>
                    <a:gd name="T11" fmla="*/ 2147483647 h 251"/>
                    <a:gd name="T12" fmla="*/ 0 60000 65536"/>
                    <a:gd name="T13" fmla="*/ 0 60000 65536"/>
                    <a:gd name="T14" fmla="*/ 0 60000 65536"/>
                    <a:gd name="T15" fmla="*/ 0 60000 65536"/>
                    <a:gd name="T16" fmla="*/ 0 60000 65536"/>
                    <a:gd name="T17" fmla="*/ 0 60000 65536"/>
                    <a:gd name="T18" fmla="*/ 0 w 269"/>
                    <a:gd name="T19" fmla="*/ 0 h 251"/>
                    <a:gd name="T20" fmla="*/ 269 w 269"/>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269" h="251">
                      <a:moveTo>
                        <a:pt x="98" y="251"/>
                      </a:moveTo>
                      <a:cubicBezTo>
                        <a:pt x="269" y="196"/>
                        <a:pt x="269" y="196"/>
                        <a:pt x="269" y="196"/>
                      </a:cubicBezTo>
                      <a:cubicBezTo>
                        <a:pt x="230" y="84"/>
                        <a:pt x="125" y="3"/>
                        <a:pt x="0" y="0"/>
                      </a:cubicBezTo>
                      <a:cubicBezTo>
                        <a:pt x="0" y="181"/>
                        <a:pt x="0" y="181"/>
                        <a:pt x="0" y="181"/>
                      </a:cubicBezTo>
                      <a:cubicBezTo>
                        <a:pt x="17" y="182"/>
                        <a:pt x="34" y="187"/>
                        <a:pt x="49" y="196"/>
                      </a:cubicBezTo>
                      <a:cubicBezTo>
                        <a:pt x="72" y="208"/>
                        <a:pt x="88" y="228"/>
                        <a:pt x="98" y="251"/>
                      </a:cubicBezTo>
                      <a:close/>
                    </a:path>
                  </a:pathLst>
                </a:custGeom>
                <a:solidFill>
                  <a:schemeClr val="accent6"/>
                </a:solidFill>
                <a:ln w="3175">
                  <a:noFill/>
                  <a:round/>
                  <a:headEnd/>
                  <a:tailEnd/>
                </a:ln>
              </p:spPr>
              <p:txBody>
                <a:bodyPr/>
                <a:lstStyle/>
                <a:p>
                  <a:pPr defTabSz="781835">
                    <a:defRPr/>
                  </a:pPr>
                  <a:endParaRPr lang="en-GB" sz="1200" kern="0">
                    <a:solidFill>
                      <a:sysClr val="windowText" lastClr="000000"/>
                    </a:solidFill>
                  </a:endParaRPr>
                </a:p>
              </p:txBody>
            </p:sp>
            <p:sp>
              <p:nvSpPr>
                <p:cNvPr id="135" name="Freeform 6">
                  <a:extLst>
                    <a:ext uri="{FF2B5EF4-FFF2-40B4-BE49-F238E27FC236}">
                      <a16:creationId xmlns:a16="http://schemas.microsoft.com/office/drawing/2014/main" id="{5B5D889F-31DB-4610-9328-D7208CFD8E60}"/>
                    </a:ext>
                  </a:extLst>
                </p:cNvPr>
                <p:cNvSpPr>
                  <a:spLocks/>
                </p:cNvSpPr>
                <p:nvPr/>
              </p:nvSpPr>
              <p:spPr bwMode="gray">
                <a:xfrm>
                  <a:off x="2784509" y="4453920"/>
                  <a:ext cx="1924909" cy="1144358"/>
                </a:xfrm>
                <a:custGeom>
                  <a:avLst/>
                  <a:gdLst>
                    <a:gd name="T0" fmla="*/ 2147483647 w 333"/>
                    <a:gd name="T1" fmla="*/ 137050308 h 198"/>
                    <a:gd name="T2" fmla="*/ 2147483647 w 333"/>
                    <a:gd name="T3" fmla="*/ 0 h 198"/>
                    <a:gd name="T4" fmla="*/ 0 w 333"/>
                    <a:gd name="T5" fmla="*/ 2147483647 h 198"/>
                    <a:gd name="T6" fmla="*/ 2147483647 w 333"/>
                    <a:gd name="T7" fmla="*/ 2147483647 h 198"/>
                    <a:gd name="T8" fmla="*/ 2147483647 w 333"/>
                    <a:gd name="T9" fmla="*/ 2147483647 h 198"/>
                    <a:gd name="T10" fmla="*/ 2147483647 w 333"/>
                    <a:gd name="T11" fmla="*/ 0 h 198"/>
                    <a:gd name="T12" fmla="*/ 2147483647 w 333"/>
                    <a:gd name="T13" fmla="*/ 639561309 h 198"/>
                    <a:gd name="T14" fmla="*/ 2147483647 w 333"/>
                    <a:gd name="T15" fmla="*/ 137050308 h 198"/>
                    <a:gd name="T16" fmla="*/ 0 60000 65536"/>
                    <a:gd name="T17" fmla="*/ 0 60000 65536"/>
                    <a:gd name="T18" fmla="*/ 0 60000 65536"/>
                    <a:gd name="T19" fmla="*/ 0 60000 65536"/>
                    <a:gd name="T20" fmla="*/ 0 60000 65536"/>
                    <a:gd name="T21" fmla="*/ 0 60000 65536"/>
                    <a:gd name="T22" fmla="*/ 0 60000 65536"/>
                    <a:gd name="T23" fmla="*/ 0 60000 65536"/>
                    <a:gd name="T24" fmla="*/ 0 w 333"/>
                    <a:gd name="T25" fmla="*/ 0 h 198"/>
                    <a:gd name="T26" fmla="*/ 333 w 333"/>
                    <a:gd name="T27" fmla="*/ 198 h 1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3" h="198">
                      <a:moveTo>
                        <a:pt x="110" y="3"/>
                      </a:moveTo>
                      <a:cubicBezTo>
                        <a:pt x="108" y="2"/>
                        <a:pt x="107" y="1"/>
                        <a:pt x="106" y="0"/>
                      </a:cubicBezTo>
                      <a:cubicBezTo>
                        <a:pt x="0" y="146"/>
                        <a:pt x="0" y="146"/>
                        <a:pt x="0" y="146"/>
                      </a:cubicBezTo>
                      <a:cubicBezTo>
                        <a:pt x="47" y="179"/>
                        <a:pt x="104" y="198"/>
                        <a:pt x="166" y="198"/>
                      </a:cubicBezTo>
                      <a:cubicBezTo>
                        <a:pt x="228" y="198"/>
                        <a:pt x="285" y="179"/>
                        <a:pt x="333" y="146"/>
                      </a:cubicBezTo>
                      <a:cubicBezTo>
                        <a:pt x="227" y="0"/>
                        <a:pt x="227" y="0"/>
                        <a:pt x="227" y="0"/>
                      </a:cubicBezTo>
                      <a:cubicBezTo>
                        <a:pt x="217" y="6"/>
                        <a:pt x="207" y="11"/>
                        <a:pt x="195" y="14"/>
                      </a:cubicBezTo>
                      <a:cubicBezTo>
                        <a:pt x="166" y="22"/>
                        <a:pt x="136" y="18"/>
                        <a:pt x="110" y="3"/>
                      </a:cubicBezTo>
                      <a:close/>
                    </a:path>
                  </a:pathLst>
                </a:custGeom>
                <a:solidFill>
                  <a:schemeClr val="accent5"/>
                </a:solidFill>
                <a:ln w="3175">
                  <a:noFill/>
                  <a:round/>
                  <a:headEnd/>
                  <a:tailEnd/>
                </a:ln>
              </p:spPr>
              <p:txBody>
                <a:bodyPr/>
                <a:lstStyle/>
                <a:p>
                  <a:pPr defTabSz="781835">
                    <a:defRPr/>
                  </a:pPr>
                  <a:endParaRPr lang="en-GB" sz="1200" kern="0">
                    <a:solidFill>
                      <a:sysClr val="windowText" lastClr="000000"/>
                    </a:solidFill>
                  </a:endParaRPr>
                </a:p>
              </p:txBody>
            </p:sp>
            <p:sp>
              <p:nvSpPr>
                <p:cNvPr id="136" name="Freeform 7">
                  <a:extLst>
                    <a:ext uri="{FF2B5EF4-FFF2-40B4-BE49-F238E27FC236}">
                      <a16:creationId xmlns:a16="http://schemas.microsoft.com/office/drawing/2014/main" id="{16E12F44-8AB6-4E88-9CED-C21E3274A997}"/>
                    </a:ext>
                  </a:extLst>
                </p:cNvPr>
                <p:cNvSpPr>
                  <a:spLocks/>
                </p:cNvSpPr>
                <p:nvPr/>
              </p:nvSpPr>
              <p:spPr bwMode="gray">
                <a:xfrm>
                  <a:off x="2051467" y="3171101"/>
                  <a:ext cx="1278748" cy="2081020"/>
                </a:xfrm>
                <a:custGeom>
                  <a:avLst/>
                  <a:gdLst>
                    <a:gd name="T0" fmla="*/ 2147483647 w 221"/>
                    <a:gd name="T1" fmla="*/ 2147483647 h 360"/>
                    <a:gd name="T2" fmla="*/ 1327829190 w 221"/>
                    <a:gd name="T3" fmla="*/ 0 h 360"/>
                    <a:gd name="T4" fmla="*/ 0 w 221"/>
                    <a:gd name="T5" fmla="*/ 2147483647 h 360"/>
                    <a:gd name="T6" fmla="*/ 2147483647 w 221"/>
                    <a:gd name="T7" fmla="*/ 2147483647 h 360"/>
                    <a:gd name="T8" fmla="*/ 2147483647 w 221"/>
                    <a:gd name="T9" fmla="*/ 2147483647 h 360"/>
                    <a:gd name="T10" fmla="*/ 2147483647 w 221"/>
                    <a:gd name="T11" fmla="*/ 2147483647 h 360"/>
                    <a:gd name="T12" fmla="*/ 0 60000 65536"/>
                    <a:gd name="T13" fmla="*/ 0 60000 65536"/>
                    <a:gd name="T14" fmla="*/ 0 60000 65536"/>
                    <a:gd name="T15" fmla="*/ 0 60000 65536"/>
                    <a:gd name="T16" fmla="*/ 0 60000 65536"/>
                    <a:gd name="T17" fmla="*/ 0 60000 65536"/>
                    <a:gd name="T18" fmla="*/ 0 w 221"/>
                    <a:gd name="T19" fmla="*/ 0 h 360"/>
                    <a:gd name="T20" fmla="*/ 221 w 221"/>
                    <a:gd name="T21" fmla="*/ 360 h 360"/>
                  </a:gdLst>
                  <a:ahLst/>
                  <a:cxnLst>
                    <a:cxn ang="T12">
                      <a:pos x="T0" y="T1"/>
                    </a:cxn>
                    <a:cxn ang="T13">
                      <a:pos x="T2" y="T3"/>
                    </a:cxn>
                    <a:cxn ang="T14">
                      <a:pos x="T4" y="T5"/>
                    </a:cxn>
                    <a:cxn ang="T15">
                      <a:pos x="T6" y="T7"/>
                    </a:cxn>
                    <a:cxn ang="T16">
                      <a:pos x="T8" y="T9"/>
                    </a:cxn>
                    <a:cxn ang="T17">
                      <a:pos x="T10" y="T11"/>
                    </a:cxn>
                  </a:cxnLst>
                  <a:rect l="T18" t="T19" r="T20" b="T21"/>
                  <a:pathLst>
                    <a:path w="221" h="360">
                      <a:moveTo>
                        <a:pt x="190" y="82"/>
                      </a:moveTo>
                      <a:cubicBezTo>
                        <a:pt x="29" y="0"/>
                        <a:pt x="29" y="0"/>
                        <a:pt x="29" y="0"/>
                      </a:cubicBezTo>
                      <a:cubicBezTo>
                        <a:pt x="10" y="39"/>
                        <a:pt x="0" y="82"/>
                        <a:pt x="0" y="127"/>
                      </a:cubicBezTo>
                      <a:cubicBezTo>
                        <a:pt x="0" y="222"/>
                        <a:pt x="45" y="306"/>
                        <a:pt x="115" y="360"/>
                      </a:cubicBezTo>
                      <a:cubicBezTo>
                        <a:pt x="221" y="214"/>
                        <a:pt x="221" y="214"/>
                        <a:pt x="221" y="214"/>
                      </a:cubicBezTo>
                      <a:cubicBezTo>
                        <a:pt x="183" y="182"/>
                        <a:pt x="170" y="128"/>
                        <a:pt x="190" y="82"/>
                      </a:cubicBezTo>
                      <a:close/>
                    </a:path>
                  </a:pathLst>
                </a:custGeom>
                <a:solidFill>
                  <a:schemeClr val="accent1"/>
                </a:solidFill>
                <a:ln w="3175">
                  <a:noFill/>
                  <a:round/>
                  <a:headEnd/>
                  <a:tailEnd/>
                </a:ln>
              </p:spPr>
              <p:txBody>
                <a:bodyPr/>
                <a:lstStyle/>
                <a:p>
                  <a:pPr defTabSz="781835">
                    <a:defRPr/>
                  </a:pPr>
                  <a:endParaRPr lang="en-GB" sz="1200" kern="0" dirty="0">
                    <a:solidFill>
                      <a:sysClr val="windowText" lastClr="000000"/>
                    </a:solidFill>
                  </a:endParaRPr>
                </a:p>
              </p:txBody>
            </p:sp>
            <p:sp>
              <p:nvSpPr>
                <p:cNvPr id="137" name="Freeform 8">
                  <a:extLst>
                    <a:ext uri="{FF2B5EF4-FFF2-40B4-BE49-F238E27FC236}">
                      <a16:creationId xmlns:a16="http://schemas.microsoft.com/office/drawing/2014/main" id="{B06E9EF7-285C-4A79-91D5-D83057ECDADB}"/>
                    </a:ext>
                  </a:extLst>
                </p:cNvPr>
                <p:cNvSpPr>
                  <a:spLocks/>
                </p:cNvSpPr>
                <p:nvPr/>
              </p:nvSpPr>
              <p:spPr bwMode="gray">
                <a:xfrm>
                  <a:off x="4160994" y="3420878"/>
                  <a:ext cx="1276034" cy="1831243"/>
                </a:xfrm>
                <a:custGeom>
                  <a:avLst/>
                  <a:gdLst>
                    <a:gd name="T0" fmla="*/ 2147483647 w 221"/>
                    <a:gd name="T1" fmla="*/ 0 h 317"/>
                    <a:gd name="T2" fmla="*/ 1686944691 w 221"/>
                    <a:gd name="T3" fmla="*/ 2147483647 h 317"/>
                    <a:gd name="T4" fmla="*/ 1185420537 w 221"/>
                    <a:gd name="T5" fmla="*/ 2147483647 h 317"/>
                    <a:gd name="T6" fmla="*/ 0 w 221"/>
                    <a:gd name="T7" fmla="*/ 2147483647 h 317"/>
                    <a:gd name="T8" fmla="*/ 2147483647 w 221"/>
                    <a:gd name="T9" fmla="*/ 2147483647 h 317"/>
                    <a:gd name="T10" fmla="*/ 2147483647 w 221"/>
                    <a:gd name="T11" fmla="*/ 2147483647 h 317"/>
                    <a:gd name="T12" fmla="*/ 2147483647 w 221"/>
                    <a:gd name="T13" fmla="*/ 0 h 317"/>
                    <a:gd name="T14" fmla="*/ 0 60000 65536"/>
                    <a:gd name="T15" fmla="*/ 0 60000 65536"/>
                    <a:gd name="T16" fmla="*/ 0 60000 65536"/>
                    <a:gd name="T17" fmla="*/ 0 60000 65536"/>
                    <a:gd name="T18" fmla="*/ 0 60000 65536"/>
                    <a:gd name="T19" fmla="*/ 0 60000 65536"/>
                    <a:gd name="T20" fmla="*/ 0 60000 65536"/>
                    <a:gd name="T21" fmla="*/ 0 w 221"/>
                    <a:gd name="T22" fmla="*/ 0 h 317"/>
                    <a:gd name="T23" fmla="*/ 221 w 221"/>
                    <a:gd name="T24" fmla="*/ 317 h 3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1" h="317">
                      <a:moveTo>
                        <a:pt x="209" y="0"/>
                      </a:moveTo>
                      <a:cubicBezTo>
                        <a:pt x="37" y="56"/>
                        <a:pt x="37" y="56"/>
                        <a:pt x="37" y="56"/>
                      </a:cubicBezTo>
                      <a:cubicBezTo>
                        <a:pt x="45" y="85"/>
                        <a:pt x="41" y="115"/>
                        <a:pt x="26" y="141"/>
                      </a:cubicBezTo>
                      <a:cubicBezTo>
                        <a:pt x="19" y="152"/>
                        <a:pt x="10" y="162"/>
                        <a:pt x="0" y="171"/>
                      </a:cubicBezTo>
                      <a:cubicBezTo>
                        <a:pt x="106" y="317"/>
                        <a:pt x="106" y="317"/>
                        <a:pt x="106" y="317"/>
                      </a:cubicBezTo>
                      <a:cubicBezTo>
                        <a:pt x="176" y="263"/>
                        <a:pt x="221" y="179"/>
                        <a:pt x="221" y="84"/>
                      </a:cubicBezTo>
                      <a:cubicBezTo>
                        <a:pt x="221" y="55"/>
                        <a:pt x="217" y="27"/>
                        <a:pt x="209" y="0"/>
                      </a:cubicBezTo>
                      <a:close/>
                    </a:path>
                  </a:pathLst>
                </a:custGeom>
                <a:solidFill>
                  <a:schemeClr val="accent3"/>
                </a:solidFill>
                <a:ln w="3175">
                  <a:noFill/>
                  <a:round/>
                  <a:headEnd/>
                  <a:tailEnd/>
                </a:ln>
              </p:spPr>
              <p:txBody>
                <a:bodyPr/>
                <a:lstStyle/>
                <a:p>
                  <a:pPr defTabSz="781835">
                    <a:defRPr/>
                  </a:pPr>
                  <a:endParaRPr lang="en-GB" sz="1200" kern="0">
                    <a:solidFill>
                      <a:sysClr val="windowText" lastClr="000000"/>
                    </a:solidFill>
                  </a:endParaRPr>
                </a:p>
              </p:txBody>
            </p:sp>
            <p:sp>
              <p:nvSpPr>
                <p:cNvPr id="138" name="Rectangle 9">
                  <a:extLst>
                    <a:ext uri="{FF2B5EF4-FFF2-40B4-BE49-F238E27FC236}">
                      <a16:creationId xmlns:a16="http://schemas.microsoft.com/office/drawing/2014/main" id="{64EA81B1-6C1D-48E1-9F28-4996C1D686B2}"/>
                    </a:ext>
                  </a:extLst>
                </p:cNvPr>
                <p:cNvSpPr>
                  <a:spLocks noChangeArrowheads="1"/>
                </p:cNvSpPr>
                <p:nvPr/>
              </p:nvSpPr>
              <p:spPr bwMode="gray">
                <a:xfrm>
                  <a:off x="3913890" y="2735293"/>
                  <a:ext cx="936915" cy="586586"/>
                </a:xfrm>
                <a:prstGeom prst="rect">
                  <a:avLst/>
                </a:prstGeom>
                <a:noFill/>
                <a:ln w="9525">
                  <a:noFill/>
                  <a:miter lim="800000"/>
                  <a:headEnd/>
                  <a:tailEnd/>
                </a:ln>
              </p:spPr>
              <p:txBody>
                <a:bodyPr wrap="square">
                  <a:spAutoFit/>
                </a:bodyPr>
                <a:lstStyle/>
                <a:p>
                  <a:pPr lvl="0" algn="ctr" eaLnBrk="0" hangingPunct="0">
                    <a:spcBef>
                      <a:spcPct val="20000"/>
                    </a:spcBef>
                    <a:defRPr/>
                  </a:pPr>
                  <a:r>
                    <a:rPr lang="el-GR" kern="0" dirty="0">
                      <a:solidFill>
                        <a:srgbClr val="FFFFFF"/>
                      </a:solidFill>
                      <a:cs typeface="Arial" charset="0"/>
                    </a:rPr>
                    <a:t>2</a:t>
                  </a:r>
                  <a:r>
                    <a:rPr lang="el-GR" kern="0" baseline="30000" dirty="0">
                      <a:solidFill>
                        <a:srgbClr val="FFFFFF"/>
                      </a:solidFill>
                      <a:cs typeface="Arial" charset="0"/>
                    </a:rPr>
                    <a:t>ος</a:t>
                  </a:r>
                  <a:r>
                    <a:rPr lang="el-GR" kern="0" dirty="0">
                      <a:solidFill>
                        <a:srgbClr val="FFFFFF"/>
                      </a:solidFill>
                      <a:cs typeface="Arial" charset="0"/>
                    </a:rPr>
                    <a:t> Άξονας</a:t>
                  </a:r>
                  <a:endParaRPr lang="de-DE" kern="0" dirty="0">
                    <a:solidFill>
                      <a:srgbClr val="FFFFFF"/>
                    </a:solidFill>
                    <a:cs typeface="Arial" charset="0"/>
                  </a:endParaRPr>
                </a:p>
              </p:txBody>
            </p:sp>
            <p:sp>
              <p:nvSpPr>
                <p:cNvPr id="139" name="Rectangle 10">
                  <a:extLst>
                    <a:ext uri="{FF2B5EF4-FFF2-40B4-BE49-F238E27FC236}">
                      <a16:creationId xmlns:a16="http://schemas.microsoft.com/office/drawing/2014/main" id="{74C012FF-01A5-4E0D-BD20-92CDFEDEBC59}"/>
                    </a:ext>
                  </a:extLst>
                </p:cNvPr>
                <p:cNvSpPr>
                  <a:spLocks noChangeArrowheads="1"/>
                </p:cNvSpPr>
                <p:nvPr/>
              </p:nvSpPr>
              <p:spPr bwMode="gray">
                <a:xfrm>
                  <a:off x="2136343" y="3936694"/>
                  <a:ext cx="964459" cy="586586"/>
                </a:xfrm>
                <a:prstGeom prst="rect">
                  <a:avLst/>
                </a:prstGeom>
                <a:noFill/>
                <a:ln w="9525" algn="ctr">
                  <a:noFill/>
                  <a:miter lim="800000"/>
                  <a:headEnd/>
                  <a:tailEnd/>
                </a:ln>
              </p:spPr>
              <p:txBody>
                <a:bodyPr wrap="square">
                  <a:spAutoFit/>
                </a:bodyPr>
                <a:lstStyle/>
                <a:p>
                  <a:pPr algn="ctr" defTabSz="781835">
                    <a:spcBef>
                      <a:spcPct val="20000"/>
                    </a:spcBef>
                    <a:defRPr/>
                  </a:pPr>
                  <a:r>
                    <a:rPr lang="el-GR" kern="0" dirty="0">
                      <a:solidFill>
                        <a:srgbClr val="FFFFFF"/>
                      </a:solidFill>
                      <a:cs typeface="Arial" charset="0"/>
                    </a:rPr>
                    <a:t>5ος Άξονας</a:t>
                  </a:r>
                </a:p>
              </p:txBody>
            </p:sp>
            <p:sp>
              <p:nvSpPr>
                <p:cNvPr id="140" name="Rectangle 11">
                  <a:extLst>
                    <a:ext uri="{FF2B5EF4-FFF2-40B4-BE49-F238E27FC236}">
                      <a16:creationId xmlns:a16="http://schemas.microsoft.com/office/drawing/2014/main" id="{BF7B79E7-8ECE-4784-BE77-2C8FF76414B2}"/>
                    </a:ext>
                  </a:extLst>
                </p:cNvPr>
                <p:cNvSpPr>
                  <a:spLocks noChangeArrowheads="1"/>
                </p:cNvSpPr>
                <p:nvPr/>
              </p:nvSpPr>
              <p:spPr bwMode="gray">
                <a:xfrm>
                  <a:off x="2670328" y="2735293"/>
                  <a:ext cx="876996" cy="272100"/>
                </a:xfrm>
                <a:prstGeom prst="rect">
                  <a:avLst/>
                </a:prstGeom>
                <a:noFill/>
                <a:ln w="9525" algn="ctr">
                  <a:noFill/>
                  <a:miter lim="800000"/>
                  <a:headEnd/>
                  <a:tailEnd/>
                </a:ln>
              </p:spPr>
              <p:txBody>
                <a:bodyPr wrap="square">
                  <a:spAutoFit/>
                </a:bodyPr>
                <a:lstStyle/>
                <a:p>
                  <a:pPr lvl="0" algn="ctr" eaLnBrk="0" hangingPunct="0">
                    <a:spcBef>
                      <a:spcPct val="20000"/>
                    </a:spcBef>
                    <a:defRPr/>
                  </a:pPr>
                  <a:r>
                    <a:rPr lang="el-GR" kern="0" dirty="0">
                      <a:solidFill>
                        <a:srgbClr val="FFFFFF"/>
                      </a:solidFill>
                      <a:cs typeface="Arial" charset="0"/>
                    </a:rPr>
                    <a:t>1</a:t>
                  </a:r>
                  <a:r>
                    <a:rPr lang="el-GR" kern="0" baseline="30000" dirty="0">
                      <a:solidFill>
                        <a:srgbClr val="FFFFFF"/>
                      </a:solidFill>
                      <a:cs typeface="Arial" charset="0"/>
                    </a:rPr>
                    <a:t>ος </a:t>
                  </a:r>
                  <a:r>
                    <a:rPr lang="el-GR" kern="0" dirty="0">
                      <a:solidFill>
                        <a:srgbClr val="FFFFFF"/>
                      </a:solidFill>
                      <a:cs typeface="Arial" charset="0"/>
                    </a:rPr>
                    <a:t>Άξονας</a:t>
                  </a:r>
                  <a:endParaRPr lang="de-DE" kern="0" dirty="0">
                    <a:solidFill>
                      <a:srgbClr val="FFFFFF"/>
                    </a:solidFill>
                    <a:cs typeface="Arial" charset="0"/>
                  </a:endParaRPr>
                </a:p>
              </p:txBody>
            </p:sp>
            <p:sp>
              <p:nvSpPr>
                <p:cNvPr id="141" name="Rectangle 12">
                  <a:extLst>
                    <a:ext uri="{FF2B5EF4-FFF2-40B4-BE49-F238E27FC236}">
                      <a16:creationId xmlns:a16="http://schemas.microsoft.com/office/drawing/2014/main" id="{9DD43A73-4A9A-489F-995D-0D6EB2377983}"/>
                    </a:ext>
                  </a:extLst>
                </p:cNvPr>
                <p:cNvSpPr>
                  <a:spLocks noChangeArrowheads="1"/>
                </p:cNvSpPr>
                <p:nvPr/>
              </p:nvSpPr>
              <p:spPr bwMode="gray">
                <a:xfrm>
                  <a:off x="4378514" y="3988299"/>
                  <a:ext cx="1002809" cy="586586"/>
                </a:xfrm>
                <a:prstGeom prst="rect">
                  <a:avLst/>
                </a:prstGeom>
                <a:noFill/>
                <a:ln w="9525">
                  <a:noFill/>
                  <a:miter lim="800000"/>
                  <a:headEnd/>
                  <a:tailEnd/>
                </a:ln>
              </p:spPr>
              <p:txBody>
                <a:bodyPr wrap="square">
                  <a:spAutoFit/>
                </a:bodyPr>
                <a:lstStyle/>
                <a:p>
                  <a:pPr lvl="0" algn="ctr" eaLnBrk="0" hangingPunct="0">
                    <a:spcBef>
                      <a:spcPct val="20000"/>
                    </a:spcBef>
                    <a:defRPr/>
                  </a:pPr>
                  <a:r>
                    <a:rPr lang="el-GR" kern="0" dirty="0">
                      <a:solidFill>
                        <a:srgbClr val="FFFFFF"/>
                      </a:solidFill>
                      <a:cs typeface="Arial" charset="0"/>
                    </a:rPr>
                    <a:t>3ος  Άξονας</a:t>
                  </a:r>
                  <a:endParaRPr lang="de-DE" kern="0" dirty="0">
                    <a:solidFill>
                      <a:srgbClr val="FFFFFF"/>
                    </a:solidFill>
                    <a:cs typeface="Arial" charset="0"/>
                  </a:endParaRPr>
                </a:p>
              </p:txBody>
            </p:sp>
            <p:sp>
              <p:nvSpPr>
                <p:cNvPr id="142" name="Rectangle 13">
                  <a:extLst>
                    <a:ext uri="{FF2B5EF4-FFF2-40B4-BE49-F238E27FC236}">
                      <a16:creationId xmlns:a16="http://schemas.microsoft.com/office/drawing/2014/main" id="{6F3080FF-5514-4651-90E5-2FB6652483A1}"/>
                    </a:ext>
                  </a:extLst>
                </p:cNvPr>
                <p:cNvSpPr>
                  <a:spLocks noChangeArrowheads="1"/>
                </p:cNvSpPr>
                <p:nvPr/>
              </p:nvSpPr>
              <p:spPr bwMode="gray">
                <a:xfrm>
                  <a:off x="3307452" y="4885600"/>
                  <a:ext cx="981749" cy="586586"/>
                </a:xfrm>
                <a:prstGeom prst="rect">
                  <a:avLst/>
                </a:prstGeom>
                <a:noFill/>
                <a:ln w="9525" algn="ctr">
                  <a:noFill/>
                  <a:miter lim="800000"/>
                  <a:headEnd/>
                  <a:tailEnd/>
                </a:ln>
              </p:spPr>
              <p:txBody>
                <a:bodyPr wrap="square">
                  <a:spAutoFit/>
                </a:bodyPr>
                <a:lstStyle/>
                <a:p>
                  <a:pPr algn="ctr" defTabSz="781835" eaLnBrk="0" hangingPunct="0">
                    <a:spcBef>
                      <a:spcPct val="20000"/>
                    </a:spcBef>
                    <a:defRPr/>
                  </a:pPr>
                  <a:r>
                    <a:rPr lang="el-GR" kern="0" dirty="0">
                      <a:solidFill>
                        <a:srgbClr val="FFFFFF"/>
                      </a:solidFill>
                      <a:cs typeface="Arial" charset="0"/>
                    </a:rPr>
                    <a:t>4ος Άξονας</a:t>
                  </a:r>
                  <a:endParaRPr lang="de-DE" kern="0" dirty="0">
                    <a:solidFill>
                      <a:srgbClr val="FFFFFF"/>
                    </a:solidFill>
                    <a:cs typeface="Arial" charset="0"/>
                  </a:endParaRPr>
                </a:p>
              </p:txBody>
            </p:sp>
          </p:grpSp>
          <p:grpSp>
            <p:nvGrpSpPr>
              <p:cNvPr id="146" name="Group 51">
                <a:extLst>
                  <a:ext uri="{FF2B5EF4-FFF2-40B4-BE49-F238E27FC236}">
                    <a16:creationId xmlns:a16="http://schemas.microsoft.com/office/drawing/2014/main" id="{8A3A6407-66B6-4E35-BBD0-3733103A2BCE}"/>
                  </a:ext>
                </a:extLst>
              </p:cNvPr>
              <p:cNvGrpSpPr/>
              <p:nvPr/>
            </p:nvGrpSpPr>
            <p:grpSpPr>
              <a:xfrm>
                <a:off x="7969445" y="3623743"/>
                <a:ext cx="811871" cy="802436"/>
                <a:chOff x="1024834" y="3136678"/>
                <a:chExt cx="1791641" cy="1794690"/>
              </a:xfrm>
              <a:solidFill>
                <a:srgbClr val="013476"/>
              </a:solidFill>
            </p:grpSpPr>
            <p:sp>
              <p:nvSpPr>
                <p:cNvPr id="147" name="Rectangle 228">
                  <a:extLst>
                    <a:ext uri="{FF2B5EF4-FFF2-40B4-BE49-F238E27FC236}">
                      <a16:creationId xmlns:a16="http://schemas.microsoft.com/office/drawing/2014/main" id="{F1BD0621-5E2F-4059-80FF-B1F0B0827D5F}"/>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13476"/>
                    </a:solidFill>
                    <a:latin typeface="Arial"/>
                  </a:endParaRPr>
                </a:p>
              </p:txBody>
            </p:sp>
            <p:grpSp>
              <p:nvGrpSpPr>
                <p:cNvPr id="148" name="Group 53">
                  <a:extLst>
                    <a:ext uri="{FF2B5EF4-FFF2-40B4-BE49-F238E27FC236}">
                      <a16:creationId xmlns:a16="http://schemas.microsoft.com/office/drawing/2014/main" id="{9274FF82-8C05-4CE0-9887-EE0152F9036A}"/>
                    </a:ext>
                  </a:extLst>
                </p:cNvPr>
                <p:cNvGrpSpPr/>
                <p:nvPr/>
              </p:nvGrpSpPr>
              <p:grpSpPr>
                <a:xfrm>
                  <a:off x="1024834" y="3136678"/>
                  <a:ext cx="1791641" cy="1794690"/>
                  <a:chOff x="1024834" y="3136678"/>
                  <a:chExt cx="1791641" cy="1794690"/>
                </a:xfrm>
                <a:grpFill/>
              </p:grpSpPr>
              <p:sp>
                <p:nvSpPr>
                  <p:cNvPr id="149" name="Rectangle 218">
                    <a:extLst>
                      <a:ext uri="{FF2B5EF4-FFF2-40B4-BE49-F238E27FC236}">
                        <a16:creationId xmlns:a16="http://schemas.microsoft.com/office/drawing/2014/main" id="{59AB0CE6-6755-4003-99DF-3681BD7B94F5}"/>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13476"/>
                      </a:solidFill>
                      <a:latin typeface="Arial"/>
                    </a:endParaRPr>
                  </a:p>
                </p:txBody>
              </p:sp>
              <p:grpSp>
                <p:nvGrpSpPr>
                  <p:cNvPr id="150" name="Group 55">
                    <a:extLst>
                      <a:ext uri="{FF2B5EF4-FFF2-40B4-BE49-F238E27FC236}">
                        <a16:creationId xmlns:a16="http://schemas.microsoft.com/office/drawing/2014/main" id="{507DF802-DCEF-4480-BCCB-8CE97704E84D}"/>
                      </a:ext>
                    </a:extLst>
                  </p:cNvPr>
                  <p:cNvGrpSpPr/>
                  <p:nvPr/>
                </p:nvGrpSpPr>
                <p:grpSpPr>
                  <a:xfrm>
                    <a:off x="1024834" y="3136678"/>
                    <a:ext cx="1791641" cy="1695618"/>
                    <a:chOff x="5289671" y="2145561"/>
                    <a:chExt cx="255588" cy="241897"/>
                  </a:xfrm>
                  <a:grpFill/>
                </p:grpSpPr>
                <p:sp>
                  <p:nvSpPr>
                    <p:cNvPr id="154" name="Freeform 227">
                      <a:extLst>
                        <a:ext uri="{FF2B5EF4-FFF2-40B4-BE49-F238E27FC236}">
                          <a16:creationId xmlns:a16="http://schemas.microsoft.com/office/drawing/2014/main" id="{1ABD8B70-622C-4F58-8C4A-D6029798149D}"/>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13476"/>
                        </a:solidFill>
                        <a:latin typeface="Arial"/>
                      </a:endParaRPr>
                    </a:p>
                  </p:txBody>
                </p:sp>
                <p:sp>
                  <p:nvSpPr>
                    <p:cNvPr id="155" name="Rectangle 228">
                      <a:extLst>
                        <a:ext uri="{FF2B5EF4-FFF2-40B4-BE49-F238E27FC236}">
                          <a16:creationId xmlns:a16="http://schemas.microsoft.com/office/drawing/2014/main" id="{AB1EE94A-B6D2-4562-BC1C-03B6AD31CAA4}"/>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13476"/>
                        </a:solidFill>
                        <a:latin typeface="Arial"/>
                      </a:endParaRPr>
                    </a:p>
                  </p:txBody>
                </p:sp>
                <p:sp>
                  <p:nvSpPr>
                    <p:cNvPr id="156" name="Rectangle 229">
                      <a:extLst>
                        <a:ext uri="{FF2B5EF4-FFF2-40B4-BE49-F238E27FC236}">
                          <a16:creationId xmlns:a16="http://schemas.microsoft.com/office/drawing/2014/main" id="{45DE4BB3-1514-432E-A469-6DF51FFE9A28}"/>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13476"/>
                        </a:solidFill>
                        <a:latin typeface="Arial"/>
                      </a:endParaRPr>
                    </a:p>
                  </p:txBody>
                </p:sp>
              </p:grpSp>
              <p:sp>
                <p:nvSpPr>
                  <p:cNvPr id="151" name="Rectangle 150">
                    <a:extLst>
                      <a:ext uri="{FF2B5EF4-FFF2-40B4-BE49-F238E27FC236}">
                        <a16:creationId xmlns:a16="http://schemas.microsoft.com/office/drawing/2014/main" id="{954FE154-2574-48E0-AC6D-B130B2863DB8}"/>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13476"/>
                      </a:solidFill>
                      <a:latin typeface="Arial"/>
                    </a:endParaRPr>
                  </a:p>
                </p:txBody>
              </p:sp>
              <p:sp>
                <p:nvSpPr>
                  <p:cNvPr id="152" name="Rectangle 151">
                    <a:extLst>
                      <a:ext uri="{FF2B5EF4-FFF2-40B4-BE49-F238E27FC236}">
                        <a16:creationId xmlns:a16="http://schemas.microsoft.com/office/drawing/2014/main" id="{D4A62105-4E4A-4CAC-ABAE-2DBB0355EBF9}"/>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srgbClr val="013476"/>
                      </a:solidFill>
                      <a:latin typeface="Arial"/>
                    </a:endParaRPr>
                  </a:p>
                </p:txBody>
              </p:sp>
              <p:sp>
                <p:nvSpPr>
                  <p:cNvPr id="153" name="Rectangle 152">
                    <a:extLst>
                      <a:ext uri="{FF2B5EF4-FFF2-40B4-BE49-F238E27FC236}">
                        <a16:creationId xmlns:a16="http://schemas.microsoft.com/office/drawing/2014/main" id="{231E0A4A-3CE9-4608-9C5B-1F5DED9A51F0}"/>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srgbClr val="013476"/>
                      </a:solidFill>
                      <a:latin typeface="Arial"/>
                    </a:endParaRPr>
                  </a:p>
                </p:txBody>
              </p:sp>
            </p:grpSp>
          </p:grpSp>
          <p:sp>
            <p:nvSpPr>
              <p:cNvPr id="159" name="Google Shape;2873;p50">
                <a:extLst>
                  <a:ext uri="{FF2B5EF4-FFF2-40B4-BE49-F238E27FC236}">
                    <a16:creationId xmlns:a16="http://schemas.microsoft.com/office/drawing/2014/main" id="{2343DF95-708E-4E5C-AD21-AB241253B57D}"/>
                  </a:ext>
                </a:extLst>
              </p:cNvPr>
              <p:cNvSpPr txBox="1"/>
              <p:nvPr/>
            </p:nvSpPr>
            <p:spPr>
              <a:xfrm>
                <a:off x="4564658" y="1947789"/>
                <a:ext cx="1255360" cy="493799"/>
              </a:xfrm>
              <a:prstGeom prst="rect">
                <a:avLst/>
              </a:prstGeom>
              <a:noFill/>
              <a:ln>
                <a:noFill/>
              </a:ln>
            </p:spPr>
            <p:txBody>
              <a:bodyPr spcFirstLastPara="1" wrap="square" lIns="74275" tIns="74275" rIns="74275" bIns="7427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l-GR" sz="1600" b="1" i="0" u="none" strike="noStrike" cap="none" dirty="0">
                    <a:latin typeface="Arial"/>
                    <a:ea typeface="Arial"/>
                    <a:cs typeface="Arial"/>
                    <a:sym typeface="Arial"/>
                  </a:rPr>
                  <a:t>7 Στόχοι</a:t>
                </a:r>
              </a:p>
            </p:txBody>
          </p:sp>
          <p:sp>
            <p:nvSpPr>
              <p:cNvPr id="167" name="Google Shape;2873;p50">
                <a:extLst>
                  <a:ext uri="{FF2B5EF4-FFF2-40B4-BE49-F238E27FC236}">
                    <a16:creationId xmlns:a16="http://schemas.microsoft.com/office/drawing/2014/main" id="{34B3A2A7-6047-4DC2-A380-6748E3E1B779}"/>
                  </a:ext>
                </a:extLst>
              </p:cNvPr>
              <p:cNvSpPr txBox="1"/>
              <p:nvPr/>
            </p:nvSpPr>
            <p:spPr>
              <a:xfrm>
                <a:off x="4583553" y="4630337"/>
                <a:ext cx="1519820" cy="518866"/>
              </a:xfrm>
              <a:prstGeom prst="rect">
                <a:avLst/>
              </a:prstGeom>
              <a:noFill/>
              <a:ln>
                <a:noFill/>
              </a:ln>
            </p:spPr>
            <p:txBody>
              <a:bodyPr spcFirstLastPara="1" wrap="square" lIns="74275" tIns="74275" rIns="74275" bIns="7427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l-GR" sz="1600" b="1" i="0" u="none" strike="noStrike" cap="none" dirty="0">
                    <a:latin typeface="Arial"/>
                    <a:ea typeface="Arial"/>
                    <a:cs typeface="Arial"/>
                    <a:sym typeface="Arial"/>
                  </a:rPr>
                  <a:t>5 Στόχοι</a:t>
                </a:r>
              </a:p>
            </p:txBody>
          </p:sp>
          <p:sp>
            <p:nvSpPr>
              <p:cNvPr id="169" name="Google Shape;2873;p50">
                <a:extLst>
                  <a:ext uri="{FF2B5EF4-FFF2-40B4-BE49-F238E27FC236}">
                    <a16:creationId xmlns:a16="http://schemas.microsoft.com/office/drawing/2014/main" id="{7B56F609-2096-4A58-8BC3-6DED7737725D}"/>
                  </a:ext>
                </a:extLst>
              </p:cNvPr>
              <p:cNvSpPr txBox="1"/>
              <p:nvPr/>
            </p:nvSpPr>
            <p:spPr>
              <a:xfrm>
                <a:off x="10831393" y="4663872"/>
                <a:ext cx="1506034" cy="484675"/>
              </a:xfrm>
              <a:prstGeom prst="rect">
                <a:avLst/>
              </a:prstGeom>
              <a:noFill/>
              <a:ln>
                <a:noFill/>
              </a:ln>
            </p:spPr>
            <p:txBody>
              <a:bodyPr spcFirstLastPara="1" wrap="square" lIns="74275" tIns="74275" rIns="74275" bIns="7427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l-GR" sz="1600" b="1" i="0" u="none" strike="noStrike" cap="none" dirty="0">
                    <a:latin typeface="Arial"/>
                    <a:ea typeface="Arial"/>
                    <a:cs typeface="Arial"/>
                    <a:sym typeface="Arial"/>
                  </a:rPr>
                  <a:t>11 Στόχοι</a:t>
                </a:r>
              </a:p>
            </p:txBody>
          </p:sp>
          <p:sp>
            <p:nvSpPr>
              <p:cNvPr id="170" name="Google Shape;2873;p50">
                <a:extLst>
                  <a:ext uri="{FF2B5EF4-FFF2-40B4-BE49-F238E27FC236}">
                    <a16:creationId xmlns:a16="http://schemas.microsoft.com/office/drawing/2014/main" id="{E8FED742-D382-4956-8980-E3796E61371E}"/>
                  </a:ext>
                </a:extLst>
              </p:cNvPr>
              <p:cNvSpPr txBox="1"/>
              <p:nvPr/>
            </p:nvSpPr>
            <p:spPr>
              <a:xfrm>
                <a:off x="10831395" y="1985730"/>
                <a:ext cx="1359592" cy="484675"/>
              </a:xfrm>
              <a:prstGeom prst="rect">
                <a:avLst/>
              </a:prstGeom>
              <a:noFill/>
              <a:ln>
                <a:noFill/>
              </a:ln>
            </p:spPr>
            <p:txBody>
              <a:bodyPr spcFirstLastPara="1" wrap="square" lIns="74275" tIns="74275" rIns="74275" bIns="7427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l-GR" sz="1600" b="1" i="0" u="none" strike="noStrike" cap="none" dirty="0">
                    <a:latin typeface="Arial"/>
                    <a:ea typeface="Arial"/>
                    <a:cs typeface="Arial"/>
                    <a:sym typeface="Arial"/>
                  </a:rPr>
                  <a:t>10 Στόχοι</a:t>
                </a:r>
              </a:p>
            </p:txBody>
          </p:sp>
          <p:cxnSp>
            <p:nvCxnSpPr>
              <p:cNvPr id="171" name="Connector: Elbow 44">
                <a:extLst>
                  <a:ext uri="{FF2B5EF4-FFF2-40B4-BE49-F238E27FC236}">
                    <a16:creationId xmlns:a16="http://schemas.microsoft.com/office/drawing/2014/main" id="{12B0F53C-0B42-43CB-BC74-9CC21CDE2138}"/>
                  </a:ext>
                </a:extLst>
              </p:cNvPr>
              <p:cNvCxnSpPr>
                <a:cxnSpLocks/>
              </p:cNvCxnSpPr>
              <p:nvPr/>
            </p:nvCxnSpPr>
            <p:spPr>
              <a:xfrm rot="5400000" flipH="1" flipV="1">
                <a:off x="5553113" y="4078007"/>
                <a:ext cx="310431" cy="766149"/>
              </a:xfrm>
              <a:prstGeom prst="bentConnector2">
                <a:avLst/>
              </a:prstGeom>
              <a:ln w="19050">
                <a:solidFill>
                  <a:srgbClr val="00338D"/>
                </a:solidFill>
                <a:prstDash val="sysDot"/>
              </a:ln>
            </p:spPr>
            <p:style>
              <a:lnRef idx="1">
                <a:schemeClr val="accent1"/>
              </a:lnRef>
              <a:fillRef idx="0">
                <a:schemeClr val="accent1"/>
              </a:fillRef>
              <a:effectRef idx="0">
                <a:schemeClr val="accent1"/>
              </a:effectRef>
              <a:fontRef idx="minor">
                <a:schemeClr val="tx1"/>
              </a:fontRef>
            </p:style>
          </p:cxnSp>
          <p:cxnSp>
            <p:nvCxnSpPr>
              <p:cNvPr id="172" name="Connector: Elbow 44">
                <a:extLst>
                  <a:ext uri="{FF2B5EF4-FFF2-40B4-BE49-F238E27FC236}">
                    <a16:creationId xmlns:a16="http://schemas.microsoft.com/office/drawing/2014/main" id="{B0011E41-8D80-451E-91BF-3F14977E6FCD}"/>
                  </a:ext>
                </a:extLst>
              </p:cNvPr>
              <p:cNvCxnSpPr>
                <a:cxnSpLocks/>
              </p:cNvCxnSpPr>
              <p:nvPr/>
            </p:nvCxnSpPr>
            <p:spPr>
              <a:xfrm rot="5400000" flipH="1" flipV="1">
                <a:off x="8310772" y="6535166"/>
                <a:ext cx="310431" cy="2190"/>
              </a:xfrm>
              <a:prstGeom prst="bentConnector3">
                <a:avLst>
                  <a:gd name="adj1" fmla="val 50000"/>
                </a:avLst>
              </a:prstGeom>
              <a:ln w="19050">
                <a:solidFill>
                  <a:srgbClr val="00338D"/>
                </a:solidFill>
                <a:prstDash val="sysDot"/>
              </a:ln>
            </p:spPr>
            <p:style>
              <a:lnRef idx="1">
                <a:schemeClr val="accent1"/>
              </a:lnRef>
              <a:fillRef idx="0">
                <a:schemeClr val="accent1"/>
              </a:fillRef>
              <a:effectRef idx="0">
                <a:schemeClr val="accent1"/>
              </a:effectRef>
              <a:fontRef idx="minor">
                <a:schemeClr val="tx1"/>
              </a:fontRef>
            </p:style>
          </p:cxnSp>
          <p:cxnSp>
            <p:nvCxnSpPr>
              <p:cNvPr id="173" name="Connector: Elbow 44">
                <a:extLst>
                  <a:ext uri="{FF2B5EF4-FFF2-40B4-BE49-F238E27FC236}">
                    <a16:creationId xmlns:a16="http://schemas.microsoft.com/office/drawing/2014/main" id="{A2E2BBE6-0D8D-43D3-971D-1344268A97A3}"/>
                  </a:ext>
                </a:extLst>
              </p:cNvPr>
              <p:cNvCxnSpPr>
                <a:cxnSpLocks/>
                <a:stCxn id="169" idx="0"/>
                <a:endCxn id="141" idx="3"/>
              </p:cNvCxnSpPr>
              <p:nvPr/>
            </p:nvCxnSpPr>
            <p:spPr>
              <a:xfrm rot="16200000" flipV="1">
                <a:off x="11062815" y="4142277"/>
                <a:ext cx="74528" cy="968663"/>
              </a:xfrm>
              <a:prstGeom prst="bentConnector2">
                <a:avLst/>
              </a:prstGeom>
              <a:ln w="19050">
                <a:solidFill>
                  <a:srgbClr val="00338D"/>
                </a:solidFill>
                <a:prstDash val="sysDot"/>
              </a:ln>
            </p:spPr>
            <p:style>
              <a:lnRef idx="1">
                <a:schemeClr val="accent1"/>
              </a:lnRef>
              <a:fillRef idx="0">
                <a:schemeClr val="accent1"/>
              </a:fillRef>
              <a:effectRef idx="0">
                <a:schemeClr val="accent1"/>
              </a:effectRef>
              <a:fontRef idx="minor">
                <a:schemeClr val="tx1"/>
              </a:fontRef>
            </p:style>
          </p:cxnSp>
          <p:cxnSp>
            <p:nvCxnSpPr>
              <p:cNvPr id="174" name="Connector: Elbow 44">
                <a:extLst>
                  <a:ext uri="{FF2B5EF4-FFF2-40B4-BE49-F238E27FC236}">
                    <a16:creationId xmlns:a16="http://schemas.microsoft.com/office/drawing/2014/main" id="{EF880308-E893-4193-B657-CBD0F3BB7244}"/>
                  </a:ext>
                </a:extLst>
              </p:cNvPr>
              <p:cNvCxnSpPr>
                <a:cxnSpLocks/>
                <a:stCxn id="170" idx="0"/>
                <a:endCxn id="134" idx="2"/>
              </p:cNvCxnSpPr>
              <p:nvPr/>
            </p:nvCxnSpPr>
            <p:spPr>
              <a:xfrm rot="16200000" flipV="1">
                <a:off x="9877798" y="352335"/>
                <a:ext cx="204552" cy="3062236"/>
              </a:xfrm>
              <a:prstGeom prst="bentConnector2">
                <a:avLst/>
              </a:prstGeom>
              <a:ln w="19050">
                <a:solidFill>
                  <a:srgbClr val="00338D"/>
                </a:solidFill>
                <a:prstDash val="sysDot"/>
              </a:ln>
            </p:spPr>
            <p:style>
              <a:lnRef idx="1">
                <a:schemeClr val="accent1"/>
              </a:lnRef>
              <a:fillRef idx="0">
                <a:schemeClr val="accent1"/>
              </a:fillRef>
              <a:effectRef idx="0">
                <a:schemeClr val="accent1"/>
              </a:effectRef>
              <a:fontRef idx="minor">
                <a:schemeClr val="tx1"/>
              </a:fontRef>
            </p:style>
          </p:cxnSp>
          <p:cxnSp>
            <p:nvCxnSpPr>
              <p:cNvPr id="175" name="Connector: Elbow 44">
                <a:extLst>
                  <a:ext uri="{FF2B5EF4-FFF2-40B4-BE49-F238E27FC236}">
                    <a16:creationId xmlns:a16="http://schemas.microsoft.com/office/drawing/2014/main" id="{E8893D41-83B1-463F-9E67-ABF8609F7352}"/>
                  </a:ext>
                </a:extLst>
              </p:cNvPr>
              <p:cNvCxnSpPr>
                <a:cxnSpLocks/>
              </p:cNvCxnSpPr>
              <p:nvPr/>
            </p:nvCxnSpPr>
            <p:spPr>
              <a:xfrm rot="5400000" flipH="1" flipV="1">
                <a:off x="6647239" y="325346"/>
                <a:ext cx="204551" cy="3114350"/>
              </a:xfrm>
              <a:prstGeom prst="bentConnector2">
                <a:avLst/>
              </a:prstGeom>
              <a:ln w="19050">
                <a:solidFill>
                  <a:srgbClr val="00338D"/>
                </a:solidFill>
                <a:prstDash val="sysDot"/>
              </a:ln>
            </p:spPr>
            <p:style>
              <a:lnRef idx="1">
                <a:schemeClr val="accent1"/>
              </a:lnRef>
              <a:fillRef idx="0">
                <a:schemeClr val="accent1"/>
              </a:fillRef>
              <a:effectRef idx="0">
                <a:schemeClr val="accent1"/>
              </a:effectRef>
              <a:fontRef idx="minor">
                <a:schemeClr val="tx1"/>
              </a:fontRef>
            </p:style>
          </p:cxnSp>
        </p:grpSp>
      </p:grpSp>
      <p:sp>
        <p:nvSpPr>
          <p:cNvPr id="176" name="Isosceles Triangle 175">
            <a:extLst>
              <a:ext uri="{FF2B5EF4-FFF2-40B4-BE49-F238E27FC236}">
                <a16:creationId xmlns:a16="http://schemas.microsoft.com/office/drawing/2014/main" id="{D34C355D-B805-4C9A-899A-C12ECDDDDE3F}"/>
              </a:ext>
            </a:extLst>
          </p:cNvPr>
          <p:cNvSpPr/>
          <p:nvPr/>
        </p:nvSpPr>
        <p:spPr>
          <a:xfrm rot="5400000">
            <a:off x="3639504" y="3823503"/>
            <a:ext cx="3007006" cy="404663"/>
          </a:xfrm>
          <a:prstGeom prst="triangle">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563564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building, stone, government building, colonnade&#10;&#10;Description automatically generated">
            <a:extLst>
              <a:ext uri="{FF2B5EF4-FFF2-40B4-BE49-F238E27FC236}">
                <a16:creationId xmlns:a16="http://schemas.microsoft.com/office/drawing/2014/main" id="{19538348-D829-4641-9124-1886074832D3}"/>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0" y="-380"/>
            <a:ext cx="12192676" cy="6858380"/>
          </a:xfrm>
          <a:prstGeom prst="rect">
            <a:avLst/>
          </a:prstGeom>
        </p:spPr>
      </p:pic>
      <p:graphicFrame>
        <p:nvGraphicFramePr>
          <p:cNvPr id="7" name="Object 6" hidden="1">
            <a:extLst>
              <a:ext uri="{FF2B5EF4-FFF2-40B4-BE49-F238E27FC236}">
                <a16:creationId xmlns:a16="http://schemas.microsoft.com/office/drawing/2014/main" id="{8A2B45E6-C490-4119-B0D0-475C31EE97BB}"/>
              </a:ext>
            </a:extLst>
          </p:cNvPr>
          <p:cNvGraphicFramePr>
            <a:graphicFrameLocks noChangeAspect="1"/>
          </p:cNvGraphicFramePr>
          <p:nvPr>
            <p:custDataLst>
              <p:tags r:id="rId2"/>
            </p:custDataLst>
          </p:nvPr>
        </p:nvGraphicFramePr>
        <p:xfrm>
          <a:off x="1593" y="1591"/>
          <a:ext cx="1588" cy="1588"/>
        </p:xfrm>
        <a:graphic>
          <a:graphicData uri="http://schemas.openxmlformats.org/presentationml/2006/ole">
            <mc:AlternateContent xmlns:mc="http://schemas.openxmlformats.org/markup-compatibility/2006">
              <mc:Choice xmlns:v="urn:schemas-microsoft-com:vml" Requires="v">
                <p:oleObj spid="_x0000_s75910"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8A2B45E6-C490-4119-B0D0-475C31EE97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C38DB20-36FD-4622-BED2-2D5B9F9A9840}"/>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33" eaLnBrk="1" fontAlgn="auto" hangingPunct="1">
              <a:spcBef>
                <a:spcPts val="0"/>
              </a:spcBef>
              <a:spcAft>
                <a:spcPts val="0"/>
              </a:spcAft>
              <a:defRPr/>
            </a:pPr>
            <a:endParaRPr lang="en-GB" sz="11000" err="1">
              <a:solidFill>
                <a:prstClr val="white"/>
              </a:solidFill>
              <a:latin typeface="KPMG Extralight" panose="020B0303030202040204" pitchFamily="34" charset="0"/>
              <a:sym typeface="KPMG Extralight" panose="020B0303030202040204" pitchFamily="34" charset="0"/>
            </a:endParaRPr>
          </a:p>
        </p:txBody>
      </p:sp>
      <p:sp>
        <p:nvSpPr>
          <p:cNvPr id="28" name="Title 1">
            <a:extLst>
              <a:ext uri="{FF2B5EF4-FFF2-40B4-BE49-F238E27FC236}">
                <a16:creationId xmlns:a16="http://schemas.microsoft.com/office/drawing/2014/main" id="{23662372-4A27-4372-9561-FAF19776ECAE}"/>
              </a:ext>
            </a:extLst>
          </p:cNvPr>
          <p:cNvSpPr txBox="1">
            <a:spLocks/>
          </p:cNvSpPr>
          <p:nvPr/>
        </p:nvSpPr>
        <p:spPr>
          <a:xfrm>
            <a:off x="3242930" y="1782697"/>
            <a:ext cx="8432107" cy="1844737"/>
          </a:xfrm>
          <a:prstGeom prst="rect">
            <a:avLst/>
          </a:prstGeom>
          <a:noFill/>
        </p:spPr>
        <p:txBody>
          <a:bodyPr vert="horz" lIns="0" tIns="0" rIns="0" bIns="0" rtlCol="0" anchor="t" anchorCtr="0">
            <a:noAutofit/>
          </a:bodyPr>
          <a:lstStyle>
            <a:lvl1pPr algn="l" defTabSz="914400" rtl="0" eaLnBrk="1" latinLnBrk="0" hangingPunct="1">
              <a:lnSpc>
                <a:spcPct val="70000"/>
              </a:lnSpc>
              <a:spcBef>
                <a:spcPct val="0"/>
              </a:spcBef>
              <a:buNone/>
              <a:defRPr sz="11000" kern="1200" baseline="0">
                <a:solidFill>
                  <a:srgbClr val="00338D"/>
                </a:solidFill>
                <a:latin typeface="+mj-lt"/>
                <a:ea typeface="+mj-ea"/>
                <a:cs typeface="+mj-cs"/>
              </a:defRPr>
            </a:lvl1pPr>
          </a:lstStyle>
          <a:p>
            <a:pPr>
              <a:lnSpc>
                <a:spcPct val="100000"/>
              </a:lnSpc>
            </a:pPr>
            <a: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Παρουσίαση Στόχων </a:t>
            </a:r>
            <a:r>
              <a:rPr lang="el-GR" sz="18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συνοπτικά)</a:t>
            </a:r>
            <a: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b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br>
            <a:endParaRPr lang="en-US"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11" name="Text Placeholder 2">
            <a:extLst>
              <a:ext uri="{FF2B5EF4-FFF2-40B4-BE49-F238E27FC236}">
                <a16:creationId xmlns:a16="http://schemas.microsoft.com/office/drawing/2014/main" id="{93DDD6AE-3D8F-40AD-BDDF-8344A497E04A}"/>
              </a:ext>
            </a:extLst>
          </p:cNvPr>
          <p:cNvSpPr txBox="1">
            <a:spLocks/>
          </p:cNvSpPr>
          <p:nvPr/>
        </p:nvSpPr>
        <p:spPr>
          <a:xfrm>
            <a:off x="442912" y="0"/>
            <a:ext cx="4344987" cy="6858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l-GR" sz="34800" dirty="0">
                <a:solidFill>
                  <a:srgbClr val="013476"/>
                </a:solidFill>
                <a:latin typeface="Georgia" panose="02040502050405020303" pitchFamily="18" charset="0"/>
              </a:rPr>
              <a:t>4</a:t>
            </a:r>
            <a:endParaRPr lang="en-GB" sz="34800" dirty="0">
              <a:solidFill>
                <a:srgbClr val="013476"/>
              </a:solidFill>
              <a:latin typeface="Georgia" panose="02040502050405020303" pitchFamily="18" charset="0"/>
            </a:endParaRPr>
          </a:p>
        </p:txBody>
      </p:sp>
    </p:spTree>
    <p:extLst>
      <p:ext uri="{BB962C8B-B14F-4D97-AF65-F5344CB8AC3E}">
        <p14:creationId xmlns:p14="http://schemas.microsoft.com/office/powerpoint/2010/main" val="4155208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06897E8-5C29-452D-BF2F-E65BE75E01CE}"/>
              </a:ext>
            </a:extLst>
          </p:cNvPr>
          <p:cNvSpPr txBox="1">
            <a:spLocks/>
          </p:cNvSpPr>
          <p:nvPr/>
        </p:nvSpPr>
        <p:spPr>
          <a:xfrm>
            <a:off x="1431370" y="277691"/>
            <a:ext cx="10086234" cy="82476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defTabSz="914354"/>
            <a:endParaRPr lang="en-GB" sz="2400" dirty="0"/>
          </a:p>
        </p:txBody>
      </p:sp>
      <p:pic>
        <p:nvPicPr>
          <p:cNvPr id="11" name="Picture 10">
            <a:extLst>
              <a:ext uri="{FF2B5EF4-FFF2-40B4-BE49-F238E27FC236}">
                <a16:creationId xmlns:a16="http://schemas.microsoft.com/office/drawing/2014/main" id="{75F7BD39-FBD3-46CC-895C-027C4C2DA836}"/>
              </a:ext>
            </a:extLst>
          </p:cNvPr>
          <p:cNvPicPr>
            <a:picLocks noChangeAspect="1"/>
          </p:cNvPicPr>
          <p:nvPr/>
        </p:nvPicPr>
        <p:blipFill>
          <a:blip r:embed="rId3"/>
          <a:stretch>
            <a:fillRect/>
          </a:stretch>
        </p:blipFill>
        <p:spPr>
          <a:xfrm>
            <a:off x="3671183" y="1830352"/>
            <a:ext cx="4535788" cy="3238412"/>
          </a:xfrm>
          <a:prstGeom prst="flowChartConnector">
            <a:avLst/>
          </a:prstGeom>
          <a:ln w="28575">
            <a:solidFill>
              <a:srgbClr val="4A66AC"/>
            </a:solidFill>
            <a:prstDash val="solid"/>
          </a:ln>
        </p:spPr>
      </p:pic>
      <p:grpSp>
        <p:nvGrpSpPr>
          <p:cNvPr id="20" name="Group 19">
            <a:extLst>
              <a:ext uri="{FF2B5EF4-FFF2-40B4-BE49-F238E27FC236}">
                <a16:creationId xmlns:a16="http://schemas.microsoft.com/office/drawing/2014/main" id="{C8AA1964-3B59-4F74-A823-E21B37ECEABF}"/>
              </a:ext>
            </a:extLst>
          </p:cNvPr>
          <p:cNvGrpSpPr/>
          <p:nvPr/>
        </p:nvGrpSpPr>
        <p:grpSpPr>
          <a:xfrm>
            <a:off x="6017528" y="2052365"/>
            <a:ext cx="5933184" cy="1367389"/>
            <a:chOff x="6174451" y="2031807"/>
            <a:chExt cx="5933184" cy="1367389"/>
          </a:xfrm>
        </p:grpSpPr>
        <p:cxnSp>
          <p:nvCxnSpPr>
            <p:cNvPr id="54" name="Connector: Elbow 58">
              <a:extLst>
                <a:ext uri="{FF2B5EF4-FFF2-40B4-BE49-F238E27FC236}">
                  <a16:creationId xmlns:a16="http://schemas.microsoft.com/office/drawing/2014/main" id="{7E34C02B-FA2F-4D5E-90E2-71F94290D1B4}"/>
                </a:ext>
              </a:extLst>
            </p:cNvPr>
            <p:cNvCxnSpPr>
              <a:cxnSpLocks/>
              <a:endCxn id="55" idx="0"/>
            </p:cNvCxnSpPr>
            <p:nvPr/>
          </p:nvCxnSpPr>
          <p:spPr>
            <a:xfrm rot="10800000" flipV="1">
              <a:off x="6252923" y="2495884"/>
              <a:ext cx="2842604" cy="746368"/>
            </a:xfrm>
            <a:prstGeom prst="bentConnector2">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78E39957-0667-4603-B573-F69F383FE54E}"/>
                </a:ext>
              </a:extLst>
            </p:cNvPr>
            <p:cNvSpPr/>
            <p:nvPr/>
          </p:nvSpPr>
          <p:spPr>
            <a:xfrm flipH="1">
              <a:off x="6174451" y="3242252"/>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56" name="Oval 55">
              <a:extLst>
                <a:ext uri="{FF2B5EF4-FFF2-40B4-BE49-F238E27FC236}">
                  <a16:creationId xmlns:a16="http://schemas.microsoft.com/office/drawing/2014/main" id="{7598A0CE-F0BF-4109-A628-3B6E6218E4F3}"/>
                </a:ext>
              </a:extLst>
            </p:cNvPr>
            <p:cNvSpPr/>
            <p:nvPr/>
          </p:nvSpPr>
          <p:spPr>
            <a:xfrm flipH="1">
              <a:off x="9017054" y="2417413"/>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59" name="TextBox 58">
              <a:extLst>
                <a:ext uri="{FF2B5EF4-FFF2-40B4-BE49-F238E27FC236}">
                  <a16:creationId xmlns:a16="http://schemas.microsoft.com/office/drawing/2014/main" id="{E26F95F5-3913-43D6-9D87-4D78C40EC842}"/>
                </a:ext>
              </a:extLst>
            </p:cNvPr>
            <p:cNvSpPr txBox="1"/>
            <p:nvPr/>
          </p:nvSpPr>
          <p:spPr>
            <a:xfrm>
              <a:off x="9278904" y="2080386"/>
              <a:ext cx="2828731" cy="830997"/>
            </a:xfrm>
            <a:prstGeom prst="rect">
              <a:avLst/>
            </a:prstGeom>
            <a:noFill/>
            <a:ln w="28575">
              <a:noFill/>
            </a:ln>
          </p:spPr>
          <p:txBody>
            <a:bodyPr wrap="square" rtlCol="0">
              <a:spAutoFit/>
            </a:bodyPr>
            <a:lstStyle/>
            <a:p>
              <a:r>
                <a:rPr lang="el-GR" sz="1600" b="1" dirty="0"/>
                <a:t>1.1 Διευθέτηση ΑΟΖ και υφαλοκρηπίδας</a:t>
              </a:r>
            </a:p>
            <a:p>
              <a:r>
                <a:rPr lang="el-GR" sz="1600" b="1" dirty="0"/>
                <a:t>1.2 Αντιμετώπιση προκλήσεων</a:t>
              </a:r>
            </a:p>
          </p:txBody>
        </p:sp>
        <p:cxnSp>
          <p:nvCxnSpPr>
            <p:cNvPr id="18" name="Straight Connector 17">
              <a:extLst>
                <a:ext uri="{FF2B5EF4-FFF2-40B4-BE49-F238E27FC236}">
                  <a16:creationId xmlns:a16="http://schemas.microsoft.com/office/drawing/2014/main" id="{13A780F1-C1A6-4183-BFD9-616B0796C731}"/>
                </a:ext>
              </a:extLst>
            </p:cNvPr>
            <p:cNvCxnSpPr/>
            <p:nvPr/>
          </p:nvCxnSpPr>
          <p:spPr>
            <a:xfrm>
              <a:off x="9281728" y="2031807"/>
              <a:ext cx="0" cy="92815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11504E17-48E0-4F92-BAD5-DB17ADA49479}"/>
              </a:ext>
            </a:extLst>
          </p:cNvPr>
          <p:cNvGrpSpPr/>
          <p:nvPr/>
        </p:nvGrpSpPr>
        <p:grpSpPr>
          <a:xfrm>
            <a:off x="686208" y="1090984"/>
            <a:ext cx="5062155" cy="1667408"/>
            <a:chOff x="843131" y="1070426"/>
            <a:chExt cx="5062155" cy="1667408"/>
          </a:xfrm>
        </p:grpSpPr>
        <p:cxnSp>
          <p:nvCxnSpPr>
            <p:cNvPr id="36" name="Connector: Elbow 44">
              <a:extLst>
                <a:ext uri="{FF2B5EF4-FFF2-40B4-BE49-F238E27FC236}">
                  <a16:creationId xmlns:a16="http://schemas.microsoft.com/office/drawing/2014/main" id="{9DFAACE8-2C0F-4407-A223-46CFC00A4593}"/>
                </a:ext>
              </a:extLst>
            </p:cNvPr>
            <p:cNvCxnSpPr>
              <a:cxnSpLocks/>
              <a:stCxn id="53" idx="3"/>
            </p:cNvCxnSpPr>
            <p:nvPr/>
          </p:nvCxnSpPr>
          <p:spPr>
            <a:xfrm>
              <a:off x="3987808" y="1529047"/>
              <a:ext cx="1836000" cy="1080000"/>
            </a:xfrm>
            <a:prstGeom prst="bentConnector2">
              <a:avLst/>
            </a:prstGeom>
            <a:ln w="19050">
              <a:solidFill>
                <a:srgbClr val="00338D"/>
              </a:solidFill>
              <a:prstDash val="sysDot"/>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ADFA6C-F4A4-4D88-ACF5-826C5CD4F15F}"/>
                </a:ext>
              </a:extLst>
            </p:cNvPr>
            <p:cNvSpPr txBox="1"/>
            <p:nvPr/>
          </p:nvSpPr>
          <p:spPr>
            <a:xfrm>
              <a:off x="843131" y="1116666"/>
              <a:ext cx="3144678" cy="824761"/>
            </a:xfrm>
            <a:prstGeom prst="rect">
              <a:avLst/>
            </a:prstGeom>
            <a:noFill/>
            <a:ln w="28575">
              <a:noFill/>
              <a:prstDash val="solid"/>
            </a:ln>
          </p:spPr>
          <p:txBody>
            <a:bodyPr wrap="square" rtlCol="0">
              <a:spAutoFit/>
            </a:bodyPr>
            <a:lstStyle/>
            <a:p>
              <a:pPr algn="r"/>
              <a:r>
                <a:rPr lang="en-US" sz="1600" b="1" dirty="0"/>
                <a:t>1.</a:t>
              </a:r>
              <a:r>
                <a:rPr lang="el-GR" sz="1600" b="1" dirty="0"/>
                <a:t>5</a:t>
              </a:r>
              <a:r>
                <a:rPr lang="en-US" sz="1600" b="1" dirty="0"/>
                <a:t> </a:t>
              </a:r>
              <a:r>
                <a:rPr lang="el-GR" sz="1600" b="1" dirty="0"/>
                <a:t>Ενδυνάμωση συνεργασίας με Δυτικά Βαλκάνια και Παρευξείνιες χώρες</a:t>
              </a:r>
            </a:p>
          </p:txBody>
        </p:sp>
        <p:sp>
          <p:nvSpPr>
            <p:cNvPr id="57" name="Oval 56">
              <a:extLst>
                <a:ext uri="{FF2B5EF4-FFF2-40B4-BE49-F238E27FC236}">
                  <a16:creationId xmlns:a16="http://schemas.microsoft.com/office/drawing/2014/main" id="{B736CA0C-DC49-497B-9D38-E149072AAD44}"/>
                </a:ext>
              </a:extLst>
            </p:cNvPr>
            <p:cNvSpPr/>
            <p:nvPr/>
          </p:nvSpPr>
          <p:spPr>
            <a:xfrm flipH="1">
              <a:off x="5748342" y="2580890"/>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58" name="Oval 57">
              <a:extLst>
                <a:ext uri="{FF2B5EF4-FFF2-40B4-BE49-F238E27FC236}">
                  <a16:creationId xmlns:a16="http://schemas.microsoft.com/office/drawing/2014/main" id="{1C2644E8-5D57-44F1-BB20-B30E73964A91}"/>
                </a:ext>
              </a:extLst>
            </p:cNvPr>
            <p:cNvSpPr/>
            <p:nvPr/>
          </p:nvSpPr>
          <p:spPr>
            <a:xfrm flipH="1">
              <a:off x="3987807" y="1439553"/>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60" name="Straight Connector 59">
              <a:extLst>
                <a:ext uri="{FF2B5EF4-FFF2-40B4-BE49-F238E27FC236}">
                  <a16:creationId xmlns:a16="http://schemas.microsoft.com/office/drawing/2014/main" id="{8E26AD9D-A438-4E37-B243-3975097996B5}"/>
                </a:ext>
              </a:extLst>
            </p:cNvPr>
            <p:cNvCxnSpPr/>
            <p:nvPr/>
          </p:nvCxnSpPr>
          <p:spPr>
            <a:xfrm>
              <a:off x="3937568" y="1070426"/>
              <a:ext cx="0" cy="92815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3FEBC611-02B9-4036-9115-6D1D211DCBF3}"/>
              </a:ext>
            </a:extLst>
          </p:cNvPr>
          <p:cNvGrpSpPr/>
          <p:nvPr/>
        </p:nvGrpSpPr>
        <p:grpSpPr>
          <a:xfrm>
            <a:off x="1885427" y="3549163"/>
            <a:ext cx="3468382" cy="1167901"/>
            <a:chOff x="2042350" y="3528605"/>
            <a:chExt cx="3468382" cy="1167901"/>
          </a:xfrm>
        </p:grpSpPr>
        <p:sp>
          <p:nvSpPr>
            <p:cNvPr id="62" name="Oval 61">
              <a:extLst>
                <a:ext uri="{FF2B5EF4-FFF2-40B4-BE49-F238E27FC236}">
                  <a16:creationId xmlns:a16="http://schemas.microsoft.com/office/drawing/2014/main" id="{49D3BDED-763C-404D-B4F4-462851F69C35}"/>
                </a:ext>
              </a:extLst>
            </p:cNvPr>
            <p:cNvSpPr/>
            <p:nvPr/>
          </p:nvSpPr>
          <p:spPr>
            <a:xfrm flipH="1">
              <a:off x="3404683" y="3971703"/>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63" name="Oval 62">
              <a:extLst>
                <a:ext uri="{FF2B5EF4-FFF2-40B4-BE49-F238E27FC236}">
                  <a16:creationId xmlns:a16="http://schemas.microsoft.com/office/drawing/2014/main" id="{2F68D2BD-9C74-4B72-AF5F-2E7C2D4D24B5}"/>
                </a:ext>
              </a:extLst>
            </p:cNvPr>
            <p:cNvSpPr/>
            <p:nvPr/>
          </p:nvSpPr>
          <p:spPr>
            <a:xfrm flipH="1">
              <a:off x="5353788" y="3528605"/>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61" name="Connector: Elbow 49">
              <a:extLst>
                <a:ext uri="{FF2B5EF4-FFF2-40B4-BE49-F238E27FC236}">
                  <a16:creationId xmlns:a16="http://schemas.microsoft.com/office/drawing/2014/main" id="{99AC2650-9556-42C0-A8E6-45909252D3BB}"/>
                </a:ext>
              </a:extLst>
            </p:cNvPr>
            <p:cNvCxnSpPr>
              <a:cxnSpLocks/>
            </p:cNvCxnSpPr>
            <p:nvPr/>
          </p:nvCxnSpPr>
          <p:spPr>
            <a:xfrm flipV="1">
              <a:off x="3452091" y="3607077"/>
              <a:ext cx="1980169" cy="443098"/>
            </a:xfrm>
            <a:prstGeom prst="bentConnector2">
              <a:avLst/>
            </a:prstGeom>
            <a:ln w="19050">
              <a:solidFill>
                <a:srgbClr val="00338D"/>
              </a:solidFill>
              <a:prstDash val="sysDot"/>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C119230-7391-4E22-BE3B-5AC192635591}"/>
                </a:ext>
              </a:extLst>
            </p:cNvPr>
            <p:cNvSpPr txBox="1"/>
            <p:nvPr/>
          </p:nvSpPr>
          <p:spPr>
            <a:xfrm>
              <a:off x="2042350" y="3865509"/>
              <a:ext cx="1400175" cy="830997"/>
            </a:xfrm>
            <a:prstGeom prst="rect">
              <a:avLst/>
            </a:prstGeom>
            <a:noFill/>
            <a:ln w="28575">
              <a:noFill/>
            </a:ln>
          </p:spPr>
          <p:txBody>
            <a:bodyPr wrap="square" rtlCol="0">
              <a:spAutoFit/>
            </a:bodyPr>
            <a:lstStyle/>
            <a:p>
              <a:r>
                <a:rPr lang="en-US" sz="1600" b="1" dirty="0"/>
                <a:t>1.3 UNCLOS</a:t>
              </a:r>
              <a:endParaRPr lang="el-GR" sz="1600" b="1" dirty="0"/>
            </a:p>
            <a:p>
              <a:r>
                <a:rPr lang="el-GR" sz="1600" b="1" dirty="0"/>
                <a:t>Θαλάσσιες </a:t>
              </a:r>
            </a:p>
            <a:p>
              <a:r>
                <a:rPr lang="el-GR" sz="1600" b="1" dirty="0"/>
                <a:t>ζώνες</a:t>
              </a:r>
            </a:p>
          </p:txBody>
        </p:sp>
        <p:cxnSp>
          <p:nvCxnSpPr>
            <p:cNvPr id="65" name="Straight Connector 64">
              <a:extLst>
                <a:ext uri="{FF2B5EF4-FFF2-40B4-BE49-F238E27FC236}">
                  <a16:creationId xmlns:a16="http://schemas.microsoft.com/office/drawing/2014/main" id="{D4CE27FD-A72F-4D50-A1FB-5B0643022ED2}"/>
                </a:ext>
              </a:extLst>
            </p:cNvPr>
            <p:cNvCxnSpPr/>
            <p:nvPr/>
          </p:nvCxnSpPr>
          <p:spPr>
            <a:xfrm>
              <a:off x="3317808" y="3629889"/>
              <a:ext cx="0" cy="928153"/>
            </a:xfrm>
            <a:prstGeom prst="line">
              <a:avLst/>
            </a:prstGeom>
          </p:spPr>
          <p:style>
            <a:lnRef idx="1">
              <a:schemeClr val="accent1"/>
            </a:lnRef>
            <a:fillRef idx="0">
              <a:schemeClr val="accent1"/>
            </a:fillRef>
            <a:effectRef idx="0">
              <a:schemeClr val="accent1"/>
            </a:effectRef>
            <a:fontRef idx="minor">
              <a:schemeClr val="tx1"/>
            </a:fontRef>
          </p:style>
        </p:cxnSp>
      </p:grpSp>
      <p:sp>
        <p:nvSpPr>
          <p:cNvPr id="71" name="TextBox 70">
            <a:extLst>
              <a:ext uri="{FF2B5EF4-FFF2-40B4-BE49-F238E27FC236}">
                <a16:creationId xmlns:a16="http://schemas.microsoft.com/office/drawing/2014/main" id="{A8C5597E-FC8B-43BD-AD38-C5DAD6A99E41}"/>
              </a:ext>
            </a:extLst>
          </p:cNvPr>
          <p:cNvSpPr txBox="1"/>
          <p:nvPr/>
        </p:nvSpPr>
        <p:spPr>
          <a:xfrm>
            <a:off x="8944983" y="4081563"/>
            <a:ext cx="3005724" cy="830997"/>
          </a:xfrm>
          <a:prstGeom prst="rect">
            <a:avLst/>
          </a:prstGeom>
          <a:noFill/>
          <a:ln w="28575">
            <a:noFill/>
          </a:ln>
        </p:spPr>
        <p:txBody>
          <a:bodyPr wrap="square" rtlCol="0">
            <a:spAutoFit/>
          </a:bodyPr>
          <a:lstStyle/>
          <a:p>
            <a:r>
              <a:rPr lang="en-US" sz="1600" b="1" dirty="0"/>
              <a:t>1.</a:t>
            </a:r>
            <a:r>
              <a:rPr lang="el-GR" sz="1600" b="1" dirty="0"/>
              <a:t>6 Θωράκιση της χώρας από εξωτερικές απειλές στην Αν. Μεσόγειο</a:t>
            </a:r>
          </a:p>
        </p:txBody>
      </p:sp>
      <p:grpSp>
        <p:nvGrpSpPr>
          <p:cNvPr id="37" name="Group 36">
            <a:extLst>
              <a:ext uri="{FF2B5EF4-FFF2-40B4-BE49-F238E27FC236}">
                <a16:creationId xmlns:a16="http://schemas.microsoft.com/office/drawing/2014/main" id="{8BF9D418-C243-438B-BDF3-36B89DA0EAAF}"/>
              </a:ext>
            </a:extLst>
          </p:cNvPr>
          <p:cNvGrpSpPr/>
          <p:nvPr/>
        </p:nvGrpSpPr>
        <p:grpSpPr>
          <a:xfrm>
            <a:off x="7090779" y="3449557"/>
            <a:ext cx="4044955" cy="1404000"/>
            <a:chOff x="7247702" y="3428999"/>
            <a:chExt cx="4044955" cy="1404000"/>
          </a:xfrm>
        </p:grpSpPr>
        <p:sp>
          <p:nvSpPr>
            <p:cNvPr id="70" name="TextBox 69">
              <a:extLst>
                <a:ext uri="{FF2B5EF4-FFF2-40B4-BE49-F238E27FC236}">
                  <a16:creationId xmlns:a16="http://schemas.microsoft.com/office/drawing/2014/main" id="{CD96F498-CBF6-4114-8799-D9F2C7003C4F}"/>
                </a:ext>
              </a:extLst>
            </p:cNvPr>
            <p:cNvSpPr txBox="1"/>
            <p:nvPr/>
          </p:nvSpPr>
          <p:spPr>
            <a:xfrm>
              <a:off x="9101906" y="3465400"/>
              <a:ext cx="2190751" cy="584775"/>
            </a:xfrm>
            <a:prstGeom prst="rect">
              <a:avLst/>
            </a:prstGeom>
            <a:noFill/>
            <a:ln w="28575">
              <a:noFill/>
            </a:ln>
          </p:spPr>
          <p:txBody>
            <a:bodyPr wrap="square" rtlCol="0">
              <a:spAutoFit/>
            </a:bodyPr>
            <a:lstStyle/>
            <a:p>
              <a:r>
                <a:rPr lang="en-US" sz="1600" b="1" dirty="0"/>
                <a:t>1.4 </a:t>
              </a:r>
              <a:r>
                <a:rPr lang="el-GR" sz="1600" b="1" dirty="0"/>
                <a:t>Προώθηση επίλυσης Κυπριακού</a:t>
              </a:r>
            </a:p>
          </p:txBody>
        </p:sp>
        <p:grpSp>
          <p:nvGrpSpPr>
            <p:cNvPr id="35" name="Group 34">
              <a:extLst>
                <a:ext uri="{FF2B5EF4-FFF2-40B4-BE49-F238E27FC236}">
                  <a16:creationId xmlns:a16="http://schemas.microsoft.com/office/drawing/2014/main" id="{DF3283DF-50EE-45DA-A73F-E61A5218071D}"/>
                </a:ext>
              </a:extLst>
            </p:cNvPr>
            <p:cNvGrpSpPr/>
            <p:nvPr/>
          </p:nvGrpSpPr>
          <p:grpSpPr>
            <a:xfrm>
              <a:off x="7247702" y="3428999"/>
              <a:ext cx="1769352" cy="1404000"/>
              <a:chOff x="7247702" y="3428999"/>
              <a:chExt cx="1769352" cy="1404000"/>
            </a:xfrm>
          </p:grpSpPr>
          <p:cxnSp>
            <p:nvCxnSpPr>
              <p:cNvPr id="66" name="Connector: Elbow 61">
                <a:extLst>
                  <a:ext uri="{FF2B5EF4-FFF2-40B4-BE49-F238E27FC236}">
                    <a16:creationId xmlns:a16="http://schemas.microsoft.com/office/drawing/2014/main" id="{D68ED655-813D-4CEA-917B-B5D69622ED54}"/>
                  </a:ext>
                </a:extLst>
              </p:cNvPr>
              <p:cNvCxnSpPr>
                <a:cxnSpLocks/>
              </p:cNvCxnSpPr>
              <p:nvPr/>
            </p:nvCxnSpPr>
            <p:spPr>
              <a:xfrm flipH="1">
                <a:off x="7320687" y="3889566"/>
                <a:ext cx="1547995" cy="0"/>
              </a:xfrm>
              <a:prstGeom prst="straightConnector1">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876EB9DA-FABE-4995-9701-5C00C89986F3}"/>
                  </a:ext>
                </a:extLst>
              </p:cNvPr>
              <p:cNvSpPr/>
              <p:nvPr/>
            </p:nvSpPr>
            <p:spPr>
              <a:xfrm flipH="1">
                <a:off x="7247702" y="3811094"/>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69" name="Straight Connector 68">
                <a:extLst>
                  <a:ext uri="{FF2B5EF4-FFF2-40B4-BE49-F238E27FC236}">
                    <a16:creationId xmlns:a16="http://schemas.microsoft.com/office/drawing/2014/main" id="{525F917A-05BD-45F6-A1FA-B7E897C2CC91}"/>
                  </a:ext>
                </a:extLst>
              </p:cNvPr>
              <p:cNvCxnSpPr/>
              <p:nvPr/>
            </p:nvCxnSpPr>
            <p:spPr>
              <a:xfrm>
                <a:off x="9017054" y="3428999"/>
                <a:ext cx="0" cy="1404000"/>
              </a:xfrm>
              <a:prstGeom prst="line">
                <a:avLst/>
              </a:prstGeom>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81399A63-DD2B-47DC-9A21-5DA6FC06F6E1}"/>
                  </a:ext>
                </a:extLst>
              </p:cNvPr>
              <p:cNvSpPr/>
              <p:nvPr/>
            </p:nvSpPr>
            <p:spPr>
              <a:xfrm flipH="1">
                <a:off x="8824065" y="3811094"/>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grpSp>
      </p:grpSp>
      <p:grpSp>
        <p:nvGrpSpPr>
          <p:cNvPr id="32" name="Group 31">
            <a:extLst>
              <a:ext uri="{FF2B5EF4-FFF2-40B4-BE49-F238E27FC236}">
                <a16:creationId xmlns:a16="http://schemas.microsoft.com/office/drawing/2014/main" id="{8B85C68C-4574-4CFA-92E1-774D3420CC53}"/>
              </a:ext>
            </a:extLst>
          </p:cNvPr>
          <p:cNvGrpSpPr/>
          <p:nvPr/>
        </p:nvGrpSpPr>
        <p:grpSpPr>
          <a:xfrm>
            <a:off x="3909356" y="4483292"/>
            <a:ext cx="5174166" cy="2088470"/>
            <a:chOff x="4066279" y="4462734"/>
            <a:chExt cx="5174166" cy="2088470"/>
          </a:xfrm>
        </p:grpSpPr>
        <p:cxnSp>
          <p:nvCxnSpPr>
            <p:cNvPr id="73" name="Connector: Elbow 64">
              <a:extLst>
                <a:ext uri="{FF2B5EF4-FFF2-40B4-BE49-F238E27FC236}">
                  <a16:creationId xmlns:a16="http://schemas.microsoft.com/office/drawing/2014/main" id="{1733DB05-05A2-4188-830B-177E2BF2589A}"/>
                </a:ext>
              </a:extLst>
            </p:cNvPr>
            <p:cNvCxnSpPr>
              <a:cxnSpLocks/>
              <a:stCxn id="74" idx="0"/>
            </p:cNvCxnSpPr>
            <p:nvPr/>
          </p:nvCxnSpPr>
          <p:spPr>
            <a:xfrm rot="16200000" flipV="1">
              <a:off x="5627030" y="4940096"/>
              <a:ext cx="1380568" cy="672097"/>
            </a:xfrm>
            <a:prstGeom prst="bentConnector3">
              <a:avLst>
                <a:gd name="adj1" fmla="val 50000"/>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367E7F6E-EAEB-4F30-AA61-34C97E94F7E0}"/>
                </a:ext>
              </a:extLst>
            </p:cNvPr>
            <p:cNvSpPr txBox="1"/>
            <p:nvPr/>
          </p:nvSpPr>
          <p:spPr>
            <a:xfrm>
              <a:off x="4066279" y="5966429"/>
              <a:ext cx="5174166" cy="584775"/>
            </a:xfrm>
            <a:prstGeom prst="rect">
              <a:avLst/>
            </a:prstGeom>
            <a:noFill/>
            <a:ln w="28575">
              <a:noFill/>
            </a:ln>
          </p:spPr>
          <p:txBody>
            <a:bodyPr wrap="square" rtlCol="0">
              <a:spAutoFit/>
            </a:bodyPr>
            <a:lstStyle/>
            <a:p>
              <a:r>
                <a:rPr lang="en-US" sz="1600" b="1" dirty="0"/>
                <a:t>1.</a:t>
              </a:r>
              <a:r>
                <a:rPr lang="el-GR" sz="1600" b="1" dirty="0"/>
                <a:t>7</a:t>
              </a:r>
              <a:r>
                <a:rPr lang="en-US" sz="1600" b="1" dirty="0"/>
                <a:t> </a:t>
              </a:r>
              <a:r>
                <a:rPr lang="el-GR" sz="1600" b="1" dirty="0"/>
                <a:t>Ενίσχυση σχέσεων με χώρες Μέσης Ανατολής, Κόλπου, Β. Αφρικής</a:t>
              </a:r>
            </a:p>
          </p:txBody>
        </p:sp>
        <p:sp>
          <p:nvSpPr>
            <p:cNvPr id="75" name="Oval 74">
              <a:extLst>
                <a:ext uri="{FF2B5EF4-FFF2-40B4-BE49-F238E27FC236}">
                  <a16:creationId xmlns:a16="http://schemas.microsoft.com/office/drawing/2014/main" id="{98BAD51C-F2D2-4B88-ACFB-862B636D8643}"/>
                </a:ext>
              </a:extLst>
            </p:cNvPr>
            <p:cNvSpPr/>
            <p:nvPr/>
          </p:nvSpPr>
          <p:spPr>
            <a:xfrm flipH="1">
              <a:off x="5905286" y="4462734"/>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76" name="Oval 75">
              <a:extLst>
                <a:ext uri="{FF2B5EF4-FFF2-40B4-BE49-F238E27FC236}">
                  <a16:creationId xmlns:a16="http://schemas.microsoft.com/office/drawing/2014/main" id="{FD2FC8FB-3621-49A8-A995-7664050C04FA}"/>
                </a:ext>
              </a:extLst>
            </p:cNvPr>
            <p:cNvSpPr/>
            <p:nvPr/>
          </p:nvSpPr>
          <p:spPr>
            <a:xfrm flipH="1">
              <a:off x="6572398" y="5887957"/>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grpSp>
      <p:sp>
        <p:nvSpPr>
          <p:cNvPr id="86" name="Google Shape;116;p3">
            <a:extLst>
              <a:ext uri="{FF2B5EF4-FFF2-40B4-BE49-F238E27FC236}">
                <a16:creationId xmlns:a16="http://schemas.microsoft.com/office/drawing/2014/main" id="{1DC81D53-D877-4C9C-9246-DF377722C4BF}"/>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Προώθηση σχέσεων καλής γειτονίας, διευθέτηση διμερών εκκρεμοτήτων με γειτονικές χώρες και αντιμετώπιση προκλήσεων σε Διπλωματικό επίπεδο μέσω της προσήλωσης στο Διεθνές Δίκαιο και τις διεθνείς συμφωνίες</a:t>
            </a:r>
          </a:p>
        </p:txBody>
      </p:sp>
      <p:sp>
        <p:nvSpPr>
          <p:cNvPr id="84" name="Rectangle 83">
            <a:extLst>
              <a:ext uri="{FF2B5EF4-FFF2-40B4-BE49-F238E27FC236}">
                <a16:creationId xmlns:a16="http://schemas.microsoft.com/office/drawing/2014/main" id="{4D172F47-4105-4403-B01B-E5C24DC242EA}"/>
              </a:ext>
            </a:extLst>
          </p:cNvPr>
          <p:cNvSpPr/>
          <p:nvPr/>
        </p:nvSpPr>
        <p:spPr>
          <a:xfrm>
            <a:off x="9506822" y="1084049"/>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88" name="Rectangle 87">
            <a:extLst>
              <a:ext uri="{FF2B5EF4-FFF2-40B4-BE49-F238E27FC236}">
                <a16:creationId xmlns:a16="http://schemas.microsoft.com/office/drawing/2014/main" id="{F963EBA9-DB6C-499A-BAB0-3C9F86A41347}"/>
              </a:ext>
            </a:extLst>
          </p:cNvPr>
          <p:cNvSpPr/>
          <p:nvPr/>
        </p:nvSpPr>
        <p:spPr>
          <a:xfrm>
            <a:off x="9935242"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89" name="Rectangle 88">
            <a:extLst>
              <a:ext uri="{FF2B5EF4-FFF2-40B4-BE49-F238E27FC236}">
                <a16:creationId xmlns:a16="http://schemas.microsoft.com/office/drawing/2014/main" id="{827D875F-F0A8-4BA0-BB7C-ED8D93F07172}"/>
              </a:ext>
            </a:extLst>
          </p:cNvPr>
          <p:cNvSpPr/>
          <p:nvPr/>
        </p:nvSpPr>
        <p:spPr>
          <a:xfrm>
            <a:off x="10369540"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90" name="Rectangle 89">
            <a:extLst>
              <a:ext uri="{FF2B5EF4-FFF2-40B4-BE49-F238E27FC236}">
                <a16:creationId xmlns:a16="http://schemas.microsoft.com/office/drawing/2014/main" id="{75ECFBE6-C65C-4430-B28D-36A886B839E9}"/>
              </a:ext>
            </a:extLst>
          </p:cNvPr>
          <p:cNvSpPr/>
          <p:nvPr/>
        </p:nvSpPr>
        <p:spPr>
          <a:xfrm>
            <a:off x="10797248"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91" name="Rectangle 90">
            <a:extLst>
              <a:ext uri="{FF2B5EF4-FFF2-40B4-BE49-F238E27FC236}">
                <a16:creationId xmlns:a16="http://schemas.microsoft.com/office/drawing/2014/main" id="{F616EE2E-32F5-44FF-9FFA-1901585A1689}"/>
              </a:ext>
            </a:extLst>
          </p:cNvPr>
          <p:cNvSpPr/>
          <p:nvPr/>
        </p:nvSpPr>
        <p:spPr>
          <a:xfrm>
            <a:off x="11231902"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92" name="Group 51">
            <a:extLst>
              <a:ext uri="{FF2B5EF4-FFF2-40B4-BE49-F238E27FC236}">
                <a16:creationId xmlns:a16="http://schemas.microsoft.com/office/drawing/2014/main" id="{5FC23789-F04E-4FC9-9BB2-CBB2BDE710B2}"/>
              </a:ext>
            </a:extLst>
          </p:cNvPr>
          <p:cNvGrpSpPr/>
          <p:nvPr/>
        </p:nvGrpSpPr>
        <p:grpSpPr>
          <a:xfrm>
            <a:off x="9144168" y="1097414"/>
            <a:ext cx="288000" cy="288000"/>
            <a:chOff x="1024834" y="3136678"/>
            <a:chExt cx="1791641" cy="1794690"/>
          </a:xfrm>
          <a:solidFill>
            <a:srgbClr val="013476"/>
          </a:solidFill>
        </p:grpSpPr>
        <p:sp>
          <p:nvSpPr>
            <p:cNvPr id="93" name="Rectangle 228">
              <a:extLst>
                <a:ext uri="{FF2B5EF4-FFF2-40B4-BE49-F238E27FC236}">
                  <a16:creationId xmlns:a16="http://schemas.microsoft.com/office/drawing/2014/main" id="{B72A53F7-9BD0-4695-88D1-365E1683CE8E}"/>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94" name="Group 53">
              <a:extLst>
                <a:ext uri="{FF2B5EF4-FFF2-40B4-BE49-F238E27FC236}">
                  <a16:creationId xmlns:a16="http://schemas.microsoft.com/office/drawing/2014/main" id="{5B0A2749-DD57-439D-B422-A86348BF8E11}"/>
                </a:ext>
              </a:extLst>
            </p:cNvPr>
            <p:cNvGrpSpPr/>
            <p:nvPr/>
          </p:nvGrpSpPr>
          <p:grpSpPr>
            <a:xfrm>
              <a:off x="1024834" y="3136678"/>
              <a:ext cx="1791641" cy="1794690"/>
              <a:chOff x="1024834" y="3136678"/>
              <a:chExt cx="1791641" cy="1794690"/>
            </a:xfrm>
            <a:grpFill/>
          </p:grpSpPr>
          <p:sp>
            <p:nvSpPr>
              <p:cNvPr id="95" name="Rectangle 218">
                <a:extLst>
                  <a:ext uri="{FF2B5EF4-FFF2-40B4-BE49-F238E27FC236}">
                    <a16:creationId xmlns:a16="http://schemas.microsoft.com/office/drawing/2014/main" id="{72A9B6F5-67F8-442F-A182-6CAD31D427D9}"/>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96" name="Group 55">
                <a:extLst>
                  <a:ext uri="{FF2B5EF4-FFF2-40B4-BE49-F238E27FC236}">
                    <a16:creationId xmlns:a16="http://schemas.microsoft.com/office/drawing/2014/main" id="{467BAD8F-C884-40F3-9D1D-E93C1ADA78B2}"/>
                  </a:ext>
                </a:extLst>
              </p:cNvPr>
              <p:cNvGrpSpPr/>
              <p:nvPr/>
            </p:nvGrpSpPr>
            <p:grpSpPr>
              <a:xfrm>
                <a:off x="1024834" y="3136678"/>
                <a:ext cx="1791641" cy="1695618"/>
                <a:chOff x="5289671" y="2145561"/>
                <a:chExt cx="255588" cy="241897"/>
              </a:xfrm>
              <a:grpFill/>
            </p:grpSpPr>
            <p:sp>
              <p:nvSpPr>
                <p:cNvPr id="100" name="Freeform 227">
                  <a:extLst>
                    <a:ext uri="{FF2B5EF4-FFF2-40B4-BE49-F238E27FC236}">
                      <a16:creationId xmlns:a16="http://schemas.microsoft.com/office/drawing/2014/main" id="{0D572CAD-54F4-487E-BEE2-4DBF67F27AFD}"/>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101" name="Rectangle 228">
                  <a:extLst>
                    <a:ext uri="{FF2B5EF4-FFF2-40B4-BE49-F238E27FC236}">
                      <a16:creationId xmlns:a16="http://schemas.microsoft.com/office/drawing/2014/main" id="{F29A0B3B-0A3D-40F5-A82D-B23BBE64C6BB}"/>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02" name="Rectangle 229">
                  <a:extLst>
                    <a:ext uri="{FF2B5EF4-FFF2-40B4-BE49-F238E27FC236}">
                      <a16:creationId xmlns:a16="http://schemas.microsoft.com/office/drawing/2014/main" id="{2E4560E2-E77D-4414-983F-E1BC3437F45C}"/>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97" name="Rectangle 96">
                <a:extLst>
                  <a:ext uri="{FF2B5EF4-FFF2-40B4-BE49-F238E27FC236}">
                    <a16:creationId xmlns:a16="http://schemas.microsoft.com/office/drawing/2014/main" id="{69CC68E9-796B-4052-A344-0646D5DDF2F1}"/>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98" name="Rectangle 97">
                <a:extLst>
                  <a:ext uri="{FF2B5EF4-FFF2-40B4-BE49-F238E27FC236}">
                    <a16:creationId xmlns:a16="http://schemas.microsoft.com/office/drawing/2014/main" id="{76419AA5-EFAA-4592-853C-AC990440C1E9}"/>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99" name="Rectangle 98">
                <a:extLst>
                  <a:ext uri="{FF2B5EF4-FFF2-40B4-BE49-F238E27FC236}">
                    <a16:creationId xmlns:a16="http://schemas.microsoft.com/office/drawing/2014/main" id="{7BA244F8-895A-4492-90E0-31DBB6BFD2C4}"/>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spTree>
    <p:extLst>
      <p:ext uri="{BB962C8B-B14F-4D97-AF65-F5344CB8AC3E}">
        <p14:creationId xmlns:p14="http://schemas.microsoft.com/office/powerpoint/2010/main" val="81269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71"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2532" name="Picture 4" descr="File:European Union main map.svg"/>
          <p:cNvPicPr>
            <a:picLocks noChangeAspect="1" noChangeArrowheads="1"/>
          </p:cNvPicPr>
          <p:nvPr/>
        </p:nvPicPr>
        <p:blipFill rotWithShape="1">
          <a:blip r:embed="rId3">
            <a:lum bright="18000" contrast="-6000"/>
            <a:alphaModFix amt="20000"/>
          </a:blip>
          <a:srcRect l="6851" t="13288" r="14491" b="-4403"/>
          <a:stretch/>
        </p:blipFill>
        <p:spPr bwMode="auto">
          <a:xfrm>
            <a:off x="4566840" y="213433"/>
            <a:ext cx="7625160" cy="6492240"/>
          </a:xfrm>
          <a:prstGeom prst="rect">
            <a:avLst/>
          </a:prstGeom>
          <a:noFill/>
        </p:spPr>
      </p:pic>
      <p:sp>
        <p:nvSpPr>
          <p:cNvPr id="43" name="Rectangle 42">
            <a:extLst>
              <a:ext uri="{FF2B5EF4-FFF2-40B4-BE49-F238E27FC236}">
                <a16:creationId xmlns:a16="http://schemas.microsoft.com/office/drawing/2014/main" id="{2754D1AA-96E3-4D45-9D0D-4E091446BF4D}"/>
              </a:ext>
            </a:extLst>
          </p:cNvPr>
          <p:cNvSpPr/>
          <p:nvPr/>
        </p:nvSpPr>
        <p:spPr>
          <a:xfrm>
            <a:off x="9506822"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44" name="Rectangle 43">
            <a:extLst>
              <a:ext uri="{FF2B5EF4-FFF2-40B4-BE49-F238E27FC236}">
                <a16:creationId xmlns:a16="http://schemas.microsoft.com/office/drawing/2014/main" id="{40D3ACB6-7DDE-4CD9-B69F-8E00348B032C}"/>
              </a:ext>
            </a:extLst>
          </p:cNvPr>
          <p:cNvSpPr/>
          <p:nvPr/>
        </p:nvSpPr>
        <p:spPr>
          <a:xfrm>
            <a:off x="9935242" y="1084049"/>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45" name="Rectangle 44">
            <a:extLst>
              <a:ext uri="{FF2B5EF4-FFF2-40B4-BE49-F238E27FC236}">
                <a16:creationId xmlns:a16="http://schemas.microsoft.com/office/drawing/2014/main" id="{1E6EEA1B-60F8-4249-864F-EC45D6209CE3}"/>
              </a:ext>
            </a:extLst>
          </p:cNvPr>
          <p:cNvSpPr/>
          <p:nvPr/>
        </p:nvSpPr>
        <p:spPr>
          <a:xfrm>
            <a:off x="10369540"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46" name="Rectangle 45">
            <a:extLst>
              <a:ext uri="{FF2B5EF4-FFF2-40B4-BE49-F238E27FC236}">
                <a16:creationId xmlns:a16="http://schemas.microsoft.com/office/drawing/2014/main" id="{99B3FB63-1CAC-4B8D-B818-657517D1742D}"/>
              </a:ext>
            </a:extLst>
          </p:cNvPr>
          <p:cNvSpPr/>
          <p:nvPr/>
        </p:nvSpPr>
        <p:spPr>
          <a:xfrm>
            <a:off x="10797248"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47" name="Rectangle 46">
            <a:extLst>
              <a:ext uri="{FF2B5EF4-FFF2-40B4-BE49-F238E27FC236}">
                <a16:creationId xmlns:a16="http://schemas.microsoft.com/office/drawing/2014/main" id="{276973B4-25BA-4591-AE7D-74688F4D6764}"/>
              </a:ext>
            </a:extLst>
          </p:cNvPr>
          <p:cNvSpPr/>
          <p:nvPr/>
        </p:nvSpPr>
        <p:spPr>
          <a:xfrm>
            <a:off x="11231902"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48" name="Group 51">
            <a:extLst>
              <a:ext uri="{FF2B5EF4-FFF2-40B4-BE49-F238E27FC236}">
                <a16:creationId xmlns:a16="http://schemas.microsoft.com/office/drawing/2014/main" id="{E63E9E53-AA39-4299-893C-4D2777D14399}"/>
              </a:ext>
            </a:extLst>
          </p:cNvPr>
          <p:cNvGrpSpPr/>
          <p:nvPr/>
        </p:nvGrpSpPr>
        <p:grpSpPr>
          <a:xfrm>
            <a:off x="9144168" y="1097414"/>
            <a:ext cx="288000" cy="288000"/>
            <a:chOff x="1024834" y="3136678"/>
            <a:chExt cx="1791641" cy="1794690"/>
          </a:xfrm>
          <a:solidFill>
            <a:srgbClr val="013476"/>
          </a:solidFill>
        </p:grpSpPr>
        <p:sp>
          <p:nvSpPr>
            <p:cNvPr id="49" name="Rectangle 228">
              <a:extLst>
                <a:ext uri="{FF2B5EF4-FFF2-40B4-BE49-F238E27FC236}">
                  <a16:creationId xmlns:a16="http://schemas.microsoft.com/office/drawing/2014/main" id="{EE1D65E8-1517-498B-89B6-751899EC0A8B}"/>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50" name="Group 53">
              <a:extLst>
                <a:ext uri="{FF2B5EF4-FFF2-40B4-BE49-F238E27FC236}">
                  <a16:creationId xmlns:a16="http://schemas.microsoft.com/office/drawing/2014/main" id="{997616D1-3BF4-4ED0-B2C2-3954CF09DB79}"/>
                </a:ext>
              </a:extLst>
            </p:cNvPr>
            <p:cNvGrpSpPr/>
            <p:nvPr/>
          </p:nvGrpSpPr>
          <p:grpSpPr>
            <a:xfrm>
              <a:off x="1024834" y="3136678"/>
              <a:ext cx="1791641" cy="1794690"/>
              <a:chOff x="1024834" y="3136678"/>
              <a:chExt cx="1791641" cy="1794690"/>
            </a:xfrm>
            <a:grpFill/>
          </p:grpSpPr>
          <p:sp>
            <p:nvSpPr>
              <p:cNvPr id="51" name="Rectangle 218">
                <a:extLst>
                  <a:ext uri="{FF2B5EF4-FFF2-40B4-BE49-F238E27FC236}">
                    <a16:creationId xmlns:a16="http://schemas.microsoft.com/office/drawing/2014/main" id="{1DE359A9-7444-4BA8-925A-3CE135B4DF57}"/>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52" name="Group 55">
                <a:extLst>
                  <a:ext uri="{FF2B5EF4-FFF2-40B4-BE49-F238E27FC236}">
                    <a16:creationId xmlns:a16="http://schemas.microsoft.com/office/drawing/2014/main" id="{88246E39-7F6B-412F-A91B-41AA2CAFCAEE}"/>
                  </a:ext>
                </a:extLst>
              </p:cNvPr>
              <p:cNvGrpSpPr/>
              <p:nvPr/>
            </p:nvGrpSpPr>
            <p:grpSpPr>
              <a:xfrm>
                <a:off x="1024834" y="3136678"/>
                <a:ext cx="1791641" cy="1695618"/>
                <a:chOff x="5289671" y="2145561"/>
                <a:chExt cx="255588" cy="241897"/>
              </a:xfrm>
              <a:grpFill/>
            </p:grpSpPr>
            <p:sp>
              <p:nvSpPr>
                <p:cNvPr id="56" name="Freeform 227">
                  <a:extLst>
                    <a:ext uri="{FF2B5EF4-FFF2-40B4-BE49-F238E27FC236}">
                      <a16:creationId xmlns:a16="http://schemas.microsoft.com/office/drawing/2014/main" id="{10E7E1E2-0E4F-4B02-8F83-5B668CAAD32C}"/>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57" name="Rectangle 228">
                  <a:extLst>
                    <a:ext uri="{FF2B5EF4-FFF2-40B4-BE49-F238E27FC236}">
                      <a16:creationId xmlns:a16="http://schemas.microsoft.com/office/drawing/2014/main" id="{7BCFA4A0-356E-408A-80AE-2EAA8888CE3E}"/>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58" name="Rectangle 229">
                  <a:extLst>
                    <a:ext uri="{FF2B5EF4-FFF2-40B4-BE49-F238E27FC236}">
                      <a16:creationId xmlns:a16="http://schemas.microsoft.com/office/drawing/2014/main" id="{CB2D8F4A-6A2D-43FE-8EA5-21C3B89617AD}"/>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53" name="Rectangle 52">
                <a:extLst>
                  <a:ext uri="{FF2B5EF4-FFF2-40B4-BE49-F238E27FC236}">
                    <a16:creationId xmlns:a16="http://schemas.microsoft.com/office/drawing/2014/main" id="{A8911AE6-22B3-4FE0-ACB1-85601DF9F1DE}"/>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54" name="Rectangle 53">
                <a:extLst>
                  <a:ext uri="{FF2B5EF4-FFF2-40B4-BE49-F238E27FC236}">
                    <a16:creationId xmlns:a16="http://schemas.microsoft.com/office/drawing/2014/main" id="{DA62899D-069C-4B79-A187-D922CEDE6400}"/>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55" name="Rectangle 54">
                <a:extLst>
                  <a:ext uri="{FF2B5EF4-FFF2-40B4-BE49-F238E27FC236}">
                    <a16:creationId xmlns:a16="http://schemas.microsoft.com/office/drawing/2014/main" id="{F2CE38CB-36C0-458E-A8B5-8BA87F8AA401}"/>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sp>
        <p:nvSpPr>
          <p:cNvPr id="59" name="Google Shape;116;p3">
            <a:extLst>
              <a:ext uri="{FF2B5EF4-FFF2-40B4-BE49-F238E27FC236}">
                <a16:creationId xmlns:a16="http://schemas.microsoft.com/office/drawing/2014/main" id="{CDC2A2F0-9565-452D-81B6-8353D1AF49CF}"/>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Ισχυροποίηση της Διεθνούς θέσης της χώρας </a:t>
            </a:r>
            <a:r>
              <a:rPr lang="el-GR" b="1" dirty="0">
                <a:solidFill>
                  <a:srgbClr val="FFFFFF"/>
                </a:solidFill>
                <a:latin typeface="Calibri"/>
                <a:ea typeface="Calibri"/>
                <a:cs typeface="Calibri"/>
                <a:sym typeface="Calibri"/>
              </a:rPr>
              <a:t>στην ΕΕ </a:t>
            </a:r>
            <a:r>
              <a:rPr lang="el-GR" dirty="0">
                <a:solidFill>
                  <a:srgbClr val="FFFFFF"/>
                </a:solidFill>
                <a:latin typeface="Calibri"/>
                <a:ea typeface="Calibri"/>
                <a:cs typeface="Calibri"/>
                <a:sym typeface="Calibri"/>
              </a:rPr>
              <a:t>και στον κόσμο (1/2)</a:t>
            </a:r>
          </a:p>
        </p:txBody>
      </p:sp>
      <p:grpSp>
        <p:nvGrpSpPr>
          <p:cNvPr id="6" name="Group 5">
            <a:extLst>
              <a:ext uri="{FF2B5EF4-FFF2-40B4-BE49-F238E27FC236}">
                <a16:creationId xmlns:a16="http://schemas.microsoft.com/office/drawing/2014/main" id="{09650637-8D3F-4C1F-9B36-9D42DDE0C6AE}"/>
              </a:ext>
            </a:extLst>
          </p:cNvPr>
          <p:cNvGrpSpPr/>
          <p:nvPr/>
        </p:nvGrpSpPr>
        <p:grpSpPr>
          <a:xfrm>
            <a:off x="977290" y="1779310"/>
            <a:ext cx="6767006" cy="3970198"/>
            <a:chOff x="1190063" y="1514134"/>
            <a:chExt cx="6767006" cy="3970198"/>
          </a:xfrm>
        </p:grpSpPr>
        <p:sp>
          <p:nvSpPr>
            <p:cNvPr id="22534" name="Rectangle 6"/>
            <p:cNvSpPr>
              <a:spLocks noChangeArrowheads="1"/>
            </p:cNvSpPr>
            <p:nvPr/>
          </p:nvSpPr>
          <p:spPr bwMode="auto">
            <a:xfrm>
              <a:off x="1693719" y="1514134"/>
              <a:ext cx="5260872" cy="5847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lang="el-GR" sz="1600" b="1" dirty="0"/>
                <a:t>2.1 Ενίσχυση του ρόλου της Ελλάδος στη διαμόρφωση πολιτικών στον πυρήνα της ΕΕ</a:t>
              </a:r>
            </a:p>
          </p:txBody>
        </p:sp>
        <p:sp>
          <p:nvSpPr>
            <p:cNvPr id="22535" name="Rectangle 7"/>
            <p:cNvSpPr>
              <a:spLocks noChangeArrowheads="1"/>
            </p:cNvSpPr>
            <p:nvPr/>
          </p:nvSpPr>
          <p:spPr bwMode="auto">
            <a:xfrm>
              <a:off x="1693719" y="2277624"/>
              <a:ext cx="5132348"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defTabSz="914400" rtl="0" eaLnBrk="1" fontAlgn="base" latinLnBrk="0" hangingPunct="1">
                <a:lnSpc>
                  <a:spcPct val="100000"/>
                </a:lnSpc>
                <a:spcBef>
                  <a:spcPct val="0"/>
                </a:spcBef>
                <a:spcAft>
                  <a:spcPct val="0"/>
                </a:spcAft>
                <a:buClrTx/>
                <a:buSzTx/>
                <a:buFontTx/>
                <a:buNone/>
                <a:tabLst/>
              </a:pPr>
              <a:r>
                <a:rPr lang="el-GR" sz="1600" b="1" dirty="0"/>
                <a:t>2.2 Έμφαση σε ανάπτυξη και μετεξέλιξη της ΕΕ</a:t>
              </a:r>
            </a:p>
          </p:txBody>
        </p:sp>
        <p:sp>
          <p:nvSpPr>
            <p:cNvPr id="22536" name="Rectangle 8"/>
            <p:cNvSpPr>
              <a:spLocks noChangeArrowheads="1"/>
            </p:cNvSpPr>
            <p:nvPr/>
          </p:nvSpPr>
          <p:spPr bwMode="auto">
            <a:xfrm>
              <a:off x="1693719" y="2796379"/>
              <a:ext cx="6263350" cy="5847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R="0" lvl="0" indent="0" fontAlgn="base">
                <a:lnSpc>
                  <a:spcPct val="100000"/>
                </a:lnSpc>
                <a:spcBef>
                  <a:spcPct val="0"/>
                </a:spcBef>
                <a:spcAft>
                  <a:spcPct val="0"/>
                </a:spcAft>
                <a:buClrTx/>
                <a:buSzTx/>
                <a:buFontTx/>
                <a:buNone/>
                <a:tabLst/>
              </a:pPr>
              <a:r>
                <a:rPr lang="el-GR" sz="1600" b="1" dirty="0"/>
                <a:t>2.3 Ενεργή συμμετοχή στη </a:t>
              </a:r>
              <a:r>
                <a:rPr lang="el-GR" sz="1600" b="1" dirty="0" err="1"/>
                <a:t>συνδιαμόρφωση</a:t>
              </a:r>
              <a:r>
                <a:rPr lang="el-GR" sz="1600" b="1" dirty="0"/>
                <a:t> σχέσεων της Ε.Ε με τρίτες χώρες </a:t>
              </a:r>
            </a:p>
          </p:txBody>
        </p:sp>
        <p:sp>
          <p:nvSpPr>
            <p:cNvPr id="22537" name="Rectangle 9"/>
            <p:cNvSpPr>
              <a:spLocks noChangeArrowheads="1"/>
            </p:cNvSpPr>
            <p:nvPr/>
          </p:nvSpPr>
          <p:spPr bwMode="auto">
            <a:xfrm>
              <a:off x="1677846" y="3493849"/>
              <a:ext cx="5963464" cy="5847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R="0" lvl="0" indent="0" fontAlgn="base">
                <a:lnSpc>
                  <a:spcPct val="100000"/>
                </a:lnSpc>
                <a:spcBef>
                  <a:spcPct val="0"/>
                </a:spcBef>
                <a:spcAft>
                  <a:spcPct val="0"/>
                </a:spcAft>
                <a:buClrTx/>
                <a:buSzTx/>
                <a:buFontTx/>
                <a:buNone/>
                <a:tabLst/>
              </a:pPr>
              <a:r>
                <a:rPr lang="el-GR" sz="1600" b="1" dirty="0"/>
                <a:t>2.4 Ανάδειξη ευρωπαϊκής διάστασης του Μεταναστευτικού/Προσφυγικού ζητήματος</a:t>
              </a:r>
            </a:p>
          </p:txBody>
        </p:sp>
        <p:sp>
          <p:nvSpPr>
            <p:cNvPr id="12" name="Rectangle 11"/>
            <p:cNvSpPr/>
            <p:nvPr/>
          </p:nvSpPr>
          <p:spPr>
            <a:xfrm>
              <a:off x="1693719" y="4196703"/>
              <a:ext cx="5026675" cy="584775"/>
            </a:xfrm>
            <a:prstGeom prst="rect">
              <a:avLst/>
            </a:prstGeom>
          </p:spPr>
          <p:txBody>
            <a:bodyPr wrap="square">
              <a:spAutoFit/>
            </a:bodyPr>
            <a:lstStyle/>
            <a:p>
              <a:pPr fontAlgn="base">
                <a:spcBef>
                  <a:spcPct val="0"/>
                </a:spcBef>
                <a:spcAft>
                  <a:spcPct val="0"/>
                </a:spcAft>
              </a:pPr>
              <a:r>
                <a:rPr lang="el-GR" sz="1600" b="1" dirty="0"/>
                <a:t>2.5 Πρόληψη και αντιμετώπιση κρίσεων σε ευρωπαϊκό επίπεδο – ΚΕΠΠΑ/ΚΠΑΑ</a:t>
              </a:r>
            </a:p>
          </p:txBody>
        </p:sp>
        <p:sp>
          <p:nvSpPr>
            <p:cNvPr id="14" name="Rectangle 13"/>
            <p:cNvSpPr/>
            <p:nvPr/>
          </p:nvSpPr>
          <p:spPr>
            <a:xfrm>
              <a:off x="1693719" y="4899557"/>
              <a:ext cx="5063802" cy="584775"/>
            </a:xfrm>
            <a:prstGeom prst="rect">
              <a:avLst/>
            </a:prstGeom>
          </p:spPr>
          <p:txBody>
            <a:bodyPr wrap="square">
              <a:spAutoFit/>
            </a:bodyPr>
            <a:lstStyle/>
            <a:p>
              <a:pPr fontAlgn="base">
                <a:spcBef>
                  <a:spcPct val="0"/>
                </a:spcBef>
                <a:spcAft>
                  <a:spcPct val="0"/>
                </a:spcAft>
              </a:pPr>
              <a:r>
                <a:rPr lang="el-GR" sz="1600" b="1" dirty="0"/>
                <a:t>2.9 Ενδυνάμωση διμερών σχέσεων με Ευρωπαίους εταίρους, με το ΗΒ και χώρες Ανατολικής Γειτονίας της ΕΕ</a:t>
              </a:r>
            </a:p>
          </p:txBody>
        </p:sp>
        <p:grpSp>
          <p:nvGrpSpPr>
            <p:cNvPr id="60" name="Graphic 69">
              <a:extLst>
                <a:ext uri="{FF2B5EF4-FFF2-40B4-BE49-F238E27FC236}">
                  <a16:creationId xmlns:a16="http://schemas.microsoft.com/office/drawing/2014/main" id="{799ED413-70A3-4EAF-BA14-3387F7AEEF26}"/>
                </a:ext>
              </a:extLst>
            </p:cNvPr>
            <p:cNvGrpSpPr/>
            <p:nvPr/>
          </p:nvGrpSpPr>
          <p:grpSpPr>
            <a:xfrm>
              <a:off x="1220646" y="1577921"/>
              <a:ext cx="457200" cy="457200"/>
              <a:chOff x="10412004" y="3159871"/>
              <a:chExt cx="457200" cy="457200"/>
            </a:xfrm>
            <a:solidFill>
              <a:schemeClr val="tx1"/>
            </a:solidFill>
          </p:grpSpPr>
          <p:sp>
            <p:nvSpPr>
              <p:cNvPr id="61" name="Freeform 67">
                <a:extLst>
                  <a:ext uri="{FF2B5EF4-FFF2-40B4-BE49-F238E27FC236}">
                    <a16:creationId xmlns:a16="http://schemas.microsoft.com/office/drawing/2014/main" id="{9A4C56CC-FC2F-41FF-A9B5-690953784B57}"/>
                  </a:ext>
                </a:extLst>
              </p:cNvPr>
              <p:cNvSpPr/>
              <p:nvPr/>
            </p:nvSpPr>
            <p:spPr>
              <a:xfrm>
                <a:off x="10826595"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62" name="Freeform 68">
                <a:extLst>
                  <a:ext uri="{FF2B5EF4-FFF2-40B4-BE49-F238E27FC236}">
                    <a16:creationId xmlns:a16="http://schemas.microsoft.com/office/drawing/2014/main" id="{1A36999C-8CAB-432E-998E-383774FF0316}"/>
                  </a:ext>
                </a:extLst>
              </p:cNvPr>
              <p:cNvSpPr/>
              <p:nvPr/>
            </p:nvSpPr>
            <p:spPr>
              <a:xfrm>
                <a:off x="10787543"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63" name="Freeform 69">
                <a:extLst>
                  <a:ext uri="{FF2B5EF4-FFF2-40B4-BE49-F238E27FC236}">
                    <a16:creationId xmlns:a16="http://schemas.microsoft.com/office/drawing/2014/main" id="{656A13B5-E9EC-4DF3-8E18-A0E7B7D58A83}"/>
                  </a:ext>
                </a:extLst>
              </p:cNvPr>
              <p:cNvSpPr/>
              <p:nvPr/>
            </p:nvSpPr>
            <p:spPr>
              <a:xfrm>
                <a:off x="10436070"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64" name="Freeform 70">
                <a:extLst>
                  <a:ext uri="{FF2B5EF4-FFF2-40B4-BE49-F238E27FC236}">
                    <a16:creationId xmlns:a16="http://schemas.microsoft.com/office/drawing/2014/main" id="{44B467A1-3C2A-4015-A427-CC6192DB39C9}"/>
                  </a:ext>
                </a:extLst>
              </p:cNvPr>
              <p:cNvSpPr/>
              <p:nvPr/>
            </p:nvSpPr>
            <p:spPr>
              <a:xfrm>
                <a:off x="10826595"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65" name="Freeform 71">
                <a:extLst>
                  <a:ext uri="{FF2B5EF4-FFF2-40B4-BE49-F238E27FC236}">
                    <a16:creationId xmlns:a16="http://schemas.microsoft.com/office/drawing/2014/main" id="{548118C6-4055-4DCB-9227-063F59A62E6D}"/>
                  </a:ext>
                </a:extLst>
              </p:cNvPr>
              <p:cNvSpPr/>
              <p:nvPr/>
            </p:nvSpPr>
            <p:spPr>
              <a:xfrm>
                <a:off x="10787543"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66" name="Freeform 73">
                <a:extLst>
                  <a:ext uri="{FF2B5EF4-FFF2-40B4-BE49-F238E27FC236}">
                    <a16:creationId xmlns:a16="http://schemas.microsoft.com/office/drawing/2014/main" id="{A41F52A8-DC7D-49A8-B894-750C5545DEB2}"/>
                  </a:ext>
                </a:extLst>
              </p:cNvPr>
              <p:cNvSpPr/>
              <p:nvPr/>
            </p:nvSpPr>
            <p:spPr>
              <a:xfrm>
                <a:off x="10436070"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67" name="Freeform 74">
                <a:extLst>
                  <a:ext uri="{FF2B5EF4-FFF2-40B4-BE49-F238E27FC236}">
                    <a16:creationId xmlns:a16="http://schemas.microsoft.com/office/drawing/2014/main" id="{C84E8605-96D2-4A3F-B387-A4E85A8E7ECE}"/>
                  </a:ext>
                </a:extLst>
              </p:cNvPr>
              <p:cNvSpPr/>
              <p:nvPr/>
            </p:nvSpPr>
            <p:spPr>
              <a:xfrm>
                <a:off x="10412004" y="3159871"/>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674 w 457200"/>
                  <a:gd name="connsiteY4" fmla="*/ 437674 h 457200"/>
                  <a:gd name="connsiteX5" fmla="*/ 357156 w 457200"/>
                  <a:gd name="connsiteY5" fmla="*/ 437674 h 457200"/>
                  <a:gd name="connsiteX6" fmla="*/ 357156 w 457200"/>
                  <a:gd name="connsiteY6" fmla="*/ 398812 h 457200"/>
                  <a:gd name="connsiteX7" fmla="*/ 375476 w 457200"/>
                  <a:gd name="connsiteY7" fmla="*/ 417132 h 457200"/>
                  <a:gd name="connsiteX8" fmla="*/ 389287 w 457200"/>
                  <a:gd name="connsiteY8" fmla="*/ 403320 h 457200"/>
                  <a:gd name="connsiteX9" fmla="*/ 348012 w 457200"/>
                  <a:gd name="connsiteY9" fmla="*/ 362045 h 457200"/>
                  <a:gd name="connsiteX10" fmla="*/ 305499 w 457200"/>
                  <a:gd name="connsiteY10" fmla="*/ 404336 h 457200"/>
                  <a:gd name="connsiteX11" fmla="*/ 319310 w 457200"/>
                  <a:gd name="connsiteY11" fmla="*/ 418148 h 457200"/>
                  <a:gd name="connsiteX12" fmla="*/ 337630 w 457200"/>
                  <a:gd name="connsiteY12" fmla="*/ 399828 h 457200"/>
                  <a:gd name="connsiteX13" fmla="*/ 337630 w 457200"/>
                  <a:gd name="connsiteY13" fmla="*/ 437674 h 457200"/>
                  <a:gd name="connsiteX14" fmla="*/ 240221 w 457200"/>
                  <a:gd name="connsiteY14" fmla="*/ 437674 h 457200"/>
                  <a:gd name="connsiteX15" fmla="*/ 240221 w 457200"/>
                  <a:gd name="connsiteY15" fmla="*/ 173419 h 457200"/>
                  <a:gd name="connsiteX16" fmla="*/ 257175 w 457200"/>
                  <a:gd name="connsiteY16" fmla="*/ 190500 h 457200"/>
                  <a:gd name="connsiteX17" fmla="*/ 270986 w 457200"/>
                  <a:gd name="connsiteY17" fmla="*/ 176689 h 457200"/>
                  <a:gd name="connsiteX18" fmla="*/ 229711 w 457200"/>
                  <a:gd name="connsiteY18" fmla="*/ 135414 h 457200"/>
                  <a:gd name="connsiteX19" fmla="*/ 187325 w 457200"/>
                  <a:gd name="connsiteY19" fmla="*/ 177800 h 457200"/>
                  <a:gd name="connsiteX20" fmla="*/ 201136 w 457200"/>
                  <a:gd name="connsiteY20" fmla="*/ 191611 h 457200"/>
                  <a:gd name="connsiteX21" fmla="*/ 220758 w 457200"/>
                  <a:gd name="connsiteY21" fmla="*/ 171990 h 457200"/>
                  <a:gd name="connsiteX22" fmla="*/ 220758 w 457200"/>
                  <a:gd name="connsiteY22" fmla="*/ 437832 h 457200"/>
                  <a:gd name="connsiteX23" fmla="*/ 120650 w 457200"/>
                  <a:gd name="connsiteY23" fmla="*/ 437832 h 457200"/>
                  <a:gd name="connsiteX24" fmla="*/ 120650 w 457200"/>
                  <a:gd name="connsiteY24" fmla="*/ 293878 h 457200"/>
                  <a:gd name="connsiteX25" fmla="*/ 139002 w 457200"/>
                  <a:gd name="connsiteY25" fmla="*/ 312198 h 457200"/>
                  <a:gd name="connsiteX26" fmla="*/ 152813 w 457200"/>
                  <a:gd name="connsiteY26" fmla="*/ 298450 h 457200"/>
                  <a:gd name="connsiteX27" fmla="*/ 111538 w 457200"/>
                  <a:gd name="connsiteY27" fmla="*/ 257175 h 457200"/>
                  <a:gd name="connsiteX28" fmla="*/ 69025 w 457200"/>
                  <a:gd name="connsiteY28" fmla="*/ 299434 h 457200"/>
                  <a:gd name="connsiteX29" fmla="*/ 82836 w 457200"/>
                  <a:gd name="connsiteY29" fmla="*/ 313246 h 457200"/>
                  <a:gd name="connsiteX30" fmla="*/ 101156 w 457200"/>
                  <a:gd name="connsiteY30" fmla="*/ 294894 h 457200"/>
                  <a:gd name="connsiteX31" fmla="*/ 101156 w 457200"/>
                  <a:gd name="connsiteY31" fmla="*/ 437769 h 457200"/>
                  <a:gd name="connsiteX32" fmla="*/ 19526 w 457200"/>
                  <a:gd name="connsiteY32" fmla="*/ 437769 h 457200"/>
                  <a:gd name="connsiteX33" fmla="*/ 19526 w 457200"/>
                  <a:gd name="connsiteY33" fmla="*/ 128556 h 457200"/>
                  <a:gd name="connsiteX34" fmla="*/ 437674 w 457200"/>
                  <a:gd name="connsiteY34" fmla="*/ 128556 h 457200"/>
                  <a:gd name="connsiteX35" fmla="*/ 437674 w 457200"/>
                  <a:gd name="connsiteY35" fmla="*/ 109030 h 457200"/>
                  <a:gd name="connsiteX36" fmla="*/ 19526 w 457200"/>
                  <a:gd name="connsiteY36" fmla="*/ 109030 h 457200"/>
                  <a:gd name="connsiteX37" fmla="*/ 19526 w 457200"/>
                  <a:gd name="connsiteY37" fmla="*/ 19526 h 457200"/>
                  <a:gd name="connsiteX38" fmla="*/ 437674 w 457200"/>
                  <a:gd name="connsiteY38" fmla="*/ 1952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7200" h="457200">
                    <a:moveTo>
                      <a:pt x="0" y="0"/>
                    </a:moveTo>
                    <a:lnTo>
                      <a:pt x="0" y="457200"/>
                    </a:lnTo>
                    <a:lnTo>
                      <a:pt x="457200" y="457200"/>
                    </a:lnTo>
                    <a:lnTo>
                      <a:pt x="457200" y="0"/>
                    </a:lnTo>
                    <a:close/>
                    <a:moveTo>
                      <a:pt x="437674" y="437674"/>
                    </a:moveTo>
                    <a:lnTo>
                      <a:pt x="357156" y="437674"/>
                    </a:lnTo>
                    <a:lnTo>
                      <a:pt x="357156" y="398812"/>
                    </a:lnTo>
                    <a:lnTo>
                      <a:pt x="375476" y="417132"/>
                    </a:lnTo>
                    <a:lnTo>
                      <a:pt x="389287" y="403320"/>
                    </a:lnTo>
                    <a:lnTo>
                      <a:pt x="348012" y="362045"/>
                    </a:lnTo>
                    <a:lnTo>
                      <a:pt x="305499" y="404336"/>
                    </a:lnTo>
                    <a:lnTo>
                      <a:pt x="319310" y="418148"/>
                    </a:lnTo>
                    <a:lnTo>
                      <a:pt x="337630" y="399828"/>
                    </a:lnTo>
                    <a:lnTo>
                      <a:pt x="337630" y="437674"/>
                    </a:lnTo>
                    <a:lnTo>
                      <a:pt x="240221" y="437674"/>
                    </a:lnTo>
                    <a:lnTo>
                      <a:pt x="240221" y="173419"/>
                    </a:lnTo>
                    <a:lnTo>
                      <a:pt x="257175" y="190500"/>
                    </a:lnTo>
                    <a:lnTo>
                      <a:pt x="270986" y="176689"/>
                    </a:lnTo>
                    <a:lnTo>
                      <a:pt x="229711" y="135414"/>
                    </a:lnTo>
                    <a:lnTo>
                      <a:pt x="187325" y="177800"/>
                    </a:lnTo>
                    <a:lnTo>
                      <a:pt x="201136" y="191611"/>
                    </a:lnTo>
                    <a:lnTo>
                      <a:pt x="220758" y="171990"/>
                    </a:lnTo>
                    <a:lnTo>
                      <a:pt x="220758" y="437832"/>
                    </a:lnTo>
                    <a:lnTo>
                      <a:pt x="120650" y="437832"/>
                    </a:lnTo>
                    <a:lnTo>
                      <a:pt x="120650" y="293878"/>
                    </a:lnTo>
                    <a:lnTo>
                      <a:pt x="139002" y="312198"/>
                    </a:lnTo>
                    <a:lnTo>
                      <a:pt x="152813" y="298450"/>
                    </a:lnTo>
                    <a:lnTo>
                      <a:pt x="111538" y="257175"/>
                    </a:lnTo>
                    <a:lnTo>
                      <a:pt x="69025" y="299434"/>
                    </a:lnTo>
                    <a:lnTo>
                      <a:pt x="82836" y="313246"/>
                    </a:lnTo>
                    <a:lnTo>
                      <a:pt x="101156" y="294894"/>
                    </a:lnTo>
                    <a:lnTo>
                      <a:pt x="101156" y="437769"/>
                    </a:lnTo>
                    <a:lnTo>
                      <a:pt x="19526" y="437769"/>
                    </a:lnTo>
                    <a:lnTo>
                      <a:pt x="19526" y="128556"/>
                    </a:lnTo>
                    <a:lnTo>
                      <a:pt x="437674" y="128556"/>
                    </a:lnTo>
                    <a:close/>
                    <a:moveTo>
                      <a:pt x="437674" y="109030"/>
                    </a:moveTo>
                    <a:lnTo>
                      <a:pt x="19526" y="109030"/>
                    </a:lnTo>
                    <a:lnTo>
                      <a:pt x="19526" y="19526"/>
                    </a:lnTo>
                    <a:lnTo>
                      <a:pt x="437674"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68" name="Freeform 75">
                <a:extLst>
                  <a:ext uri="{FF2B5EF4-FFF2-40B4-BE49-F238E27FC236}">
                    <a16:creationId xmlns:a16="http://schemas.microsoft.com/office/drawing/2014/main" id="{9069D16C-1B6E-48ED-AFF9-89B6B584D7C6}"/>
                  </a:ext>
                </a:extLst>
              </p:cNvPr>
              <p:cNvSpPr/>
              <p:nvPr/>
            </p:nvSpPr>
            <p:spPr>
              <a:xfrm>
                <a:off x="10748490"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69" name="Freeform 77">
                <a:extLst>
                  <a:ext uri="{FF2B5EF4-FFF2-40B4-BE49-F238E27FC236}">
                    <a16:creationId xmlns:a16="http://schemas.microsoft.com/office/drawing/2014/main" id="{257A13BF-FB2D-4543-A1A9-A5D6E6A2EE98}"/>
                  </a:ext>
                </a:extLst>
              </p:cNvPr>
              <p:cNvSpPr/>
              <p:nvPr/>
            </p:nvSpPr>
            <p:spPr>
              <a:xfrm>
                <a:off x="10709438"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0" name="Freeform 78">
                <a:extLst>
                  <a:ext uri="{FF2B5EF4-FFF2-40B4-BE49-F238E27FC236}">
                    <a16:creationId xmlns:a16="http://schemas.microsoft.com/office/drawing/2014/main" id="{3D05BE8D-E17D-416F-89DA-032F158F7DA4}"/>
                  </a:ext>
                </a:extLst>
              </p:cNvPr>
              <p:cNvSpPr/>
              <p:nvPr/>
            </p:nvSpPr>
            <p:spPr>
              <a:xfrm>
                <a:off x="10670385"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1" name="Freeform 79">
                <a:extLst>
                  <a:ext uri="{FF2B5EF4-FFF2-40B4-BE49-F238E27FC236}">
                    <a16:creationId xmlns:a16="http://schemas.microsoft.com/office/drawing/2014/main" id="{F2295EF8-296E-4336-8B02-78DD326C3725}"/>
                  </a:ext>
                </a:extLst>
              </p:cNvPr>
              <p:cNvSpPr/>
              <p:nvPr/>
            </p:nvSpPr>
            <p:spPr>
              <a:xfrm>
                <a:off x="10592280"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2" name="Freeform 81">
                <a:extLst>
                  <a:ext uri="{FF2B5EF4-FFF2-40B4-BE49-F238E27FC236}">
                    <a16:creationId xmlns:a16="http://schemas.microsoft.com/office/drawing/2014/main" id="{F777C092-B008-4681-BAB6-75E2027E6BBB}"/>
                  </a:ext>
                </a:extLst>
              </p:cNvPr>
              <p:cNvSpPr/>
              <p:nvPr/>
            </p:nvSpPr>
            <p:spPr>
              <a:xfrm>
                <a:off x="10553228"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3" name="Freeform 82">
                <a:extLst>
                  <a:ext uri="{FF2B5EF4-FFF2-40B4-BE49-F238E27FC236}">
                    <a16:creationId xmlns:a16="http://schemas.microsoft.com/office/drawing/2014/main" id="{878F5E25-45FD-42C5-9940-D004022D6806}"/>
                  </a:ext>
                </a:extLst>
              </p:cNvPr>
              <p:cNvSpPr/>
              <p:nvPr/>
            </p:nvSpPr>
            <p:spPr>
              <a:xfrm>
                <a:off x="10514175"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4" name="Freeform 83">
                <a:extLst>
                  <a:ext uri="{FF2B5EF4-FFF2-40B4-BE49-F238E27FC236}">
                    <a16:creationId xmlns:a16="http://schemas.microsoft.com/office/drawing/2014/main" id="{E83B6EE6-3528-4CB9-BAFA-031CC6F0200E}"/>
                  </a:ext>
                </a:extLst>
              </p:cNvPr>
              <p:cNvSpPr/>
              <p:nvPr/>
            </p:nvSpPr>
            <p:spPr>
              <a:xfrm>
                <a:off x="10475123" y="3377866"/>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5" name="Freeform 85">
                <a:extLst>
                  <a:ext uri="{FF2B5EF4-FFF2-40B4-BE49-F238E27FC236}">
                    <a16:creationId xmlns:a16="http://schemas.microsoft.com/office/drawing/2014/main" id="{B868D517-7FFF-42AB-B21E-59C44718B17D}"/>
                  </a:ext>
                </a:extLst>
              </p:cNvPr>
              <p:cNvSpPr/>
              <p:nvPr/>
            </p:nvSpPr>
            <p:spPr>
              <a:xfrm>
                <a:off x="10748490"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6" name="Freeform 86">
                <a:extLst>
                  <a:ext uri="{FF2B5EF4-FFF2-40B4-BE49-F238E27FC236}">
                    <a16:creationId xmlns:a16="http://schemas.microsoft.com/office/drawing/2014/main" id="{FA43095D-3AC1-4083-A199-6328676358D6}"/>
                  </a:ext>
                </a:extLst>
              </p:cNvPr>
              <p:cNvSpPr/>
              <p:nvPr/>
            </p:nvSpPr>
            <p:spPr>
              <a:xfrm>
                <a:off x="10709438"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7" name="Freeform 87">
                <a:extLst>
                  <a:ext uri="{FF2B5EF4-FFF2-40B4-BE49-F238E27FC236}">
                    <a16:creationId xmlns:a16="http://schemas.microsoft.com/office/drawing/2014/main" id="{8B4DCE48-84CD-4AB5-803B-F8C340A875FD}"/>
                  </a:ext>
                </a:extLst>
              </p:cNvPr>
              <p:cNvSpPr/>
              <p:nvPr/>
            </p:nvSpPr>
            <p:spPr>
              <a:xfrm>
                <a:off x="10670385"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8" name="Freeform 88">
                <a:extLst>
                  <a:ext uri="{FF2B5EF4-FFF2-40B4-BE49-F238E27FC236}">
                    <a16:creationId xmlns:a16="http://schemas.microsoft.com/office/drawing/2014/main" id="{9CF0AC43-18A9-4423-9300-6A2A773A5855}"/>
                  </a:ext>
                </a:extLst>
              </p:cNvPr>
              <p:cNvSpPr/>
              <p:nvPr/>
            </p:nvSpPr>
            <p:spPr>
              <a:xfrm>
                <a:off x="10592280"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79" name="Freeform 89">
                <a:extLst>
                  <a:ext uri="{FF2B5EF4-FFF2-40B4-BE49-F238E27FC236}">
                    <a16:creationId xmlns:a16="http://schemas.microsoft.com/office/drawing/2014/main" id="{1845658D-44EA-4145-B497-B267F35F9066}"/>
                  </a:ext>
                </a:extLst>
              </p:cNvPr>
              <p:cNvSpPr/>
              <p:nvPr/>
            </p:nvSpPr>
            <p:spPr>
              <a:xfrm>
                <a:off x="10553228"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sp>
            <p:nvSpPr>
              <p:cNvPr id="80" name="Freeform 90">
                <a:extLst>
                  <a:ext uri="{FF2B5EF4-FFF2-40B4-BE49-F238E27FC236}">
                    <a16:creationId xmlns:a16="http://schemas.microsoft.com/office/drawing/2014/main" id="{60914237-3CBB-472A-A517-E1B41F2C231E}"/>
                  </a:ext>
                </a:extLst>
              </p:cNvPr>
              <p:cNvSpPr/>
              <p:nvPr/>
            </p:nvSpPr>
            <p:spPr>
              <a:xfrm>
                <a:off x="10475123" y="3486832"/>
                <a:ext cx="19526" cy="19526"/>
              </a:xfrm>
              <a:custGeom>
                <a:avLst/>
                <a:gdLst>
                  <a:gd name="connsiteX0" fmla="*/ 0 w 19526"/>
                  <a:gd name="connsiteY0" fmla="*/ 0 h 19526"/>
                  <a:gd name="connsiteX1" fmla="*/ 19526 w 19526"/>
                  <a:gd name="connsiteY1" fmla="*/ 0 h 19526"/>
                  <a:gd name="connsiteX2" fmla="*/ 19526 w 19526"/>
                  <a:gd name="connsiteY2" fmla="*/ 19526 h 19526"/>
                  <a:gd name="connsiteX3" fmla="*/ 0 w 19526"/>
                  <a:gd name="connsiteY3" fmla="*/ 19526 h 19526"/>
                </a:gdLst>
                <a:ahLst/>
                <a:cxnLst>
                  <a:cxn ang="0">
                    <a:pos x="connsiteX0" y="connsiteY0"/>
                  </a:cxn>
                  <a:cxn ang="0">
                    <a:pos x="connsiteX1" y="connsiteY1"/>
                  </a:cxn>
                  <a:cxn ang="0">
                    <a:pos x="connsiteX2" y="connsiteY2"/>
                  </a:cxn>
                  <a:cxn ang="0">
                    <a:pos x="connsiteX3" y="connsiteY3"/>
                  </a:cxn>
                </a:cxnLst>
                <a:rect l="l" t="t" r="r" b="b"/>
                <a:pathLst>
                  <a:path w="19526" h="19526">
                    <a:moveTo>
                      <a:pt x="0" y="0"/>
                    </a:moveTo>
                    <a:lnTo>
                      <a:pt x="19526" y="0"/>
                    </a:lnTo>
                    <a:lnTo>
                      <a:pt x="19526" y="19526"/>
                    </a:lnTo>
                    <a:lnTo>
                      <a:pt x="0" y="19526"/>
                    </a:lnTo>
                    <a:close/>
                  </a:path>
                </a:pathLst>
              </a:custGeom>
              <a:grpFill/>
              <a:ln w="3175" cap="flat">
                <a:noFill/>
                <a:prstDash val="solid"/>
                <a:miter/>
              </a:ln>
            </p:spPr>
            <p:txBody>
              <a:bodyPr rtlCol="0" anchor="ctr"/>
              <a:lstStyle/>
              <a:p>
                <a:endParaRPr lang="en-GB" dirty="0">
                  <a:solidFill>
                    <a:schemeClr val="accent1"/>
                  </a:solidFill>
                </a:endParaRPr>
              </a:p>
            </p:txBody>
          </p:sp>
        </p:grpSp>
        <p:sp>
          <p:nvSpPr>
            <p:cNvPr id="81" name="Freeform 81">
              <a:extLst>
                <a:ext uri="{FF2B5EF4-FFF2-40B4-BE49-F238E27FC236}">
                  <a16:creationId xmlns:a16="http://schemas.microsoft.com/office/drawing/2014/main" id="{23C4872E-9FC0-4F13-8572-2655374B245E}"/>
                </a:ext>
              </a:extLst>
            </p:cNvPr>
            <p:cNvSpPr>
              <a:spLocks noChangeAspect="1" noEditPoints="1"/>
            </p:cNvSpPr>
            <p:nvPr/>
          </p:nvSpPr>
          <p:spPr bwMode="auto">
            <a:xfrm>
              <a:off x="1220646" y="2253116"/>
              <a:ext cx="457200" cy="457200"/>
            </a:xfrm>
            <a:custGeom>
              <a:avLst/>
              <a:gdLst>
                <a:gd name="T0" fmla="*/ 288 w 705"/>
                <a:gd name="T1" fmla="*/ 411 h 705"/>
                <a:gd name="T2" fmla="*/ 405 w 705"/>
                <a:gd name="T3" fmla="*/ 294 h 705"/>
                <a:gd name="T4" fmla="*/ 318 w 705"/>
                <a:gd name="T5" fmla="*/ 381 h 705"/>
                <a:gd name="T6" fmla="*/ 374 w 705"/>
                <a:gd name="T7" fmla="*/ 323 h 705"/>
                <a:gd name="T8" fmla="*/ 318 w 705"/>
                <a:gd name="T9" fmla="*/ 381 h 705"/>
                <a:gd name="T10" fmla="*/ 492 w 705"/>
                <a:gd name="T11" fmla="*/ 585 h 705"/>
                <a:gd name="T12" fmla="*/ 609 w 705"/>
                <a:gd name="T13" fmla="*/ 467 h 705"/>
                <a:gd name="T14" fmla="*/ 523 w 705"/>
                <a:gd name="T15" fmla="*/ 554 h 705"/>
                <a:gd name="T16" fmla="*/ 579 w 705"/>
                <a:gd name="T17" fmla="*/ 498 h 705"/>
                <a:gd name="T18" fmla="*/ 523 w 705"/>
                <a:gd name="T19" fmla="*/ 554 h 705"/>
                <a:gd name="T20" fmla="*/ 0 w 705"/>
                <a:gd name="T21" fmla="*/ 705 h 705"/>
                <a:gd name="T22" fmla="*/ 705 w 705"/>
                <a:gd name="T23" fmla="*/ 0 h 705"/>
                <a:gd name="T24" fmla="*/ 676 w 705"/>
                <a:gd name="T25" fmla="*/ 674 h 705"/>
                <a:gd name="T26" fmla="*/ 31 w 705"/>
                <a:gd name="T27" fmla="*/ 541 h 705"/>
                <a:gd name="T28" fmla="*/ 356 w 705"/>
                <a:gd name="T29" fmla="*/ 579 h 705"/>
                <a:gd name="T30" fmla="*/ 453 w 705"/>
                <a:gd name="T31" fmla="*/ 526 h 705"/>
                <a:gd name="T32" fmla="*/ 357 w 705"/>
                <a:gd name="T33" fmla="*/ 474 h 705"/>
                <a:gd name="T34" fmla="*/ 31 w 705"/>
                <a:gd name="T35" fmla="*/ 511 h 705"/>
                <a:gd name="T36" fmla="*/ 196 w 705"/>
                <a:gd name="T37" fmla="*/ 373 h 705"/>
                <a:gd name="T38" fmla="*/ 179 w 705"/>
                <a:gd name="T39" fmla="*/ 432 h 705"/>
                <a:gd name="T40" fmla="*/ 180 w 705"/>
                <a:gd name="T41" fmla="*/ 284 h 705"/>
                <a:gd name="T42" fmla="*/ 197 w 705"/>
                <a:gd name="T43" fmla="*/ 343 h 705"/>
                <a:gd name="T44" fmla="*/ 31 w 705"/>
                <a:gd name="T45" fmla="*/ 29 h 705"/>
                <a:gd name="T46" fmla="*/ 676 w 705"/>
                <a:gd name="T47" fmla="*/ 674 h 705"/>
                <a:gd name="T48" fmla="*/ 394 w 705"/>
                <a:gd name="T49" fmla="*/ 193 h 705"/>
                <a:gd name="T50" fmla="*/ 377 w 705"/>
                <a:gd name="T51" fmla="*/ 252 h 705"/>
                <a:gd name="T52" fmla="*/ 379 w 705"/>
                <a:gd name="T53" fmla="*/ 104 h 705"/>
                <a:gd name="T54" fmla="*/ 395 w 705"/>
                <a:gd name="T55" fmla="*/ 163 h 705"/>
                <a:gd name="T56" fmla="*/ 221 w 705"/>
                <a:gd name="T57" fmla="*/ 119 h 705"/>
                <a:gd name="T58" fmla="*/ 104 w 705"/>
                <a:gd name="T59" fmla="*/ 236 h 705"/>
                <a:gd name="T60" fmla="*/ 221 w 705"/>
                <a:gd name="T61" fmla="*/ 193 h 705"/>
                <a:gd name="T62" fmla="*/ 488 w 705"/>
                <a:gd name="T63" fmla="*/ 236 h 705"/>
                <a:gd name="T64" fmla="*/ 606 w 705"/>
                <a:gd name="T65" fmla="*/ 119 h 705"/>
                <a:gd name="T66" fmla="*/ 518 w 705"/>
                <a:gd name="T67" fmla="*/ 207 h 705"/>
                <a:gd name="T68" fmla="*/ 575 w 705"/>
                <a:gd name="T69" fmla="*/ 149 h 705"/>
                <a:gd name="T70" fmla="*/ 518 w 705"/>
                <a:gd name="T71" fmla="*/ 207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5" h="705">
                  <a:moveTo>
                    <a:pt x="405" y="411"/>
                  </a:moveTo>
                  <a:lnTo>
                    <a:pt x="288" y="411"/>
                  </a:lnTo>
                  <a:lnTo>
                    <a:pt x="288" y="294"/>
                  </a:lnTo>
                  <a:lnTo>
                    <a:pt x="405" y="294"/>
                  </a:lnTo>
                  <a:lnTo>
                    <a:pt x="405" y="411"/>
                  </a:lnTo>
                  <a:close/>
                  <a:moveTo>
                    <a:pt x="318" y="381"/>
                  </a:moveTo>
                  <a:lnTo>
                    <a:pt x="374" y="381"/>
                  </a:lnTo>
                  <a:lnTo>
                    <a:pt x="374" y="323"/>
                  </a:lnTo>
                  <a:lnTo>
                    <a:pt x="318" y="323"/>
                  </a:lnTo>
                  <a:lnTo>
                    <a:pt x="318" y="381"/>
                  </a:lnTo>
                  <a:close/>
                  <a:moveTo>
                    <a:pt x="609" y="585"/>
                  </a:moveTo>
                  <a:lnTo>
                    <a:pt x="492" y="585"/>
                  </a:lnTo>
                  <a:lnTo>
                    <a:pt x="492" y="467"/>
                  </a:lnTo>
                  <a:lnTo>
                    <a:pt x="609" y="467"/>
                  </a:lnTo>
                  <a:lnTo>
                    <a:pt x="609" y="585"/>
                  </a:lnTo>
                  <a:close/>
                  <a:moveTo>
                    <a:pt x="523" y="554"/>
                  </a:moveTo>
                  <a:lnTo>
                    <a:pt x="579" y="554"/>
                  </a:lnTo>
                  <a:lnTo>
                    <a:pt x="579" y="498"/>
                  </a:lnTo>
                  <a:lnTo>
                    <a:pt x="523" y="498"/>
                  </a:lnTo>
                  <a:lnTo>
                    <a:pt x="523" y="554"/>
                  </a:lnTo>
                  <a:close/>
                  <a:moveTo>
                    <a:pt x="0" y="0"/>
                  </a:moveTo>
                  <a:lnTo>
                    <a:pt x="0" y="705"/>
                  </a:lnTo>
                  <a:lnTo>
                    <a:pt x="705" y="705"/>
                  </a:lnTo>
                  <a:lnTo>
                    <a:pt x="705" y="0"/>
                  </a:lnTo>
                  <a:lnTo>
                    <a:pt x="0" y="0"/>
                  </a:lnTo>
                  <a:close/>
                  <a:moveTo>
                    <a:pt x="676" y="674"/>
                  </a:moveTo>
                  <a:lnTo>
                    <a:pt x="31" y="674"/>
                  </a:lnTo>
                  <a:lnTo>
                    <a:pt x="31" y="541"/>
                  </a:lnTo>
                  <a:lnTo>
                    <a:pt x="394" y="541"/>
                  </a:lnTo>
                  <a:lnTo>
                    <a:pt x="356" y="579"/>
                  </a:lnTo>
                  <a:lnTo>
                    <a:pt x="377" y="601"/>
                  </a:lnTo>
                  <a:lnTo>
                    <a:pt x="453" y="526"/>
                  </a:lnTo>
                  <a:lnTo>
                    <a:pt x="379" y="453"/>
                  </a:lnTo>
                  <a:lnTo>
                    <a:pt x="357" y="474"/>
                  </a:lnTo>
                  <a:lnTo>
                    <a:pt x="395" y="511"/>
                  </a:lnTo>
                  <a:lnTo>
                    <a:pt x="31" y="511"/>
                  </a:lnTo>
                  <a:lnTo>
                    <a:pt x="31" y="373"/>
                  </a:lnTo>
                  <a:lnTo>
                    <a:pt x="196" y="373"/>
                  </a:lnTo>
                  <a:lnTo>
                    <a:pt x="158" y="411"/>
                  </a:lnTo>
                  <a:lnTo>
                    <a:pt x="179" y="432"/>
                  </a:lnTo>
                  <a:lnTo>
                    <a:pt x="253" y="357"/>
                  </a:lnTo>
                  <a:lnTo>
                    <a:pt x="180" y="284"/>
                  </a:lnTo>
                  <a:lnTo>
                    <a:pt x="159" y="305"/>
                  </a:lnTo>
                  <a:lnTo>
                    <a:pt x="197" y="343"/>
                  </a:lnTo>
                  <a:lnTo>
                    <a:pt x="31" y="343"/>
                  </a:lnTo>
                  <a:lnTo>
                    <a:pt x="31" y="29"/>
                  </a:lnTo>
                  <a:lnTo>
                    <a:pt x="676" y="29"/>
                  </a:lnTo>
                  <a:lnTo>
                    <a:pt x="676" y="674"/>
                  </a:lnTo>
                  <a:close/>
                  <a:moveTo>
                    <a:pt x="221" y="193"/>
                  </a:moveTo>
                  <a:lnTo>
                    <a:pt x="394" y="193"/>
                  </a:lnTo>
                  <a:lnTo>
                    <a:pt x="356" y="231"/>
                  </a:lnTo>
                  <a:lnTo>
                    <a:pt x="377" y="252"/>
                  </a:lnTo>
                  <a:lnTo>
                    <a:pt x="453" y="177"/>
                  </a:lnTo>
                  <a:lnTo>
                    <a:pt x="379" y="104"/>
                  </a:lnTo>
                  <a:lnTo>
                    <a:pt x="357" y="125"/>
                  </a:lnTo>
                  <a:lnTo>
                    <a:pt x="395" y="163"/>
                  </a:lnTo>
                  <a:lnTo>
                    <a:pt x="221" y="163"/>
                  </a:lnTo>
                  <a:lnTo>
                    <a:pt x="221" y="119"/>
                  </a:lnTo>
                  <a:lnTo>
                    <a:pt x="104" y="119"/>
                  </a:lnTo>
                  <a:lnTo>
                    <a:pt x="104" y="236"/>
                  </a:lnTo>
                  <a:lnTo>
                    <a:pt x="221" y="236"/>
                  </a:lnTo>
                  <a:lnTo>
                    <a:pt x="221" y="193"/>
                  </a:lnTo>
                  <a:close/>
                  <a:moveTo>
                    <a:pt x="606" y="236"/>
                  </a:moveTo>
                  <a:lnTo>
                    <a:pt x="488" y="236"/>
                  </a:lnTo>
                  <a:lnTo>
                    <a:pt x="488" y="119"/>
                  </a:lnTo>
                  <a:lnTo>
                    <a:pt x="606" y="119"/>
                  </a:lnTo>
                  <a:lnTo>
                    <a:pt x="606" y="236"/>
                  </a:lnTo>
                  <a:close/>
                  <a:moveTo>
                    <a:pt x="518" y="207"/>
                  </a:moveTo>
                  <a:lnTo>
                    <a:pt x="575" y="207"/>
                  </a:lnTo>
                  <a:lnTo>
                    <a:pt x="575" y="149"/>
                  </a:lnTo>
                  <a:lnTo>
                    <a:pt x="518" y="149"/>
                  </a:lnTo>
                  <a:lnTo>
                    <a:pt x="518" y="20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82" name="Freeform 24">
              <a:extLst>
                <a:ext uri="{FF2B5EF4-FFF2-40B4-BE49-F238E27FC236}">
                  <a16:creationId xmlns:a16="http://schemas.microsoft.com/office/drawing/2014/main" id="{D6D9BFC5-4489-42CF-BA57-DD3D4EBC93CA}"/>
                </a:ext>
              </a:extLst>
            </p:cNvPr>
            <p:cNvSpPr>
              <a:spLocks noChangeAspect="1" noEditPoints="1"/>
            </p:cNvSpPr>
            <p:nvPr/>
          </p:nvSpPr>
          <p:spPr bwMode="auto">
            <a:xfrm>
              <a:off x="1220646" y="2859424"/>
              <a:ext cx="457200" cy="457200"/>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700">
                <a:solidFill>
                  <a:schemeClr val="accent1"/>
                </a:solidFill>
              </a:endParaRPr>
            </a:p>
          </p:txBody>
        </p:sp>
        <p:sp>
          <p:nvSpPr>
            <p:cNvPr id="83" name="Freeform 125">
              <a:extLst>
                <a:ext uri="{FF2B5EF4-FFF2-40B4-BE49-F238E27FC236}">
                  <a16:creationId xmlns:a16="http://schemas.microsoft.com/office/drawing/2014/main" id="{81561A44-219F-406C-A3A6-15EDEB444B65}"/>
                </a:ext>
              </a:extLst>
            </p:cNvPr>
            <p:cNvSpPr>
              <a:spLocks noChangeAspect="1" noEditPoints="1"/>
            </p:cNvSpPr>
            <p:nvPr/>
          </p:nvSpPr>
          <p:spPr bwMode="auto">
            <a:xfrm>
              <a:off x="1198858" y="3557636"/>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229 w 576"/>
                <a:gd name="T11" fmla="*/ 475 h 576"/>
                <a:gd name="T12" fmla="*/ 139 w 576"/>
                <a:gd name="T13" fmla="*/ 355 h 576"/>
                <a:gd name="T14" fmla="*/ 128 w 576"/>
                <a:gd name="T15" fmla="*/ 349 h 576"/>
                <a:gd name="T16" fmla="*/ 118 w 576"/>
                <a:gd name="T17" fmla="*/ 372 h 576"/>
                <a:gd name="T18" fmla="*/ 79 w 576"/>
                <a:gd name="T19" fmla="*/ 304 h 576"/>
                <a:gd name="T20" fmla="*/ 156 w 576"/>
                <a:gd name="T21" fmla="*/ 280 h 576"/>
                <a:gd name="T22" fmla="*/ 146 w 576"/>
                <a:gd name="T23" fmla="*/ 302 h 576"/>
                <a:gd name="T24" fmla="*/ 159 w 576"/>
                <a:gd name="T25" fmla="*/ 307 h 576"/>
                <a:gd name="T26" fmla="*/ 276 w 576"/>
                <a:gd name="T27" fmla="*/ 444 h 576"/>
                <a:gd name="T28" fmla="*/ 262 w 576"/>
                <a:gd name="T29" fmla="*/ 552 h 576"/>
                <a:gd name="T30" fmla="*/ 242 w 576"/>
                <a:gd name="T31" fmla="*/ 552 h 576"/>
                <a:gd name="T32" fmla="*/ 229 w 576"/>
                <a:gd name="T33" fmla="*/ 475 h 576"/>
                <a:gd name="T34" fmla="*/ 242 w 576"/>
                <a:gd name="T35" fmla="*/ 166 h 576"/>
                <a:gd name="T36" fmla="*/ 287 w 576"/>
                <a:gd name="T37" fmla="*/ 104 h 576"/>
                <a:gd name="T38" fmla="*/ 332 w 576"/>
                <a:gd name="T39" fmla="*/ 166 h 576"/>
                <a:gd name="T40" fmla="*/ 309 w 576"/>
                <a:gd name="T41" fmla="*/ 166 h 576"/>
                <a:gd name="T42" fmla="*/ 309 w 576"/>
                <a:gd name="T43" fmla="*/ 371 h 576"/>
                <a:gd name="T44" fmla="*/ 289 w 576"/>
                <a:gd name="T45" fmla="*/ 409 h 576"/>
                <a:gd name="T46" fmla="*/ 265 w 576"/>
                <a:gd name="T47" fmla="*/ 364 h 576"/>
                <a:gd name="T48" fmla="*/ 265 w 576"/>
                <a:gd name="T49" fmla="*/ 166 h 576"/>
                <a:gd name="T50" fmla="*/ 242 w 576"/>
                <a:gd name="T51" fmla="*/ 166 h 576"/>
                <a:gd name="T52" fmla="*/ 423 w 576"/>
                <a:gd name="T53" fmla="*/ 280 h 576"/>
                <a:gd name="T54" fmla="*/ 500 w 576"/>
                <a:gd name="T55" fmla="*/ 304 h 576"/>
                <a:gd name="T56" fmla="*/ 461 w 576"/>
                <a:gd name="T57" fmla="*/ 372 h 576"/>
                <a:gd name="T58" fmla="*/ 451 w 576"/>
                <a:gd name="T59" fmla="*/ 349 h 576"/>
                <a:gd name="T60" fmla="*/ 440 w 576"/>
                <a:gd name="T61" fmla="*/ 355 h 576"/>
                <a:gd name="T62" fmla="*/ 350 w 576"/>
                <a:gd name="T63" fmla="*/ 475 h 576"/>
                <a:gd name="T64" fmla="*/ 337 w 576"/>
                <a:gd name="T65" fmla="*/ 552 h 576"/>
                <a:gd name="T66" fmla="*/ 286 w 576"/>
                <a:gd name="T67" fmla="*/ 552 h 576"/>
                <a:gd name="T68" fmla="*/ 420 w 576"/>
                <a:gd name="T69" fmla="*/ 307 h 576"/>
                <a:gd name="T70" fmla="*/ 433 w 576"/>
                <a:gd name="T71" fmla="*/ 302 h 576"/>
                <a:gd name="T72" fmla="*/ 423 w 576"/>
                <a:gd name="T73" fmla="*/ 280 h 576"/>
                <a:gd name="T74" fmla="*/ 551 w 576"/>
                <a:gd name="T75" fmla="*/ 552 h 576"/>
                <a:gd name="T76" fmla="*/ 362 w 576"/>
                <a:gd name="T77" fmla="*/ 552 h 576"/>
                <a:gd name="T78" fmla="*/ 440 w 576"/>
                <a:gd name="T79" fmla="*/ 383 h 576"/>
                <a:gd name="T80" fmla="*/ 459 w 576"/>
                <a:gd name="T81" fmla="*/ 426 h 576"/>
                <a:gd name="T82" fmla="*/ 536 w 576"/>
                <a:gd name="T83" fmla="*/ 290 h 576"/>
                <a:gd name="T84" fmla="*/ 380 w 576"/>
                <a:gd name="T85" fmla="*/ 240 h 576"/>
                <a:gd name="T86" fmla="*/ 400 w 576"/>
                <a:gd name="T87" fmla="*/ 289 h 576"/>
                <a:gd name="T88" fmla="*/ 334 w 576"/>
                <a:gd name="T89" fmla="*/ 339 h 576"/>
                <a:gd name="T90" fmla="*/ 334 w 576"/>
                <a:gd name="T91" fmla="*/ 190 h 576"/>
                <a:gd name="T92" fmla="*/ 379 w 576"/>
                <a:gd name="T93" fmla="*/ 190 h 576"/>
                <a:gd name="T94" fmla="*/ 288 w 576"/>
                <a:gd name="T95" fmla="*/ 62 h 576"/>
                <a:gd name="T96" fmla="*/ 194 w 576"/>
                <a:gd name="T97" fmla="*/ 190 h 576"/>
                <a:gd name="T98" fmla="*/ 240 w 576"/>
                <a:gd name="T99" fmla="*/ 190 h 576"/>
                <a:gd name="T100" fmla="*/ 240 w 576"/>
                <a:gd name="T101" fmla="*/ 334 h 576"/>
                <a:gd name="T102" fmla="*/ 179 w 576"/>
                <a:gd name="T103" fmla="*/ 289 h 576"/>
                <a:gd name="T104" fmla="*/ 199 w 576"/>
                <a:gd name="T105" fmla="*/ 240 h 576"/>
                <a:gd name="T106" fmla="*/ 43 w 576"/>
                <a:gd name="T107" fmla="*/ 290 h 576"/>
                <a:gd name="T108" fmla="*/ 120 w 576"/>
                <a:gd name="T109" fmla="*/ 426 h 576"/>
                <a:gd name="T110" fmla="*/ 139 w 576"/>
                <a:gd name="T111" fmla="*/ 383 h 576"/>
                <a:gd name="T112" fmla="*/ 217 w 576"/>
                <a:gd name="T113" fmla="*/ 552 h 576"/>
                <a:gd name="T114" fmla="*/ 25 w 576"/>
                <a:gd name="T115" fmla="*/ 552 h 576"/>
                <a:gd name="T116" fmla="*/ 25 w 576"/>
                <a:gd name="T117" fmla="*/ 25 h 576"/>
                <a:gd name="T118" fmla="*/ 551 w 576"/>
                <a:gd name="T119" fmla="*/ 25 h 576"/>
                <a:gd name="T120" fmla="*/ 551 w 576"/>
                <a:gd name="T121"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229" y="475"/>
                  </a:moveTo>
                  <a:cubicBezTo>
                    <a:pt x="213" y="418"/>
                    <a:pt x="182" y="376"/>
                    <a:pt x="139" y="355"/>
                  </a:cubicBezTo>
                  <a:cubicBezTo>
                    <a:pt x="128" y="349"/>
                    <a:pt x="128" y="349"/>
                    <a:pt x="128" y="349"/>
                  </a:cubicBezTo>
                  <a:cubicBezTo>
                    <a:pt x="118" y="372"/>
                    <a:pt x="118" y="372"/>
                    <a:pt x="118" y="372"/>
                  </a:cubicBezTo>
                  <a:cubicBezTo>
                    <a:pt x="79" y="304"/>
                    <a:pt x="79" y="304"/>
                    <a:pt x="79" y="304"/>
                  </a:cubicBezTo>
                  <a:cubicBezTo>
                    <a:pt x="156" y="280"/>
                    <a:pt x="156" y="280"/>
                    <a:pt x="156" y="280"/>
                  </a:cubicBezTo>
                  <a:cubicBezTo>
                    <a:pt x="146" y="302"/>
                    <a:pt x="146" y="302"/>
                    <a:pt x="146" y="302"/>
                  </a:cubicBezTo>
                  <a:cubicBezTo>
                    <a:pt x="159" y="307"/>
                    <a:pt x="159" y="307"/>
                    <a:pt x="159" y="307"/>
                  </a:cubicBezTo>
                  <a:cubicBezTo>
                    <a:pt x="159" y="307"/>
                    <a:pt x="241" y="336"/>
                    <a:pt x="276" y="444"/>
                  </a:cubicBezTo>
                  <a:cubicBezTo>
                    <a:pt x="267" y="474"/>
                    <a:pt x="262" y="510"/>
                    <a:pt x="262" y="552"/>
                  </a:cubicBezTo>
                  <a:cubicBezTo>
                    <a:pt x="242" y="552"/>
                    <a:pt x="242" y="552"/>
                    <a:pt x="242" y="552"/>
                  </a:cubicBezTo>
                  <a:cubicBezTo>
                    <a:pt x="241" y="542"/>
                    <a:pt x="240" y="511"/>
                    <a:pt x="229" y="475"/>
                  </a:cubicBezTo>
                  <a:close/>
                  <a:moveTo>
                    <a:pt x="242" y="166"/>
                  </a:moveTo>
                  <a:cubicBezTo>
                    <a:pt x="287" y="104"/>
                    <a:pt x="287" y="104"/>
                    <a:pt x="287" y="104"/>
                  </a:cubicBezTo>
                  <a:cubicBezTo>
                    <a:pt x="332" y="166"/>
                    <a:pt x="332" y="166"/>
                    <a:pt x="332" y="166"/>
                  </a:cubicBezTo>
                  <a:cubicBezTo>
                    <a:pt x="309" y="166"/>
                    <a:pt x="309" y="166"/>
                    <a:pt x="309" y="166"/>
                  </a:cubicBezTo>
                  <a:cubicBezTo>
                    <a:pt x="309" y="371"/>
                    <a:pt x="309" y="371"/>
                    <a:pt x="309" y="371"/>
                  </a:cubicBezTo>
                  <a:cubicBezTo>
                    <a:pt x="302" y="382"/>
                    <a:pt x="295" y="395"/>
                    <a:pt x="289" y="409"/>
                  </a:cubicBezTo>
                  <a:cubicBezTo>
                    <a:pt x="282" y="392"/>
                    <a:pt x="274" y="377"/>
                    <a:pt x="265" y="364"/>
                  </a:cubicBezTo>
                  <a:cubicBezTo>
                    <a:pt x="265" y="166"/>
                    <a:pt x="265" y="166"/>
                    <a:pt x="265" y="166"/>
                  </a:cubicBezTo>
                  <a:lnTo>
                    <a:pt x="242" y="166"/>
                  </a:lnTo>
                  <a:close/>
                  <a:moveTo>
                    <a:pt x="423" y="280"/>
                  </a:moveTo>
                  <a:cubicBezTo>
                    <a:pt x="500" y="304"/>
                    <a:pt x="500" y="304"/>
                    <a:pt x="500" y="304"/>
                  </a:cubicBezTo>
                  <a:cubicBezTo>
                    <a:pt x="461" y="372"/>
                    <a:pt x="461" y="372"/>
                    <a:pt x="461" y="372"/>
                  </a:cubicBezTo>
                  <a:cubicBezTo>
                    <a:pt x="451" y="349"/>
                    <a:pt x="451" y="349"/>
                    <a:pt x="451" y="349"/>
                  </a:cubicBezTo>
                  <a:cubicBezTo>
                    <a:pt x="440" y="355"/>
                    <a:pt x="440" y="355"/>
                    <a:pt x="440" y="355"/>
                  </a:cubicBezTo>
                  <a:cubicBezTo>
                    <a:pt x="397" y="376"/>
                    <a:pt x="366" y="418"/>
                    <a:pt x="350" y="475"/>
                  </a:cubicBezTo>
                  <a:cubicBezTo>
                    <a:pt x="339" y="511"/>
                    <a:pt x="338" y="542"/>
                    <a:pt x="337" y="552"/>
                  </a:cubicBezTo>
                  <a:cubicBezTo>
                    <a:pt x="286" y="552"/>
                    <a:pt x="286" y="552"/>
                    <a:pt x="286" y="552"/>
                  </a:cubicBezTo>
                  <a:cubicBezTo>
                    <a:pt x="287" y="355"/>
                    <a:pt x="415" y="309"/>
                    <a:pt x="420" y="307"/>
                  </a:cubicBezTo>
                  <a:cubicBezTo>
                    <a:pt x="433" y="302"/>
                    <a:pt x="433" y="302"/>
                    <a:pt x="433" y="302"/>
                  </a:cubicBezTo>
                  <a:lnTo>
                    <a:pt x="423" y="280"/>
                  </a:lnTo>
                  <a:close/>
                  <a:moveTo>
                    <a:pt x="551" y="552"/>
                  </a:moveTo>
                  <a:cubicBezTo>
                    <a:pt x="362" y="552"/>
                    <a:pt x="362" y="552"/>
                    <a:pt x="362" y="552"/>
                  </a:cubicBezTo>
                  <a:cubicBezTo>
                    <a:pt x="363" y="533"/>
                    <a:pt x="370" y="428"/>
                    <a:pt x="440" y="383"/>
                  </a:cubicBezTo>
                  <a:cubicBezTo>
                    <a:pt x="459" y="426"/>
                    <a:pt x="459" y="426"/>
                    <a:pt x="459" y="426"/>
                  </a:cubicBezTo>
                  <a:cubicBezTo>
                    <a:pt x="536" y="290"/>
                    <a:pt x="536" y="290"/>
                    <a:pt x="536" y="290"/>
                  </a:cubicBezTo>
                  <a:cubicBezTo>
                    <a:pt x="380" y="240"/>
                    <a:pt x="380" y="240"/>
                    <a:pt x="380" y="240"/>
                  </a:cubicBezTo>
                  <a:cubicBezTo>
                    <a:pt x="400" y="289"/>
                    <a:pt x="400" y="289"/>
                    <a:pt x="400" y="289"/>
                  </a:cubicBezTo>
                  <a:cubicBezTo>
                    <a:pt x="385" y="296"/>
                    <a:pt x="360" y="311"/>
                    <a:pt x="334" y="339"/>
                  </a:cubicBezTo>
                  <a:cubicBezTo>
                    <a:pt x="334" y="190"/>
                    <a:pt x="334" y="190"/>
                    <a:pt x="334" y="190"/>
                  </a:cubicBezTo>
                  <a:cubicBezTo>
                    <a:pt x="379" y="190"/>
                    <a:pt x="379" y="190"/>
                    <a:pt x="379" y="190"/>
                  </a:cubicBezTo>
                  <a:cubicBezTo>
                    <a:pt x="288" y="62"/>
                    <a:pt x="288" y="62"/>
                    <a:pt x="288" y="62"/>
                  </a:cubicBezTo>
                  <a:cubicBezTo>
                    <a:pt x="194" y="190"/>
                    <a:pt x="194" y="190"/>
                    <a:pt x="194" y="190"/>
                  </a:cubicBezTo>
                  <a:cubicBezTo>
                    <a:pt x="240" y="190"/>
                    <a:pt x="240" y="190"/>
                    <a:pt x="240" y="190"/>
                  </a:cubicBezTo>
                  <a:cubicBezTo>
                    <a:pt x="240" y="334"/>
                    <a:pt x="240" y="334"/>
                    <a:pt x="240" y="334"/>
                  </a:cubicBezTo>
                  <a:cubicBezTo>
                    <a:pt x="216" y="309"/>
                    <a:pt x="193" y="295"/>
                    <a:pt x="179" y="289"/>
                  </a:cubicBezTo>
                  <a:cubicBezTo>
                    <a:pt x="199" y="240"/>
                    <a:pt x="199" y="240"/>
                    <a:pt x="199" y="240"/>
                  </a:cubicBezTo>
                  <a:cubicBezTo>
                    <a:pt x="43" y="290"/>
                    <a:pt x="43" y="290"/>
                    <a:pt x="43" y="290"/>
                  </a:cubicBezTo>
                  <a:cubicBezTo>
                    <a:pt x="120" y="426"/>
                    <a:pt x="120" y="426"/>
                    <a:pt x="120" y="426"/>
                  </a:cubicBezTo>
                  <a:cubicBezTo>
                    <a:pt x="139" y="383"/>
                    <a:pt x="139" y="383"/>
                    <a:pt x="139" y="383"/>
                  </a:cubicBezTo>
                  <a:cubicBezTo>
                    <a:pt x="209" y="428"/>
                    <a:pt x="216" y="533"/>
                    <a:pt x="217" y="552"/>
                  </a:cubicBezTo>
                  <a:cubicBezTo>
                    <a:pt x="25" y="552"/>
                    <a:pt x="25" y="552"/>
                    <a:pt x="25" y="552"/>
                  </a:cubicBezTo>
                  <a:cubicBezTo>
                    <a:pt x="25" y="25"/>
                    <a:pt x="25" y="25"/>
                    <a:pt x="25" y="25"/>
                  </a:cubicBezTo>
                  <a:cubicBezTo>
                    <a:pt x="551" y="25"/>
                    <a:pt x="551" y="25"/>
                    <a:pt x="551" y="25"/>
                  </a:cubicBezTo>
                  <a:lnTo>
                    <a:pt x="551" y="5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b="1">
                <a:solidFill>
                  <a:schemeClr val="accent1"/>
                </a:solidFill>
              </a:endParaRPr>
            </a:p>
          </p:txBody>
        </p:sp>
        <p:sp>
          <p:nvSpPr>
            <p:cNvPr id="84" name="Freeform 93">
              <a:extLst>
                <a:ext uri="{FF2B5EF4-FFF2-40B4-BE49-F238E27FC236}">
                  <a16:creationId xmlns:a16="http://schemas.microsoft.com/office/drawing/2014/main" id="{31B19395-B43D-4AC5-8C8F-809268DCD3F5}"/>
                </a:ext>
              </a:extLst>
            </p:cNvPr>
            <p:cNvSpPr>
              <a:spLocks noChangeAspect="1" noEditPoints="1"/>
            </p:cNvSpPr>
            <p:nvPr/>
          </p:nvSpPr>
          <p:spPr bwMode="auto">
            <a:xfrm>
              <a:off x="1198858" y="4255848"/>
              <a:ext cx="456553" cy="457200"/>
            </a:xfrm>
            <a:custGeom>
              <a:avLst/>
              <a:gdLst>
                <a:gd name="T0" fmla="*/ 577 w 577"/>
                <a:gd name="T1" fmla="*/ 0 h 576"/>
                <a:gd name="T2" fmla="*/ 277 w 577"/>
                <a:gd name="T3" fmla="*/ 552 h 576"/>
                <a:gd name="T4" fmla="*/ 203 w 577"/>
                <a:gd name="T5" fmla="*/ 416 h 576"/>
                <a:gd name="T6" fmla="*/ 288 w 577"/>
                <a:gd name="T7" fmla="*/ 312 h 576"/>
                <a:gd name="T8" fmla="*/ 319 w 577"/>
                <a:gd name="T9" fmla="*/ 274 h 576"/>
                <a:gd name="T10" fmla="*/ 279 w 577"/>
                <a:gd name="T11" fmla="*/ 283 h 576"/>
                <a:gd name="T12" fmla="*/ 24 w 577"/>
                <a:gd name="T13" fmla="*/ 23 h 576"/>
                <a:gd name="T14" fmla="*/ 300 w 577"/>
                <a:gd name="T15" fmla="*/ 26 h 576"/>
                <a:gd name="T16" fmla="*/ 545 w 577"/>
                <a:gd name="T17" fmla="*/ 170 h 576"/>
                <a:gd name="T18" fmla="*/ 553 w 577"/>
                <a:gd name="T19" fmla="*/ 234 h 576"/>
                <a:gd name="T20" fmla="*/ 553 w 577"/>
                <a:gd name="T21" fmla="*/ 306 h 576"/>
                <a:gd name="T22" fmla="*/ 542 w 577"/>
                <a:gd name="T23" fmla="*/ 322 h 576"/>
                <a:gd name="T24" fmla="*/ 553 w 577"/>
                <a:gd name="T25" fmla="*/ 552 h 576"/>
                <a:gd name="T26" fmla="*/ 276 w 577"/>
                <a:gd name="T27" fmla="*/ 59 h 576"/>
                <a:gd name="T28" fmla="*/ 288 w 577"/>
                <a:gd name="T29" fmla="*/ 469 h 576"/>
                <a:gd name="T30" fmla="*/ 300 w 577"/>
                <a:gd name="T31" fmla="*/ 523 h 576"/>
                <a:gd name="T32" fmla="*/ 300 w 577"/>
                <a:gd name="T33" fmla="*/ 523 h 576"/>
                <a:gd name="T34" fmla="*/ 288 w 577"/>
                <a:gd name="T35" fmla="*/ 478 h 576"/>
                <a:gd name="T36" fmla="*/ 276 w 577"/>
                <a:gd name="T37" fmla="*/ 357 h 576"/>
                <a:gd name="T38" fmla="*/ 288 w 577"/>
                <a:gd name="T39" fmla="*/ 402 h 576"/>
                <a:gd name="T40" fmla="*/ 300 w 577"/>
                <a:gd name="T41" fmla="*/ 423 h 576"/>
                <a:gd name="T42" fmla="*/ 300 w 577"/>
                <a:gd name="T43" fmla="*/ 423 h 576"/>
                <a:gd name="T44" fmla="*/ 288 w 577"/>
                <a:gd name="T45" fmla="*/ 113 h 576"/>
                <a:gd name="T46" fmla="*/ 276 w 577"/>
                <a:gd name="T47" fmla="*/ 192 h 576"/>
                <a:gd name="T48" fmla="*/ 288 w 577"/>
                <a:gd name="T49" fmla="*/ 237 h 576"/>
                <a:gd name="T50" fmla="*/ 300 w 577"/>
                <a:gd name="T51" fmla="*/ 159 h 576"/>
                <a:gd name="T52" fmla="*/ 300 w 577"/>
                <a:gd name="T53" fmla="*/ 159 h 576"/>
                <a:gd name="T54" fmla="*/ 288 w 577"/>
                <a:gd name="T55" fmla="*/ 246 h 576"/>
                <a:gd name="T56" fmla="*/ 276 w 577"/>
                <a:gd name="T57" fmla="*/ 92 h 576"/>
                <a:gd name="T58" fmla="*/ 521 w 577"/>
                <a:gd name="T59" fmla="*/ 172 h 576"/>
                <a:gd name="T60" fmla="*/ 511 w 577"/>
                <a:gd name="T61" fmla="*/ 186 h 576"/>
                <a:gd name="T62" fmla="*/ 494 w 577"/>
                <a:gd name="T63" fmla="*/ 201 h 576"/>
                <a:gd name="T64" fmla="*/ 460 w 577"/>
                <a:gd name="T65" fmla="*/ 182 h 576"/>
                <a:gd name="T66" fmla="*/ 450 w 577"/>
                <a:gd name="T67" fmla="*/ 196 h 576"/>
                <a:gd name="T68" fmla="*/ 403 w 577"/>
                <a:gd name="T69" fmla="*/ 217 h 576"/>
                <a:gd name="T70" fmla="*/ 429 w 577"/>
                <a:gd name="T71" fmla="*/ 188 h 576"/>
                <a:gd name="T72" fmla="*/ 419 w 577"/>
                <a:gd name="T73" fmla="*/ 202 h 576"/>
                <a:gd name="T74" fmla="*/ 372 w 577"/>
                <a:gd name="T75" fmla="*/ 222 h 576"/>
                <a:gd name="T76" fmla="*/ 355 w 577"/>
                <a:gd name="T77" fmla="*/ 220 h 576"/>
                <a:gd name="T78" fmla="*/ 339 w 577"/>
                <a:gd name="T79" fmla="*/ 222 h 576"/>
                <a:gd name="T80" fmla="*/ 322 w 577"/>
                <a:gd name="T81" fmla="*/ 246 h 576"/>
                <a:gd name="T82" fmla="*/ 331 w 577"/>
                <a:gd name="T83" fmla="*/ 267 h 576"/>
                <a:gd name="T84" fmla="*/ 351 w 577"/>
                <a:gd name="T85" fmla="*/ 323 h 576"/>
                <a:gd name="T86" fmla="*/ 458 w 577"/>
                <a:gd name="T87" fmla="*/ 336 h 576"/>
                <a:gd name="T88" fmla="*/ 469 w 577"/>
                <a:gd name="T89" fmla="*/ 323 h 576"/>
                <a:gd name="T90" fmla="*/ 413 w 577"/>
                <a:gd name="T91" fmla="*/ 327 h 576"/>
                <a:gd name="T92" fmla="*/ 490 w 577"/>
                <a:gd name="T93" fmla="*/ 334 h 576"/>
                <a:gd name="T94" fmla="*/ 501 w 577"/>
                <a:gd name="T95" fmla="*/ 321 h 576"/>
                <a:gd name="T96" fmla="*/ 381 w 577"/>
                <a:gd name="T97" fmla="*/ 329 h 576"/>
                <a:gd name="T98" fmla="*/ 522 w 577"/>
                <a:gd name="T99" fmla="*/ 332 h 576"/>
                <a:gd name="T100" fmla="*/ 533 w 577"/>
                <a:gd name="T101" fmla="*/ 319 h 576"/>
                <a:gd name="T102" fmla="*/ 335 w 577"/>
                <a:gd name="T103" fmla="*/ 323 h 576"/>
                <a:gd name="T104" fmla="*/ 323 w 577"/>
                <a:gd name="T105" fmla="*/ 313 h 576"/>
                <a:gd name="T106" fmla="*/ 325 w 577"/>
                <a:gd name="T107" fmla="*/ 304 h 576"/>
                <a:gd name="T108" fmla="*/ 514 w 577"/>
                <a:gd name="T109" fmla="*/ 240 h 576"/>
                <a:gd name="T110" fmla="*/ 395 w 577"/>
                <a:gd name="T111" fmla="*/ 261 h 576"/>
                <a:gd name="T112" fmla="*/ 395 w 577"/>
                <a:gd name="T113" fmla="*/ 261 h 576"/>
                <a:gd name="T114" fmla="*/ 334 w 577"/>
                <a:gd name="T115" fmla="*/ 29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7" h="576">
                  <a:moveTo>
                    <a:pt x="0" y="0"/>
                  </a:moveTo>
                  <a:cubicBezTo>
                    <a:pt x="0" y="576"/>
                    <a:pt x="0" y="576"/>
                    <a:pt x="0" y="576"/>
                  </a:cubicBezTo>
                  <a:cubicBezTo>
                    <a:pt x="577" y="576"/>
                    <a:pt x="577" y="576"/>
                    <a:pt x="577" y="576"/>
                  </a:cubicBezTo>
                  <a:cubicBezTo>
                    <a:pt x="577" y="0"/>
                    <a:pt x="577" y="0"/>
                    <a:pt x="577" y="0"/>
                  </a:cubicBezTo>
                  <a:lnTo>
                    <a:pt x="0" y="0"/>
                  </a:lnTo>
                  <a:close/>
                  <a:moveTo>
                    <a:pt x="300" y="552"/>
                  </a:moveTo>
                  <a:cubicBezTo>
                    <a:pt x="298" y="547"/>
                    <a:pt x="294" y="544"/>
                    <a:pt x="288" y="544"/>
                  </a:cubicBezTo>
                  <a:cubicBezTo>
                    <a:pt x="283" y="544"/>
                    <a:pt x="279" y="547"/>
                    <a:pt x="277" y="552"/>
                  </a:cubicBezTo>
                  <a:cubicBezTo>
                    <a:pt x="24" y="552"/>
                    <a:pt x="24" y="552"/>
                    <a:pt x="24" y="552"/>
                  </a:cubicBezTo>
                  <a:cubicBezTo>
                    <a:pt x="24" y="513"/>
                    <a:pt x="24" y="513"/>
                    <a:pt x="24" y="513"/>
                  </a:cubicBezTo>
                  <a:cubicBezTo>
                    <a:pt x="156" y="362"/>
                    <a:pt x="156" y="362"/>
                    <a:pt x="156" y="362"/>
                  </a:cubicBezTo>
                  <a:cubicBezTo>
                    <a:pt x="203" y="416"/>
                    <a:pt x="203" y="416"/>
                    <a:pt x="203" y="416"/>
                  </a:cubicBezTo>
                  <a:cubicBezTo>
                    <a:pt x="277" y="325"/>
                    <a:pt x="277" y="325"/>
                    <a:pt x="277" y="325"/>
                  </a:cubicBezTo>
                  <a:cubicBezTo>
                    <a:pt x="277" y="331"/>
                    <a:pt x="282" y="336"/>
                    <a:pt x="288" y="336"/>
                  </a:cubicBezTo>
                  <a:cubicBezTo>
                    <a:pt x="295" y="336"/>
                    <a:pt x="300" y="331"/>
                    <a:pt x="300" y="324"/>
                  </a:cubicBezTo>
                  <a:cubicBezTo>
                    <a:pt x="300" y="317"/>
                    <a:pt x="295" y="312"/>
                    <a:pt x="288" y="312"/>
                  </a:cubicBezTo>
                  <a:cubicBezTo>
                    <a:pt x="288" y="312"/>
                    <a:pt x="287" y="312"/>
                    <a:pt x="287" y="312"/>
                  </a:cubicBezTo>
                  <a:cubicBezTo>
                    <a:pt x="295" y="302"/>
                    <a:pt x="295" y="302"/>
                    <a:pt x="295" y="302"/>
                  </a:cubicBezTo>
                  <a:cubicBezTo>
                    <a:pt x="323" y="297"/>
                    <a:pt x="323" y="297"/>
                    <a:pt x="323" y="297"/>
                  </a:cubicBezTo>
                  <a:cubicBezTo>
                    <a:pt x="319" y="274"/>
                    <a:pt x="319" y="274"/>
                    <a:pt x="319" y="274"/>
                  </a:cubicBezTo>
                  <a:cubicBezTo>
                    <a:pt x="286" y="279"/>
                    <a:pt x="286" y="279"/>
                    <a:pt x="286" y="279"/>
                  </a:cubicBezTo>
                  <a:cubicBezTo>
                    <a:pt x="286" y="279"/>
                    <a:pt x="286" y="279"/>
                    <a:pt x="286" y="279"/>
                  </a:cubicBezTo>
                  <a:cubicBezTo>
                    <a:pt x="284" y="280"/>
                    <a:pt x="281" y="281"/>
                    <a:pt x="279" y="283"/>
                  </a:cubicBezTo>
                  <a:cubicBezTo>
                    <a:pt x="279" y="283"/>
                    <a:pt x="279" y="283"/>
                    <a:pt x="279" y="283"/>
                  </a:cubicBezTo>
                  <a:cubicBezTo>
                    <a:pt x="202" y="378"/>
                    <a:pt x="202" y="378"/>
                    <a:pt x="202" y="378"/>
                  </a:cubicBezTo>
                  <a:cubicBezTo>
                    <a:pt x="156" y="326"/>
                    <a:pt x="156" y="326"/>
                    <a:pt x="156" y="326"/>
                  </a:cubicBezTo>
                  <a:cubicBezTo>
                    <a:pt x="24" y="477"/>
                    <a:pt x="24" y="477"/>
                    <a:pt x="24" y="477"/>
                  </a:cubicBezTo>
                  <a:cubicBezTo>
                    <a:pt x="24" y="23"/>
                    <a:pt x="24" y="23"/>
                    <a:pt x="24" y="23"/>
                  </a:cubicBezTo>
                  <a:cubicBezTo>
                    <a:pt x="277" y="23"/>
                    <a:pt x="277" y="23"/>
                    <a:pt x="277" y="23"/>
                  </a:cubicBezTo>
                  <a:cubicBezTo>
                    <a:pt x="277" y="24"/>
                    <a:pt x="276" y="25"/>
                    <a:pt x="276" y="26"/>
                  </a:cubicBezTo>
                  <a:cubicBezTo>
                    <a:pt x="276" y="33"/>
                    <a:pt x="282" y="38"/>
                    <a:pt x="288" y="38"/>
                  </a:cubicBezTo>
                  <a:cubicBezTo>
                    <a:pt x="295" y="38"/>
                    <a:pt x="300" y="33"/>
                    <a:pt x="300" y="26"/>
                  </a:cubicBezTo>
                  <a:cubicBezTo>
                    <a:pt x="300" y="25"/>
                    <a:pt x="300" y="24"/>
                    <a:pt x="300" y="23"/>
                  </a:cubicBezTo>
                  <a:cubicBezTo>
                    <a:pt x="553" y="23"/>
                    <a:pt x="553" y="23"/>
                    <a:pt x="553" y="23"/>
                  </a:cubicBezTo>
                  <a:cubicBezTo>
                    <a:pt x="553" y="167"/>
                    <a:pt x="553" y="167"/>
                    <a:pt x="553" y="167"/>
                  </a:cubicBezTo>
                  <a:cubicBezTo>
                    <a:pt x="550" y="167"/>
                    <a:pt x="547" y="168"/>
                    <a:pt x="545" y="170"/>
                  </a:cubicBezTo>
                  <a:cubicBezTo>
                    <a:pt x="543" y="172"/>
                    <a:pt x="541" y="175"/>
                    <a:pt x="541" y="178"/>
                  </a:cubicBezTo>
                  <a:cubicBezTo>
                    <a:pt x="541" y="182"/>
                    <a:pt x="543" y="185"/>
                    <a:pt x="545" y="187"/>
                  </a:cubicBezTo>
                  <a:cubicBezTo>
                    <a:pt x="547" y="189"/>
                    <a:pt x="550" y="190"/>
                    <a:pt x="553" y="190"/>
                  </a:cubicBezTo>
                  <a:cubicBezTo>
                    <a:pt x="553" y="234"/>
                    <a:pt x="553" y="234"/>
                    <a:pt x="553" y="234"/>
                  </a:cubicBezTo>
                  <a:cubicBezTo>
                    <a:pt x="525" y="238"/>
                    <a:pt x="525" y="238"/>
                    <a:pt x="525" y="238"/>
                  </a:cubicBezTo>
                  <a:cubicBezTo>
                    <a:pt x="529" y="262"/>
                    <a:pt x="529" y="262"/>
                    <a:pt x="529" y="262"/>
                  </a:cubicBezTo>
                  <a:cubicBezTo>
                    <a:pt x="553" y="258"/>
                    <a:pt x="553" y="258"/>
                    <a:pt x="553" y="258"/>
                  </a:cubicBezTo>
                  <a:cubicBezTo>
                    <a:pt x="553" y="306"/>
                    <a:pt x="553" y="306"/>
                    <a:pt x="553" y="306"/>
                  </a:cubicBezTo>
                  <a:cubicBezTo>
                    <a:pt x="550" y="306"/>
                    <a:pt x="547" y="307"/>
                    <a:pt x="545" y="309"/>
                  </a:cubicBezTo>
                  <a:cubicBezTo>
                    <a:pt x="543" y="311"/>
                    <a:pt x="541" y="314"/>
                    <a:pt x="541" y="317"/>
                  </a:cubicBezTo>
                  <a:cubicBezTo>
                    <a:pt x="541" y="318"/>
                    <a:pt x="541" y="319"/>
                    <a:pt x="542" y="320"/>
                  </a:cubicBezTo>
                  <a:cubicBezTo>
                    <a:pt x="542" y="321"/>
                    <a:pt x="542" y="321"/>
                    <a:pt x="542" y="322"/>
                  </a:cubicBezTo>
                  <a:cubicBezTo>
                    <a:pt x="543" y="323"/>
                    <a:pt x="543" y="323"/>
                    <a:pt x="543" y="324"/>
                  </a:cubicBezTo>
                  <a:cubicBezTo>
                    <a:pt x="544" y="325"/>
                    <a:pt x="544" y="325"/>
                    <a:pt x="545" y="326"/>
                  </a:cubicBezTo>
                  <a:cubicBezTo>
                    <a:pt x="547" y="328"/>
                    <a:pt x="550" y="329"/>
                    <a:pt x="553" y="329"/>
                  </a:cubicBezTo>
                  <a:cubicBezTo>
                    <a:pt x="553" y="552"/>
                    <a:pt x="553" y="552"/>
                    <a:pt x="553" y="552"/>
                  </a:cubicBezTo>
                  <a:lnTo>
                    <a:pt x="300" y="552"/>
                  </a:lnTo>
                  <a:close/>
                  <a:moveTo>
                    <a:pt x="300" y="59"/>
                  </a:moveTo>
                  <a:cubicBezTo>
                    <a:pt x="300" y="66"/>
                    <a:pt x="295" y="71"/>
                    <a:pt x="288" y="71"/>
                  </a:cubicBezTo>
                  <a:cubicBezTo>
                    <a:pt x="282" y="71"/>
                    <a:pt x="276" y="66"/>
                    <a:pt x="276" y="59"/>
                  </a:cubicBezTo>
                  <a:cubicBezTo>
                    <a:pt x="276" y="53"/>
                    <a:pt x="282" y="47"/>
                    <a:pt x="288" y="47"/>
                  </a:cubicBezTo>
                  <a:cubicBezTo>
                    <a:pt x="295" y="47"/>
                    <a:pt x="300" y="53"/>
                    <a:pt x="300" y="59"/>
                  </a:cubicBezTo>
                  <a:close/>
                  <a:moveTo>
                    <a:pt x="300" y="457"/>
                  </a:moveTo>
                  <a:cubicBezTo>
                    <a:pt x="300" y="463"/>
                    <a:pt x="295" y="469"/>
                    <a:pt x="288" y="469"/>
                  </a:cubicBezTo>
                  <a:cubicBezTo>
                    <a:pt x="282" y="469"/>
                    <a:pt x="276" y="463"/>
                    <a:pt x="276" y="457"/>
                  </a:cubicBezTo>
                  <a:cubicBezTo>
                    <a:pt x="276" y="450"/>
                    <a:pt x="282" y="445"/>
                    <a:pt x="288" y="445"/>
                  </a:cubicBezTo>
                  <a:cubicBezTo>
                    <a:pt x="295" y="445"/>
                    <a:pt x="300" y="450"/>
                    <a:pt x="300" y="457"/>
                  </a:cubicBezTo>
                  <a:close/>
                  <a:moveTo>
                    <a:pt x="300" y="523"/>
                  </a:moveTo>
                  <a:cubicBezTo>
                    <a:pt x="300" y="529"/>
                    <a:pt x="295" y="535"/>
                    <a:pt x="288" y="535"/>
                  </a:cubicBezTo>
                  <a:cubicBezTo>
                    <a:pt x="282" y="535"/>
                    <a:pt x="276" y="529"/>
                    <a:pt x="276" y="523"/>
                  </a:cubicBezTo>
                  <a:cubicBezTo>
                    <a:pt x="276" y="516"/>
                    <a:pt x="282" y="511"/>
                    <a:pt x="288" y="511"/>
                  </a:cubicBezTo>
                  <a:cubicBezTo>
                    <a:pt x="295" y="511"/>
                    <a:pt x="300" y="516"/>
                    <a:pt x="300" y="523"/>
                  </a:cubicBezTo>
                  <a:close/>
                  <a:moveTo>
                    <a:pt x="300" y="490"/>
                  </a:moveTo>
                  <a:cubicBezTo>
                    <a:pt x="300" y="496"/>
                    <a:pt x="295" y="502"/>
                    <a:pt x="288" y="502"/>
                  </a:cubicBezTo>
                  <a:cubicBezTo>
                    <a:pt x="282" y="502"/>
                    <a:pt x="276" y="496"/>
                    <a:pt x="276" y="490"/>
                  </a:cubicBezTo>
                  <a:cubicBezTo>
                    <a:pt x="276" y="483"/>
                    <a:pt x="282" y="478"/>
                    <a:pt x="288" y="478"/>
                  </a:cubicBezTo>
                  <a:cubicBezTo>
                    <a:pt x="295" y="478"/>
                    <a:pt x="300" y="483"/>
                    <a:pt x="300" y="490"/>
                  </a:cubicBezTo>
                  <a:close/>
                  <a:moveTo>
                    <a:pt x="300" y="357"/>
                  </a:moveTo>
                  <a:cubicBezTo>
                    <a:pt x="300" y="364"/>
                    <a:pt x="295" y="369"/>
                    <a:pt x="288" y="369"/>
                  </a:cubicBezTo>
                  <a:cubicBezTo>
                    <a:pt x="282" y="369"/>
                    <a:pt x="276" y="364"/>
                    <a:pt x="276" y="357"/>
                  </a:cubicBezTo>
                  <a:cubicBezTo>
                    <a:pt x="276" y="351"/>
                    <a:pt x="282" y="345"/>
                    <a:pt x="288" y="345"/>
                  </a:cubicBezTo>
                  <a:cubicBezTo>
                    <a:pt x="295" y="345"/>
                    <a:pt x="300" y="351"/>
                    <a:pt x="300" y="357"/>
                  </a:cubicBezTo>
                  <a:close/>
                  <a:moveTo>
                    <a:pt x="300" y="390"/>
                  </a:moveTo>
                  <a:cubicBezTo>
                    <a:pt x="300" y="397"/>
                    <a:pt x="295" y="402"/>
                    <a:pt x="288" y="402"/>
                  </a:cubicBezTo>
                  <a:cubicBezTo>
                    <a:pt x="282" y="402"/>
                    <a:pt x="276" y="397"/>
                    <a:pt x="276" y="390"/>
                  </a:cubicBezTo>
                  <a:cubicBezTo>
                    <a:pt x="276" y="384"/>
                    <a:pt x="282" y="378"/>
                    <a:pt x="288" y="378"/>
                  </a:cubicBezTo>
                  <a:cubicBezTo>
                    <a:pt x="295" y="378"/>
                    <a:pt x="300" y="384"/>
                    <a:pt x="300" y="390"/>
                  </a:cubicBezTo>
                  <a:close/>
                  <a:moveTo>
                    <a:pt x="300" y="423"/>
                  </a:moveTo>
                  <a:cubicBezTo>
                    <a:pt x="300" y="430"/>
                    <a:pt x="295" y="435"/>
                    <a:pt x="288" y="435"/>
                  </a:cubicBezTo>
                  <a:cubicBezTo>
                    <a:pt x="282" y="435"/>
                    <a:pt x="276" y="430"/>
                    <a:pt x="276" y="423"/>
                  </a:cubicBezTo>
                  <a:cubicBezTo>
                    <a:pt x="276" y="417"/>
                    <a:pt x="282" y="411"/>
                    <a:pt x="288" y="411"/>
                  </a:cubicBezTo>
                  <a:cubicBezTo>
                    <a:pt x="295" y="411"/>
                    <a:pt x="300" y="417"/>
                    <a:pt x="300" y="423"/>
                  </a:cubicBezTo>
                  <a:close/>
                  <a:moveTo>
                    <a:pt x="300" y="125"/>
                  </a:moveTo>
                  <a:cubicBezTo>
                    <a:pt x="300" y="132"/>
                    <a:pt x="295" y="137"/>
                    <a:pt x="288" y="137"/>
                  </a:cubicBezTo>
                  <a:cubicBezTo>
                    <a:pt x="282" y="137"/>
                    <a:pt x="276" y="132"/>
                    <a:pt x="276" y="125"/>
                  </a:cubicBezTo>
                  <a:cubicBezTo>
                    <a:pt x="276" y="119"/>
                    <a:pt x="282" y="113"/>
                    <a:pt x="288" y="113"/>
                  </a:cubicBezTo>
                  <a:cubicBezTo>
                    <a:pt x="295" y="113"/>
                    <a:pt x="300" y="119"/>
                    <a:pt x="300" y="125"/>
                  </a:cubicBezTo>
                  <a:close/>
                  <a:moveTo>
                    <a:pt x="300" y="192"/>
                  </a:moveTo>
                  <a:cubicBezTo>
                    <a:pt x="300" y="198"/>
                    <a:pt x="295" y="204"/>
                    <a:pt x="288" y="204"/>
                  </a:cubicBezTo>
                  <a:cubicBezTo>
                    <a:pt x="282" y="204"/>
                    <a:pt x="276" y="198"/>
                    <a:pt x="276" y="192"/>
                  </a:cubicBezTo>
                  <a:cubicBezTo>
                    <a:pt x="276" y="185"/>
                    <a:pt x="282" y="180"/>
                    <a:pt x="288" y="180"/>
                  </a:cubicBezTo>
                  <a:cubicBezTo>
                    <a:pt x="295" y="180"/>
                    <a:pt x="300" y="185"/>
                    <a:pt x="300" y="192"/>
                  </a:cubicBezTo>
                  <a:close/>
                  <a:moveTo>
                    <a:pt x="300" y="225"/>
                  </a:moveTo>
                  <a:cubicBezTo>
                    <a:pt x="300" y="231"/>
                    <a:pt x="295" y="237"/>
                    <a:pt x="288" y="237"/>
                  </a:cubicBezTo>
                  <a:cubicBezTo>
                    <a:pt x="282" y="237"/>
                    <a:pt x="276" y="231"/>
                    <a:pt x="276" y="225"/>
                  </a:cubicBezTo>
                  <a:cubicBezTo>
                    <a:pt x="276" y="218"/>
                    <a:pt x="282" y="213"/>
                    <a:pt x="288" y="213"/>
                  </a:cubicBezTo>
                  <a:cubicBezTo>
                    <a:pt x="295" y="213"/>
                    <a:pt x="300" y="218"/>
                    <a:pt x="300" y="225"/>
                  </a:cubicBezTo>
                  <a:close/>
                  <a:moveTo>
                    <a:pt x="300" y="159"/>
                  </a:moveTo>
                  <a:cubicBezTo>
                    <a:pt x="300" y="165"/>
                    <a:pt x="295" y="171"/>
                    <a:pt x="288" y="171"/>
                  </a:cubicBezTo>
                  <a:cubicBezTo>
                    <a:pt x="282" y="171"/>
                    <a:pt x="276" y="165"/>
                    <a:pt x="276" y="159"/>
                  </a:cubicBezTo>
                  <a:cubicBezTo>
                    <a:pt x="276" y="152"/>
                    <a:pt x="282" y="147"/>
                    <a:pt x="288" y="147"/>
                  </a:cubicBezTo>
                  <a:cubicBezTo>
                    <a:pt x="295" y="147"/>
                    <a:pt x="300" y="152"/>
                    <a:pt x="300" y="159"/>
                  </a:cubicBezTo>
                  <a:close/>
                  <a:moveTo>
                    <a:pt x="300" y="258"/>
                  </a:moveTo>
                  <a:cubicBezTo>
                    <a:pt x="300" y="265"/>
                    <a:pt x="295" y="270"/>
                    <a:pt x="288" y="270"/>
                  </a:cubicBezTo>
                  <a:cubicBezTo>
                    <a:pt x="282" y="270"/>
                    <a:pt x="276" y="265"/>
                    <a:pt x="276" y="258"/>
                  </a:cubicBezTo>
                  <a:cubicBezTo>
                    <a:pt x="276" y="251"/>
                    <a:pt x="282" y="246"/>
                    <a:pt x="288" y="246"/>
                  </a:cubicBezTo>
                  <a:cubicBezTo>
                    <a:pt x="295" y="246"/>
                    <a:pt x="300" y="251"/>
                    <a:pt x="300" y="258"/>
                  </a:cubicBezTo>
                  <a:close/>
                  <a:moveTo>
                    <a:pt x="300" y="92"/>
                  </a:moveTo>
                  <a:cubicBezTo>
                    <a:pt x="300" y="99"/>
                    <a:pt x="295" y="104"/>
                    <a:pt x="288" y="104"/>
                  </a:cubicBezTo>
                  <a:cubicBezTo>
                    <a:pt x="282" y="104"/>
                    <a:pt x="276" y="99"/>
                    <a:pt x="276" y="92"/>
                  </a:cubicBezTo>
                  <a:cubicBezTo>
                    <a:pt x="276" y="86"/>
                    <a:pt x="282" y="80"/>
                    <a:pt x="288" y="80"/>
                  </a:cubicBezTo>
                  <a:cubicBezTo>
                    <a:pt x="295" y="80"/>
                    <a:pt x="300" y="86"/>
                    <a:pt x="300" y="92"/>
                  </a:cubicBezTo>
                  <a:close/>
                  <a:moveTo>
                    <a:pt x="511" y="186"/>
                  </a:moveTo>
                  <a:cubicBezTo>
                    <a:pt x="510" y="179"/>
                    <a:pt x="514" y="173"/>
                    <a:pt x="521" y="172"/>
                  </a:cubicBezTo>
                  <a:cubicBezTo>
                    <a:pt x="527" y="171"/>
                    <a:pt x="533" y="175"/>
                    <a:pt x="535" y="182"/>
                  </a:cubicBezTo>
                  <a:cubicBezTo>
                    <a:pt x="536" y="188"/>
                    <a:pt x="531" y="194"/>
                    <a:pt x="525" y="196"/>
                  </a:cubicBezTo>
                  <a:cubicBezTo>
                    <a:pt x="524" y="196"/>
                    <a:pt x="523" y="196"/>
                    <a:pt x="523" y="196"/>
                  </a:cubicBezTo>
                  <a:cubicBezTo>
                    <a:pt x="517" y="196"/>
                    <a:pt x="512" y="192"/>
                    <a:pt x="511" y="186"/>
                  </a:cubicBezTo>
                  <a:close/>
                  <a:moveTo>
                    <a:pt x="480" y="191"/>
                  </a:moveTo>
                  <a:cubicBezTo>
                    <a:pt x="479" y="184"/>
                    <a:pt x="484" y="178"/>
                    <a:pt x="490" y="177"/>
                  </a:cubicBezTo>
                  <a:cubicBezTo>
                    <a:pt x="497" y="176"/>
                    <a:pt x="503" y="180"/>
                    <a:pt x="504" y="187"/>
                  </a:cubicBezTo>
                  <a:cubicBezTo>
                    <a:pt x="505" y="193"/>
                    <a:pt x="501" y="200"/>
                    <a:pt x="494" y="201"/>
                  </a:cubicBezTo>
                  <a:cubicBezTo>
                    <a:pt x="494" y="201"/>
                    <a:pt x="493" y="201"/>
                    <a:pt x="492" y="201"/>
                  </a:cubicBezTo>
                  <a:cubicBezTo>
                    <a:pt x="487" y="201"/>
                    <a:pt x="481" y="197"/>
                    <a:pt x="480" y="191"/>
                  </a:cubicBezTo>
                  <a:close/>
                  <a:moveTo>
                    <a:pt x="450" y="196"/>
                  </a:moveTo>
                  <a:cubicBezTo>
                    <a:pt x="449" y="190"/>
                    <a:pt x="453" y="184"/>
                    <a:pt x="460" y="182"/>
                  </a:cubicBezTo>
                  <a:cubicBezTo>
                    <a:pt x="466" y="181"/>
                    <a:pt x="472" y="186"/>
                    <a:pt x="474" y="192"/>
                  </a:cubicBezTo>
                  <a:cubicBezTo>
                    <a:pt x="475" y="199"/>
                    <a:pt x="470" y="205"/>
                    <a:pt x="464" y="206"/>
                  </a:cubicBezTo>
                  <a:cubicBezTo>
                    <a:pt x="463" y="206"/>
                    <a:pt x="462" y="206"/>
                    <a:pt x="462" y="206"/>
                  </a:cubicBezTo>
                  <a:cubicBezTo>
                    <a:pt x="456" y="206"/>
                    <a:pt x="451" y="202"/>
                    <a:pt x="450" y="196"/>
                  </a:cubicBezTo>
                  <a:close/>
                  <a:moveTo>
                    <a:pt x="389" y="207"/>
                  </a:moveTo>
                  <a:cubicBezTo>
                    <a:pt x="388" y="200"/>
                    <a:pt x="392" y="194"/>
                    <a:pt x="399" y="193"/>
                  </a:cubicBezTo>
                  <a:cubicBezTo>
                    <a:pt x="405" y="192"/>
                    <a:pt x="411" y="196"/>
                    <a:pt x="413" y="203"/>
                  </a:cubicBezTo>
                  <a:cubicBezTo>
                    <a:pt x="414" y="209"/>
                    <a:pt x="409" y="215"/>
                    <a:pt x="403" y="217"/>
                  </a:cubicBezTo>
                  <a:cubicBezTo>
                    <a:pt x="402" y="217"/>
                    <a:pt x="401" y="217"/>
                    <a:pt x="401" y="217"/>
                  </a:cubicBezTo>
                  <a:cubicBezTo>
                    <a:pt x="395" y="217"/>
                    <a:pt x="390" y="213"/>
                    <a:pt x="389" y="207"/>
                  </a:cubicBezTo>
                  <a:close/>
                  <a:moveTo>
                    <a:pt x="419" y="202"/>
                  </a:moveTo>
                  <a:cubicBezTo>
                    <a:pt x="418" y="195"/>
                    <a:pt x="423" y="189"/>
                    <a:pt x="429" y="188"/>
                  </a:cubicBezTo>
                  <a:cubicBezTo>
                    <a:pt x="436" y="187"/>
                    <a:pt x="442" y="191"/>
                    <a:pt x="443" y="197"/>
                  </a:cubicBezTo>
                  <a:cubicBezTo>
                    <a:pt x="444" y="204"/>
                    <a:pt x="440" y="210"/>
                    <a:pt x="433" y="211"/>
                  </a:cubicBezTo>
                  <a:cubicBezTo>
                    <a:pt x="433" y="211"/>
                    <a:pt x="432" y="211"/>
                    <a:pt x="431" y="211"/>
                  </a:cubicBezTo>
                  <a:cubicBezTo>
                    <a:pt x="425" y="211"/>
                    <a:pt x="420" y="207"/>
                    <a:pt x="419" y="202"/>
                  </a:cubicBezTo>
                  <a:close/>
                  <a:moveTo>
                    <a:pt x="358" y="212"/>
                  </a:moveTo>
                  <a:cubicBezTo>
                    <a:pt x="357" y="206"/>
                    <a:pt x="362" y="199"/>
                    <a:pt x="368" y="198"/>
                  </a:cubicBezTo>
                  <a:cubicBezTo>
                    <a:pt x="375" y="197"/>
                    <a:pt x="381" y="201"/>
                    <a:pt x="382" y="208"/>
                  </a:cubicBezTo>
                  <a:cubicBezTo>
                    <a:pt x="383" y="215"/>
                    <a:pt x="379" y="221"/>
                    <a:pt x="372" y="222"/>
                  </a:cubicBezTo>
                  <a:cubicBezTo>
                    <a:pt x="372" y="222"/>
                    <a:pt x="371" y="222"/>
                    <a:pt x="370" y="222"/>
                  </a:cubicBezTo>
                  <a:cubicBezTo>
                    <a:pt x="364" y="222"/>
                    <a:pt x="359" y="218"/>
                    <a:pt x="358" y="212"/>
                  </a:cubicBezTo>
                  <a:close/>
                  <a:moveTo>
                    <a:pt x="339" y="222"/>
                  </a:moveTo>
                  <a:cubicBezTo>
                    <a:pt x="343" y="217"/>
                    <a:pt x="350" y="216"/>
                    <a:pt x="355" y="220"/>
                  </a:cubicBezTo>
                  <a:cubicBezTo>
                    <a:pt x="361" y="224"/>
                    <a:pt x="362" y="231"/>
                    <a:pt x="358" y="236"/>
                  </a:cubicBezTo>
                  <a:cubicBezTo>
                    <a:pt x="356" y="240"/>
                    <a:pt x="352" y="241"/>
                    <a:pt x="349" y="241"/>
                  </a:cubicBezTo>
                  <a:cubicBezTo>
                    <a:pt x="346" y="241"/>
                    <a:pt x="344" y="241"/>
                    <a:pt x="342" y="239"/>
                  </a:cubicBezTo>
                  <a:cubicBezTo>
                    <a:pt x="336" y="235"/>
                    <a:pt x="335" y="228"/>
                    <a:pt x="339" y="222"/>
                  </a:cubicBezTo>
                  <a:close/>
                  <a:moveTo>
                    <a:pt x="331" y="267"/>
                  </a:moveTo>
                  <a:cubicBezTo>
                    <a:pt x="327" y="267"/>
                    <a:pt x="324" y="265"/>
                    <a:pt x="322" y="263"/>
                  </a:cubicBezTo>
                  <a:cubicBezTo>
                    <a:pt x="320" y="261"/>
                    <a:pt x="319" y="258"/>
                    <a:pt x="319" y="255"/>
                  </a:cubicBezTo>
                  <a:cubicBezTo>
                    <a:pt x="319" y="251"/>
                    <a:pt x="320" y="248"/>
                    <a:pt x="322" y="246"/>
                  </a:cubicBezTo>
                  <a:cubicBezTo>
                    <a:pt x="327" y="242"/>
                    <a:pt x="335" y="242"/>
                    <a:pt x="339" y="246"/>
                  </a:cubicBezTo>
                  <a:cubicBezTo>
                    <a:pt x="341" y="248"/>
                    <a:pt x="343" y="251"/>
                    <a:pt x="343" y="255"/>
                  </a:cubicBezTo>
                  <a:cubicBezTo>
                    <a:pt x="343" y="258"/>
                    <a:pt x="341" y="261"/>
                    <a:pt x="339" y="263"/>
                  </a:cubicBezTo>
                  <a:cubicBezTo>
                    <a:pt x="337" y="265"/>
                    <a:pt x="334" y="267"/>
                    <a:pt x="331" y="267"/>
                  </a:cubicBezTo>
                  <a:close/>
                  <a:moveTo>
                    <a:pt x="370" y="337"/>
                  </a:moveTo>
                  <a:cubicBezTo>
                    <a:pt x="368" y="341"/>
                    <a:pt x="364" y="342"/>
                    <a:pt x="361" y="342"/>
                  </a:cubicBezTo>
                  <a:cubicBezTo>
                    <a:pt x="358" y="342"/>
                    <a:pt x="356" y="341"/>
                    <a:pt x="353" y="340"/>
                  </a:cubicBezTo>
                  <a:cubicBezTo>
                    <a:pt x="348" y="336"/>
                    <a:pt x="347" y="328"/>
                    <a:pt x="351" y="323"/>
                  </a:cubicBezTo>
                  <a:cubicBezTo>
                    <a:pt x="355" y="318"/>
                    <a:pt x="362" y="317"/>
                    <a:pt x="368" y="321"/>
                  </a:cubicBezTo>
                  <a:cubicBezTo>
                    <a:pt x="373" y="325"/>
                    <a:pt x="374" y="332"/>
                    <a:pt x="370" y="337"/>
                  </a:cubicBezTo>
                  <a:close/>
                  <a:moveTo>
                    <a:pt x="469" y="323"/>
                  </a:moveTo>
                  <a:cubicBezTo>
                    <a:pt x="469" y="330"/>
                    <a:pt x="464" y="336"/>
                    <a:pt x="458" y="336"/>
                  </a:cubicBezTo>
                  <a:cubicBezTo>
                    <a:pt x="457" y="336"/>
                    <a:pt x="457" y="336"/>
                    <a:pt x="457" y="336"/>
                  </a:cubicBezTo>
                  <a:cubicBezTo>
                    <a:pt x="451" y="336"/>
                    <a:pt x="445" y="331"/>
                    <a:pt x="445" y="325"/>
                  </a:cubicBezTo>
                  <a:cubicBezTo>
                    <a:pt x="444" y="318"/>
                    <a:pt x="449" y="313"/>
                    <a:pt x="456" y="312"/>
                  </a:cubicBezTo>
                  <a:cubicBezTo>
                    <a:pt x="463" y="312"/>
                    <a:pt x="468" y="317"/>
                    <a:pt x="469" y="323"/>
                  </a:cubicBezTo>
                  <a:close/>
                  <a:moveTo>
                    <a:pt x="437" y="326"/>
                  </a:moveTo>
                  <a:cubicBezTo>
                    <a:pt x="437" y="332"/>
                    <a:pt x="432" y="338"/>
                    <a:pt x="426" y="338"/>
                  </a:cubicBezTo>
                  <a:cubicBezTo>
                    <a:pt x="425" y="338"/>
                    <a:pt x="425" y="338"/>
                    <a:pt x="425" y="338"/>
                  </a:cubicBezTo>
                  <a:cubicBezTo>
                    <a:pt x="418" y="338"/>
                    <a:pt x="413" y="334"/>
                    <a:pt x="413" y="327"/>
                  </a:cubicBezTo>
                  <a:cubicBezTo>
                    <a:pt x="412" y="321"/>
                    <a:pt x="417" y="315"/>
                    <a:pt x="424" y="314"/>
                  </a:cubicBezTo>
                  <a:cubicBezTo>
                    <a:pt x="431" y="314"/>
                    <a:pt x="436" y="319"/>
                    <a:pt x="437" y="326"/>
                  </a:cubicBezTo>
                  <a:close/>
                  <a:moveTo>
                    <a:pt x="501" y="321"/>
                  </a:moveTo>
                  <a:cubicBezTo>
                    <a:pt x="501" y="328"/>
                    <a:pt x="496" y="333"/>
                    <a:pt x="490" y="334"/>
                  </a:cubicBezTo>
                  <a:cubicBezTo>
                    <a:pt x="490" y="334"/>
                    <a:pt x="489" y="334"/>
                    <a:pt x="489" y="334"/>
                  </a:cubicBezTo>
                  <a:cubicBezTo>
                    <a:pt x="483" y="334"/>
                    <a:pt x="477" y="329"/>
                    <a:pt x="477" y="323"/>
                  </a:cubicBezTo>
                  <a:cubicBezTo>
                    <a:pt x="477" y="316"/>
                    <a:pt x="482" y="310"/>
                    <a:pt x="488" y="310"/>
                  </a:cubicBezTo>
                  <a:cubicBezTo>
                    <a:pt x="495" y="309"/>
                    <a:pt x="501" y="314"/>
                    <a:pt x="501" y="321"/>
                  </a:cubicBezTo>
                  <a:close/>
                  <a:moveTo>
                    <a:pt x="405" y="328"/>
                  </a:moveTo>
                  <a:cubicBezTo>
                    <a:pt x="405" y="334"/>
                    <a:pt x="400" y="340"/>
                    <a:pt x="393" y="341"/>
                  </a:cubicBezTo>
                  <a:cubicBezTo>
                    <a:pt x="393" y="341"/>
                    <a:pt x="393" y="341"/>
                    <a:pt x="393" y="341"/>
                  </a:cubicBezTo>
                  <a:cubicBezTo>
                    <a:pt x="386" y="341"/>
                    <a:pt x="381" y="336"/>
                    <a:pt x="381" y="329"/>
                  </a:cubicBezTo>
                  <a:cubicBezTo>
                    <a:pt x="380" y="323"/>
                    <a:pt x="385" y="317"/>
                    <a:pt x="392" y="317"/>
                  </a:cubicBezTo>
                  <a:cubicBezTo>
                    <a:pt x="398" y="316"/>
                    <a:pt x="404" y="321"/>
                    <a:pt x="405" y="328"/>
                  </a:cubicBezTo>
                  <a:close/>
                  <a:moveTo>
                    <a:pt x="533" y="319"/>
                  </a:moveTo>
                  <a:cubicBezTo>
                    <a:pt x="534" y="325"/>
                    <a:pt x="529" y="331"/>
                    <a:pt x="522" y="332"/>
                  </a:cubicBezTo>
                  <a:cubicBezTo>
                    <a:pt x="522" y="332"/>
                    <a:pt x="521" y="332"/>
                    <a:pt x="521" y="332"/>
                  </a:cubicBezTo>
                  <a:cubicBezTo>
                    <a:pt x="515" y="332"/>
                    <a:pt x="510" y="327"/>
                    <a:pt x="509" y="321"/>
                  </a:cubicBezTo>
                  <a:cubicBezTo>
                    <a:pt x="509" y="314"/>
                    <a:pt x="514" y="308"/>
                    <a:pt x="520" y="308"/>
                  </a:cubicBezTo>
                  <a:cubicBezTo>
                    <a:pt x="527" y="307"/>
                    <a:pt x="533" y="312"/>
                    <a:pt x="533" y="319"/>
                  </a:cubicBezTo>
                  <a:close/>
                  <a:moveTo>
                    <a:pt x="343" y="302"/>
                  </a:moveTo>
                  <a:cubicBezTo>
                    <a:pt x="346" y="305"/>
                    <a:pt x="347" y="308"/>
                    <a:pt x="347" y="311"/>
                  </a:cubicBezTo>
                  <a:cubicBezTo>
                    <a:pt x="347" y="314"/>
                    <a:pt x="346" y="317"/>
                    <a:pt x="343" y="319"/>
                  </a:cubicBezTo>
                  <a:cubicBezTo>
                    <a:pt x="341" y="322"/>
                    <a:pt x="338" y="323"/>
                    <a:pt x="335" y="323"/>
                  </a:cubicBezTo>
                  <a:cubicBezTo>
                    <a:pt x="332" y="323"/>
                    <a:pt x="329" y="322"/>
                    <a:pt x="326" y="319"/>
                  </a:cubicBezTo>
                  <a:cubicBezTo>
                    <a:pt x="326" y="319"/>
                    <a:pt x="325" y="318"/>
                    <a:pt x="325" y="318"/>
                  </a:cubicBezTo>
                  <a:cubicBezTo>
                    <a:pt x="324" y="317"/>
                    <a:pt x="324" y="316"/>
                    <a:pt x="324" y="315"/>
                  </a:cubicBezTo>
                  <a:cubicBezTo>
                    <a:pt x="323" y="315"/>
                    <a:pt x="323" y="314"/>
                    <a:pt x="323" y="313"/>
                  </a:cubicBezTo>
                  <a:cubicBezTo>
                    <a:pt x="323" y="312"/>
                    <a:pt x="323" y="312"/>
                    <a:pt x="323" y="311"/>
                  </a:cubicBezTo>
                  <a:cubicBezTo>
                    <a:pt x="323" y="310"/>
                    <a:pt x="323" y="309"/>
                    <a:pt x="323" y="309"/>
                  </a:cubicBezTo>
                  <a:cubicBezTo>
                    <a:pt x="323" y="308"/>
                    <a:pt x="323" y="307"/>
                    <a:pt x="324" y="306"/>
                  </a:cubicBezTo>
                  <a:cubicBezTo>
                    <a:pt x="324" y="306"/>
                    <a:pt x="324" y="305"/>
                    <a:pt x="325" y="304"/>
                  </a:cubicBezTo>
                  <a:cubicBezTo>
                    <a:pt x="325" y="304"/>
                    <a:pt x="326" y="303"/>
                    <a:pt x="326" y="302"/>
                  </a:cubicBezTo>
                  <a:cubicBezTo>
                    <a:pt x="331" y="298"/>
                    <a:pt x="339" y="298"/>
                    <a:pt x="343" y="302"/>
                  </a:cubicBezTo>
                  <a:close/>
                  <a:moveTo>
                    <a:pt x="460" y="250"/>
                  </a:moveTo>
                  <a:cubicBezTo>
                    <a:pt x="514" y="240"/>
                    <a:pt x="514" y="240"/>
                    <a:pt x="514" y="240"/>
                  </a:cubicBezTo>
                  <a:cubicBezTo>
                    <a:pt x="518" y="264"/>
                    <a:pt x="518" y="264"/>
                    <a:pt x="518" y="264"/>
                  </a:cubicBezTo>
                  <a:cubicBezTo>
                    <a:pt x="464" y="273"/>
                    <a:pt x="464" y="273"/>
                    <a:pt x="464" y="273"/>
                  </a:cubicBezTo>
                  <a:lnTo>
                    <a:pt x="460" y="250"/>
                  </a:lnTo>
                  <a:close/>
                  <a:moveTo>
                    <a:pt x="395" y="261"/>
                  </a:moveTo>
                  <a:cubicBezTo>
                    <a:pt x="449" y="251"/>
                    <a:pt x="449" y="251"/>
                    <a:pt x="449" y="251"/>
                  </a:cubicBezTo>
                  <a:cubicBezTo>
                    <a:pt x="453" y="275"/>
                    <a:pt x="453" y="275"/>
                    <a:pt x="453" y="275"/>
                  </a:cubicBezTo>
                  <a:cubicBezTo>
                    <a:pt x="399" y="284"/>
                    <a:pt x="399" y="284"/>
                    <a:pt x="399" y="284"/>
                  </a:cubicBezTo>
                  <a:lnTo>
                    <a:pt x="395" y="261"/>
                  </a:lnTo>
                  <a:close/>
                  <a:moveTo>
                    <a:pt x="330" y="272"/>
                  </a:moveTo>
                  <a:cubicBezTo>
                    <a:pt x="384" y="262"/>
                    <a:pt x="384" y="262"/>
                    <a:pt x="384" y="262"/>
                  </a:cubicBezTo>
                  <a:cubicBezTo>
                    <a:pt x="388" y="286"/>
                    <a:pt x="388" y="286"/>
                    <a:pt x="388" y="286"/>
                  </a:cubicBezTo>
                  <a:cubicBezTo>
                    <a:pt x="334" y="295"/>
                    <a:pt x="334" y="295"/>
                    <a:pt x="334" y="295"/>
                  </a:cubicBezTo>
                  <a:lnTo>
                    <a:pt x="330" y="27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b="1">
                <a:solidFill>
                  <a:schemeClr val="accent1"/>
                </a:solidFill>
              </a:endParaRPr>
            </a:p>
          </p:txBody>
        </p:sp>
        <p:sp>
          <p:nvSpPr>
            <p:cNvPr id="85" name="Freeform 13">
              <a:extLst>
                <a:ext uri="{FF2B5EF4-FFF2-40B4-BE49-F238E27FC236}">
                  <a16:creationId xmlns:a16="http://schemas.microsoft.com/office/drawing/2014/main" id="{8E7C2A20-642D-46DC-AA24-8536EA6780D9}"/>
                </a:ext>
              </a:extLst>
            </p:cNvPr>
            <p:cNvSpPr>
              <a:spLocks noChangeAspect="1" noEditPoints="1"/>
            </p:cNvSpPr>
            <p:nvPr/>
          </p:nvSpPr>
          <p:spPr bwMode="auto">
            <a:xfrm>
              <a:off x="1190063" y="4953715"/>
              <a:ext cx="457200" cy="457200"/>
            </a:xfrm>
            <a:custGeom>
              <a:avLst/>
              <a:gdLst>
                <a:gd name="T0" fmla="*/ 0 w 576"/>
                <a:gd name="T1" fmla="*/ 576 h 576"/>
                <a:gd name="T2" fmla="*/ 576 w 576"/>
                <a:gd name="T3" fmla="*/ 0 h 576"/>
                <a:gd name="T4" fmla="*/ 460 w 576"/>
                <a:gd name="T5" fmla="*/ 398 h 576"/>
                <a:gd name="T6" fmla="*/ 498 w 576"/>
                <a:gd name="T7" fmla="*/ 247 h 576"/>
                <a:gd name="T8" fmla="*/ 378 w 576"/>
                <a:gd name="T9" fmla="*/ 195 h 576"/>
                <a:gd name="T10" fmla="*/ 338 w 576"/>
                <a:gd name="T11" fmla="*/ 213 h 576"/>
                <a:gd name="T12" fmla="*/ 357 w 576"/>
                <a:gd name="T13" fmla="*/ 228 h 576"/>
                <a:gd name="T14" fmla="*/ 446 w 576"/>
                <a:gd name="T15" fmla="*/ 219 h 576"/>
                <a:gd name="T16" fmla="*/ 474 w 576"/>
                <a:gd name="T17" fmla="*/ 375 h 576"/>
                <a:gd name="T18" fmla="*/ 436 w 576"/>
                <a:gd name="T19" fmla="*/ 552 h 576"/>
                <a:gd name="T20" fmla="*/ 387 w 576"/>
                <a:gd name="T21" fmla="*/ 375 h 576"/>
                <a:gd name="T22" fmla="*/ 265 w 576"/>
                <a:gd name="T23" fmla="*/ 342 h 576"/>
                <a:gd name="T24" fmla="*/ 187 w 576"/>
                <a:gd name="T25" fmla="*/ 387 h 576"/>
                <a:gd name="T26" fmla="*/ 265 w 576"/>
                <a:gd name="T27" fmla="*/ 431 h 576"/>
                <a:gd name="T28" fmla="*/ 363 w 576"/>
                <a:gd name="T29" fmla="*/ 398 h 576"/>
                <a:gd name="T30" fmla="*/ 212 w 576"/>
                <a:gd name="T31" fmla="*/ 552 h 576"/>
                <a:gd name="T32" fmla="*/ 188 w 576"/>
                <a:gd name="T33" fmla="*/ 416 h 576"/>
                <a:gd name="T34" fmla="*/ 139 w 576"/>
                <a:gd name="T35" fmla="*/ 552 h 576"/>
                <a:gd name="T36" fmla="*/ 101 w 576"/>
                <a:gd name="T37" fmla="*/ 375 h 576"/>
                <a:gd name="T38" fmla="*/ 130 w 576"/>
                <a:gd name="T39" fmla="*/ 219 h 576"/>
                <a:gd name="T40" fmla="*/ 226 w 576"/>
                <a:gd name="T41" fmla="*/ 247 h 576"/>
                <a:gd name="T42" fmla="*/ 343 w 576"/>
                <a:gd name="T43" fmla="*/ 297 h 576"/>
                <a:gd name="T44" fmla="*/ 327 w 576"/>
                <a:gd name="T45" fmla="*/ 347 h 576"/>
                <a:gd name="T46" fmla="*/ 327 w 576"/>
                <a:gd name="T47" fmla="*/ 224 h 576"/>
                <a:gd name="T48" fmla="*/ 343 w 576"/>
                <a:gd name="T49" fmla="*/ 274 h 576"/>
                <a:gd name="T50" fmla="*/ 250 w 576"/>
                <a:gd name="T51" fmla="*/ 247 h 576"/>
                <a:gd name="T52" fmla="*/ 130 w 576"/>
                <a:gd name="T53" fmla="*/ 195 h 576"/>
                <a:gd name="T54" fmla="*/ 77 w 576"/>
                <a:gd name="T55" fmla="*/ 398 h 576"/>
                <a:gd name="T56" fmla="*/ 116 w 576"/>
                <a:gd name="T57" fmla="*/ 552 h 576"/>
                <a:gd name="T58" fmla="*/ 23 w 576"/>
                <a:gd name="T59" fmla="*/ 24 h 576"/>
                <a:gd name="T60" fmla="*/ 552 w 576"/>
                <a:gd name="T61" fmla="*/ 552 h 576"/>
                <a:gd name="T62" fmla="*/ 460 w 576"/>
                <a:gd name="T63" fmla="*/ 398 h 576"/>
                <a:gd name="T64" fmla="*/ 116 w 576"/>
                <a:gd name="T65" fmla="*/ 125 h 576"/>
                <a:gd name="T66" fmla="*/ 212 w 576"/>
                <a:gd name="T67" fmla="*/ 125 h 576"/>
                <a:gd name="T68" fmla="*/ 164 w 576"/>
                <a:gd name="T69" fmla="*/ 149 h 576"/>
                <a:gd name="T70" fmla="*/ 164 w 576"/>
                <a:gd name="T71" fmla="*/ 99 h 576"/>
                <a:gd name="T72" fmla="*/ 164 w 576"/>
                <a:gd name="T73" fmla="*/ 149 h 576"/>
                <a:gd name="T74" fmla="*/ 364 w 576"/>
                <a:gd name="T75" fmla="*/ 125 h 576"/>
                <a:gd name="T76" fmla="*/ 460 w 576"/>
                <a:gd name="T77" fmla="*/ 125 h 576"/>
                <a:gd name="T78" fmla="*/ 436 w 576"/>
                <a:gd name="T79" fmla="*/ 125 h 576"/>
                <a:gd name="T80" fmla="*/ 388 w 576"/>
                <a:gd name="T81" fmla="*/ 125 h 576"/>
                <a:gd name="T82" fmla="*/ 436 w 576"/>
                <a:gd name="T83" fmla="*/ 12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60" y="398"/>
                  </a:moveTo>
                  <a:cubicBezTo>
                    <a:pt x="498" y="398"/>
                    <a:pt x="498" y="398"/>
                    <a:pt x="498" y="398"/>
                  </a:cubicBezTo>
                  <a:cubicBezTo>
                    <a:pt x="498" y="247"/>
                    <a:pt x="498" y="247"/>
                    <a:pt x="498" y="247"/>
                  </a:cubicBezTo>
                  <a:cubicBezTo>
                    <a:pt x="498" y="218"/>
                    <a:pt x="474" y="195"/>
                    <a:pt x="446" y="195"/>
                  </a:cubicBezTo>
                  <a:cubicBezTo>
                    <a:pt x="378" y="195"/>
                    <a:pt x="378" y="195"/>
                    <a:pt x="378" y="195"/>
                  </a:cubicBezTo>
                  <a:cubicBezTo>
                    <a:pt x="362" y="195"/>
                    <a:pt x="349" y="201"/>
                    <a:pt x="339" y="212"/>
                  </a:cubicBezTo>
                  <a:cubicBezTo>
                    <a:pt x="338" y="213"/>
                    <a:pt x="338" y="213"/>
                    <a:pt x="338" y="213"/>
                  </a:cubicBezTo>
                  <a:cubicBezTo>
                    <a:pt x="356" y="229"/>
                    <a:pt x="356" y="229"/>
                    <a:pt x="356" y="229"/>
                  </a:cubicBezTo>
                  <a:cubicBezTo>
                    <a:pt x="357" y="228"/>
                    <a:pt x="357" y="228"/>
                    <a:pt x="357" y="228"/>
                  </a:cubicBezTo>
                  <a:cubicBezTo>
                    <a:pt x="362" y="222"/>
                    <a:pt x="369" y="219"/>
                    <a:pt x="378" y="219"/>
                  </a:cubicBezTo>
                  <a:cubicBezTo>
                    <a:pt x="446" y="219"/>
                    <a:pt x="446" y="219"/>
                    <a:pt x="446" y="219"/>
                  </a:cubicBezTo>
                  <a:cubicBezTo>
                    <a:pt x="461" y="219"/>
                    <a:pt x="474" y="231"/>
                    <a:pt x="474" y="247"/>
                  </a:cubicBezTo>
                  <a:cubicBezTo>
                    <a:pt x="474" y="375"/>
                    <a:pt x="474" y="375"/>
                    <a:pt x="474" y="375"/>
                  </a:cubicBezTo>
                  <a:cubicBezTo>
                    <a:pt x="436" y="375"/>
                    <a:pt x="436" y="375"/>
                    <a:pt x="436" y="375"/>
                  </a:cubicBezTo>
                  <a:cubicBezTo>
                    <a:pt x="436" y="552"/>
                    <a:pt x="436" y="552"/>
                    <a:pt x="436" y="552"/>
                  </a:cubicBezTo>
                  <a:cubicBezTo>
                    <a:pt x="387" y="552"/>
                    <a:pt x="387" y="552"/>
                    <a:pt x="387" y="552"/>
                  </a:cubicBezTo>
                  <a:cubicBezTo>
                    <a:pt x="387" y="375"/>
                    <a:pt x="387" y="375"/>
                    <a:pt x="387" y="375"/>
                  </a:cubicBezTo>
                  <a:cubicBezTo>
                    <a:pt x="233" y="375"/>
                    <a:pt x="233" y="375"/>
                    <a:pt x="233" y="375"/>
                  </a:cubicBezTo>
                  <a:cubicBezTo>
                    <a:pt x="265" y="342"/>
                    <a:pt x="265" y="342"/>
                    <a:pt x="265" y="342"/>
                  </a:cubicBezTo>
                  <a:cubicBezTo>
                    <a:pt x="248" y="325"/>
                    <a:pt x="248" y="325"/>
                    <a:pt x="248" y="325"/>
                  </a:cubicBezTo>
                  <a:cubicBezTo>
                    <a:pt x="187" y="387"/>
                    <a:pt x="187" y="387"/>
                    <a:pt x="187" y="387"/>
                  </a:cubicBezTo>
                  <a:cubicBezTo>
                    <a:pt x="248" y="448"/>
                    <a:pt x="248" y="448"/>
                    <a:pt x="248" y="448"/>
                  </a:cubicBezTo>
                  <a:cubicBezTo>
                    <a:pt x="265" y="431"/>
                    <a:pt x="265" y="431"/>
                    <a:pt x="265" y="431"/>
                  </a:cubicBezTo>
                  <a:cubicBezTo>
                    <a:pt x="233" y="398"/>
                    <a:pt x="233" y="398"/>
                    <a:pt x="233" y="398"/>
                  </a:cubicBezTo>
                  <a:cubicBezTo>
                    <a:pt x="363" y="398"/>
                    <a:pt x="363" y="398"/>
                    <a:pt x="363" y="398"/>
                  </a:cubicBezTo>
                  <a:cubicBezTo>
                    <a:pt x="363" y="552"/>
                    <a:pt x="363" y="552"/>
                    <a:pt x="363" y="552"/>
                  </a:cubicBezTo>
                  <a:cubicBezTo>
                    <a:pt x="212" y="552"/>
                    <a:pt x="212" y="552"/>
                    <a:pt x="212" y="552"/>
                  </a:cubicBezTo>
                  <a:cubicBezTo>
                    <a:pt x="212" y="440"/>
                    <a:pt x="212" y="440"/>
                    <a:pt x="212" y="440"/>
                  </a:cubicBezTo>
                  <a:cubicBezTo>
                    <a:pt x="188" y="416"/>
                    <a:pt x="188" y="416"/>
                    <a:pt x="188" y="416"/>
                  </a:cubicBezTo>
                  <a:cubicBezTo>
                    <a:pt x="188" y="552"/>
                    <a:pt x="188" y="552"/>
                    <a:pt x="188" y="552"/>
                  </a:cubicBezTo>
                  <a:cubicBezTo>
                    <a:pt x="139" y="552"/>
                    <a:pt x="139" y="552"/>
                    <a:pt x="139" y="552"/>
                  </a:cubicBezTo>
                  <a:cubicBezTo>
                    <a:pt x="139" y="375"/>
                    <a:pt x="139" y="375"/>
                    <a:pt x="139" y="375"/>
                  </a:cubicBezTo>
                  <a:cubicBezTo>
                    <a:pt x="101" y="375"/>
                    <a:pt x="101" y="375"/>
                    <a:pt x="101" y="375"/>
                  </a:cubicBezTo>
                  <a:cubicBezTo>
                    <a:pt x="101" y="247"/>
                    <a:pt x="101" y="247"/>
                    <a:pt x="101" y="247"/>
                  </a:cubicBezTo>
                  <a:cubicBezTo>
                    <a:pt x="101" y="231"/>
                    <a:pt x="114" y="219"/>
                    <a:pt x="130" y="219"/>
                  </a:cubicBezTo>
                  <a:cubicBezTo>
                    <a:pt x="198" y="219"/>
                    <a:pt x="198" y="219"/>
                    <a:pt x="198" y="219"/>
                  </a:cubicBezTo>
                  <a:cubicBezTo>
                    <a:pt x="214" y="219"/>
                    <a:pt x="226" y="231"/>
                    <a:pt x="226" y="247"/>
                  </a:cubicBezTo>
                  <a:cubicBezTo>
                    <a:pt x="226" y="297"/>
                    <a:pt x="226" y="297"/>
                    <a:pt x="226" y="297"/>
                  </a:cubicBezTo>
                  <a:cubicBezTo>
                    <a:pt x="343" y="297"/>
                    <a:pt x="343" y="297"/>
                    <a:pt x="343" y="297"/>
                  </a:cubicBezTo>
                  <a:cubicBezTo>
                    <a:pt x="310" y="330"/>
                    <a:pt x="310" y="330"/>
                    <a:pt x="310" y="330"/>
                  </a:cubicBezTo>
                  <a:cubicBezTo>
                    <a:pt x="327" y="347"/>
                    <a:pt x="327" y="347"/>
                    <a:pt x="327" y="347"/>
                  </a:cubicBezTo>
                  <a:cubicBezTo>
                    <a:pt x="388" y="286"/>
                    <a:pt x="388" y="286"/>
                    <a:pt x="388" y="286"/>
                  </a:cubicBezTo>
                  <a:cubicBezTo>
                    <a:pt x="327" y="224"/>
                    <a:pt x="327" y="224"/>
                    <a:pt x="327" y="224"/>
                  </a:cubicBezTo>
                  <a:cubicBezTo>
                    <a:pt x="310" y="241"/>
                    <a:pt x="310" y="241"/>
                    <a:pt x="310" y="241"/>
                  </a:cubicBezTo>
                  <a:cubicBezTo>
                    <a:pt x="343" y="274"/>
                    <a:pt x="343" y="274"/>
                    <a:pt x="343" y="274"/>
                  </a:cubicBezTo>
                  <a:cubicBezTo>
                    <a:pt x="250" y="274"/>
                    <a:pt x="250" y="274"/>
                    <a:pt x="250" y="274"/>
                  </a:cubicBezTo>
                  <a:cubicBezTo>
                    <a:pt x="250" y="247"/>
                    <a:pt x="250" y="247"/>
                    <a:pt x="250" y="247"/>
                  </a:cubicBezTo>
                  <a:cubicBezTo>
                    <a:pt x="250" y="218"/>
                    <a:pt x="227" y="195"/>
                    <a:pt x="198" y="195"/>
                  </a:cubicBezTo>
                  <a:cubicBezTo>
                    <a:pt x="130" y="195"/>
                    <a:pt x="130" y="195"/>
                    <a:pt x="130" y="195"/>
                  </a:cubicBezTo>
                  <a:cubicBezTo>
                    <a:pt x="101" y="195"/>
                    <a:pt x="77" y="218"/>
                    <a:pt x="77" y="247"/>
                  </a:cubicBezTo>
                  <a:cubicBezTo>
                    <a:pt x="77" y="398"/>
                    <a:pt x="77" y="398"/>
                    <a:pt x="77" y="398"/>
                  </a:cubicBezTo>
                  <a:cubicBezTo>
                    <a:pt x="116" y="398"/>
                    <a:pt x="116" y="398"/>
                    <a:pt x="116" y="398"/>
                  </a:cubicBezTo>
                  <a:cubicBezTo>
                    <a:pt x="116" y="552"/>
                    <a:pt x="116" y="552"/>
                    <a:pt x="116" y="552"/>
                  </a:cubicBezTo>
                  <a:cubicBezTo>
                    <a:pt x="23" y="552"/>
                    <a:pt x="23" y="552"/>
                    <a:pt x="23" y="552"/>
                  </a:cubicBezTo>
                  <a:cubicBezTo>
                    <a:pt x="23" y="24"/>
                    <a:pt x="23" y="24"/>
                    <a:pt x="23" y="24"/>
                  </a:cubicBezTo>
                  <a:cubicBezTo>
                    <a:pt x="552" y="24"/>
                    <a:pt x="552" y="24"/>
                    <a:pt x="552" y="24"/>
                  </a:cubicBezTo>
                  <a:cubicBezTo>
                    <a:pt x="552" y="552"/>
                    <a:pt x="552" y="552"/>
                    <a:pt x="552" y="552"/>
                  </a:cubicBezTo>
                  <a:cubicBezTo>
                    <a:pt x="460" y="552"/>
                    <a:pt x="460" y="552"/>
                    <a:pt x="460" y="552"/>
                  </a:cubicBezTo>
                  <a:lnTo>
                    <a:pt x="460" y="398"/>
                  </a:lnTo>
                  <a:close/>
                  <a:moveTo>
                    <a:pt x="164" y="75"/>
                  </a:moveTo>
                  <a:cubicBezTo>
                    <a:pt x="137" y="75"/>
                    <a:pt x="116" y="97"/>
                    <a:pt x="116" y="125"/>
                  </a:cubicBezTo>
                  <a:cubicBezTo>
                    <a:pt x="116" y="151"/>
                    <a:pt x="137" y="173"/>
                    <a:pt x="164" y="173"/>
                  </a:cubicBezTo>
                  <a:cubicBezTo>
                    <a:pt x="190" y="173"/>
                    <a:pt x="212" y="151"/>
                    <a:pt x="212" y="125"/>
                  </a:cubicBezTo>
                  <a:cubicBezTo>
                    <a:pt x="212" y="97"/>
                    <a:pt x="190" y="75"/>
                    <a:pt x="164" y="75"/>
                  </a:cubicBezTo>
                  <a:close/>
                  <a:moveTo>
                    <a:pt x="164" y="149"/>
                  </a:moveTo>
                  <a:cubicBezTo>
                    <a:pt x="150" y="149"/>
                    <a:pt x="139" y="138"/>
                    <a:pt x="139" y="125"/>
                  </a:cubicBezTo>
                  <a:cubicBezTo>
                    <a:pt x="139" y="110"/>
                    <a:pt x="150" y="99"/>
                    <a:pt x="164" y="99"/>
                  </a:cubicBezTo>
                  <a:cubicBezTo>
                    <a:pt x="177" y="99"/>
                    <a:pt x="188" y="110"/>
                    <a:pt x="188" y="125"/>
                  </a:cubicBezTo>
                  <a:cubicBezTo>
                    <a:pt x="188" y="138"/>
                    <a:pt x="177" y="149"/>
                    <a:pt x="164" y="149"/>
                  </a:cubicBezTo>
                  <a:close/>
                  <a:moveTo>
                    <a:pt x="412" y="75"/>
                  </a:moveTo>
                  <a:cubicBezTo>
                    <a:pt x="386" y="75"/>
                    <a:pt x="364" y="97"/>
                    <a:pt x="364" y="125"/>
                  </a:cubicBezTo>
                  <a:cubicBezTo>
                    <a:pt x="364" y="151"/>
                    <a:pt x="386" y="173"/>
                    <a:pt x="412" y="173"/>
                  </a:cubicBezTo>
                  <a:cubicBezTo>
                    <a:pt x="439" y="173"/>
                    <a:pt x="460" y="151"/>
                    <a:pt x="460" y="125"/>
                  </a:cubicBezTo>
                  <a:cubicBezTo>
                    <a:pt x="460" y="97"/>
                    <a:pt x="439" y="75"/>
                    <a:pt x="412" y="75"/>
                  </a:cubicBezTo>
                  <a:close/>
                  <a:moveTo>
                    <a:pt x="436" y="125"/>
                  </a:moveTo>
                  <a:cubicBezTo>
                    <a:pt x="436" y="138"/>
                    <a:pt x="426" y="149"/>
                    <a:pt x="412" y="149"/>
                  </a:cubicBezTo>
                  <a:cubicBezTo>
                    <a:pt x="399" y="149"/>
                    <a:pt x="388" y="138"/>
                    <a:pt x="388" y="125"/>
                  </a:cubicBezTo>
                  <a:cubicBezTo>
                    <a:pt x="388" y="111"/>
                    <a:pt x="399" y="99"/>
                    <a:pt x="412" y="99"/>
                  </a:cubicBezTo>
                  <a:cubicBezTo>
                    <a:pt x="426" y="99"/>
                    <a:pt x="436" y="110"/>
                    <a:pt x="436" y="12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a:solidFill>
                  <a:schemeClr val="accent1"/>
                </a:solidFill>
              </a:endParaRPr>
            </a:p>
          </p:txBody>
        </p:sp>
      </p:grpSp>
      <p:pic>
        <p:nvPicPr>
          <p:cNvPr id="70658" name="Picture 2" descr="Flag of Europe - Wikipedia">
            <a:extLst>
              <a:ext uri="{FF2B5EF4-FFF2-40B4-BE49-F238E27FC236}">
                <a16:creationId xmlns:a16="http://schemas.microsoft.com/office/drawing/2014/main" id="{F1AA8EAF-4DA1-4128-BB9C-E25B9A8555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39125" y="6069897"/>
            <a:ext cx="862006" cy="57467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25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601D939-2026-4521-82F9-394CC404CB3E}"/>
              </a:ext>
            </a:extLst>
          </p:cNvPr>
          <p:cNvGraphicFramePr>
            <a:graphicFrameLocks noChangeAspect="1"/>
          </p:cNvGraphicFramePr>
          <p:nvPr>
            <p:custDataLst>
              <p:tags r:id="rId2"/>
            </p:custDataLst>
            <p:extLst>
              <p:ext uri="{D42A27DB-BD31-4B8C-83A1-F6EECF244321}">
                <p14:modId xmlns:p14="http://schemas.microsoft.com/office/powerpoint/2010/main" val="485091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6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5" name="Oval 314"/>
          <p:cNvSpPr/>
          <p:nvPr/>
        </p:nvSpPr>
        <p:spPr bwMode="ltGray">
          <a:xfrm>
            <a:off x="4214171" y="1825325"/>
            <a:ext cx="3636171" cy="363617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err="1">
              <a:solidFill>
                <a:schemeClr val="bg1"/>
              </a:solidFill>
              <a:latin typeface="Georgia" pitchFamily="18" charset="0"/>
            </a:endParaRPr>
          </a:p>
        </p:txBody>
      </p:sp>
      <p:grpSp>
        <p:nvGrpSpPr>
          <p:cNvPr id="21" name="Group 20">
            <a:extLst>
              <a:ext uri="{FF2B5EF4-FFF2-40B4-BE49-F238E27FC236}">
                <a16:creationId xmlns:a16="http://schemas.microsoft.com/office/drawing/2014/main" id="{74B12EA6-C008-4CD7-B84A-EE08A1CF229A}"/>
              </a:ext>
            </a:extLst>
          </p:cNvPr>
          <p:cNvGrpSpPr/>
          <p:nvPr/>
        </p:nvGrpSpPr>
        <p:grpSpPr>
          <a:xfrm>
            <a:off x="3881830" y="1575810"/>
            <a:ext cx="4300853" cy="4198636"/>
            <a:chOff x="3881830" y="1575810"/>
            <a:chExt cx="4300853" cy="4198636"/>
          </a:xfrm>
        </p:grpSpPr>
        <p:grpSp>
          <p:nvGrpSpPr>
            <p:cNvPr id="307" name="Group 42"/>
            <p:cNvGrpSpPr>
              <a:grpSpLocks noChangeAspect="1"/>
            </p:cNvGrpSpPr>
            <p:nvPr/>
          </p:nvGrpSpPr>
          <p:grpSpPr bwMode="auto">
            <a:xfrm>
              <a:off x="3881830" y="1575810"/>
              <a:ext cx="4300853" cy="4198636"/>
              <a:chOff x="2772" y="2242"/>
              <a:chExt cx="1094" cy="1068"/>
            </a:xfrm>
          </p:grpSpPr>
          <p:sp>
            <p:nvSpPr>
              <p:cNvPr id="308" name="Freeform 43"/>
              <p:cNvSpPr>
                <a:spLocks/>
              </p:cNvSpPr>
              <p:nvPr/>
            </p:nvSpPr>
            <p:spPr bwMode="auto">
              <a:xfrm>
                <a:off x="3319" y="2242"/>
                <a:ext cx="411" cy="525"/>
              </a:xfrm>
              <a:custGeom>
                <a:avLst/>
                <a:gdLst/>
                <a:ahLst/>
                <a:cxnLst>
                  <a:cxn ang="0">
                    <a:pos x="1095" y="528"/>
                  </a:cxn>
                  <a:cxn ang="0">
                    <a:pos x="0" y="0"/>
                  </a:cxn>
                  <a:cxn ang="0">
                    <a:pos x="0" y="1400"/>
                  </a:cxn>
                  <a:cxn ang="0">
                    <a:pos x="1095" y="528"/>
                  </a:cxn>
                </a:cxnLst>
                <a:rect l="0" t="0" r="r" b="b"/>
                <a:pathLst>
                  <a:path w="1095" h="1400">
                    <a:moveTo>
                      <a:pt x="1095" y="528"/>
                    </a:moveTo>
                    <a:cubicBezTo>
                      <a:pt x="829" y="194"/>
                      <a:pt x="427" y="0"/>
                      <a:pt x="0" y="0"/>
                    </a:cubicBezTo>
                    <a:lnTo>
                      <a:pt x="0" y="1400"/>
                    </a:lnTo>
                    <a:lnTo>
                      <a:pt x="1095" y="528"/>
                    </a:lnTo>
                    <a:close/>
                  </a:path>
                </a:pathLst>
              </a:custGeom>
              <a:solidFill>
                <a:schemeClr val="accent5"/>
              </a:solidFill>
              <a:ln w="0">
                <a:solidFill>
                  <a:schemeClr val="accent5"/>
                </a:solidFill>
                <a:prstDash val="solid"/>
                <a:round/>
                <a:headEnd/>
                <a:tailEnd/>
              </a:ln>
            </p:spPr>
            <p:txBody>
              <a:bodyPr vert="horz" wrap="square" lIns="78191" tIns="39096" rIns="78191" bIns="39096" numCol="1" anchor="t" anchorCtr="0" compatLnSpc="1">
                <a:prstTxWarp prst="textNoShape">
                  <a:avLst/>
                </a:prstTxWarp>
              </a:bodyPr>
              <a:lstStyle/>
              <a:p>
                <a:endParaRPr lang="en-GB" sz="1539" dirty="0"/>
              </a:p>
            </p:txBody>
          </p:sp>
          <p:sp>
            <p:nvSpPr>
              <p:cNvPr id="309" name="Freeform 44"/>
              <p:cNvSpPr>
                <a:spLocks/>
              </p:cNvSpPr>
              <p:nvPr/>
            </p:nvSpPr>
            <p:spPr bwMode="auto">
              <a:xfrm>
                <a:off x="3319" y="2440"/>
                <a:ext cx="547" cy="444"/>
              </a:xfrm>
              <a:custGeom>
                <a:avLst/>
                <a:gdLst/>
                <a:ahLst/>
                <a:cxnLst>
                  <a:cxn ang="0">
                    <a:pos x="1365" y="1184"/>
                  </a:cxn>
                  <a:cxn ang="0">
                    <a:pos x="1095" y="0"/>
                  </a:cxn>
                  <a:cxn ang="0">
                    <a:pos x="0" y="872"/>
                  </a:cxn>
                  <a:cxn ang="0">
                    <a:pos x="1365" y="1184"/>
                  </a:cxn>
                </a:cxnLst>
                <a:rect l="0" t="0" r="r" b="b"/>
                <a:pathLst>
                  <a:path w="1460" h="1184">
                    <a:moveTo>
                      <a:pt x="1365" y="1184"/>
                    </a:moveTo>
                    <a:cubicBezTo>
                      <a:pt x="1460" y="769"/>
                      <a:pt x="1361" y="333"/>
                      <a:pt x="1095" y="0"/>
                    </a:cubicBezTo>
                    <a:lnTo>
                      <a:pt x="0" y="872"/>
                    </a:lnTo>
                    <a:lnTo>
                      <a:pt x="1365" y="1184"/>
                    </a:lnTo>
                    <a:close/>
                  </a:path>
                </a:pathLst>
              </a:custGeom>
              <a:solidFill>
                <a:schemeClr val="accent1"/>
              </a:solidFill>
              <a:ln w="0">
                <a:solidFill>
                  <a:schemeClr val="accent1"/>
                </a:solidFill>
                <a:prstDash val="solid"/>
                <a:round/>
                <a:headEnd/>
                <a:tailEnd/>
              </a:ln>
            </p:spPr>
            <p:txBody>
              <a:bodyPr vert="horz" wrap="square" lIns="78191" tIns="39096" rIns="78191" bIns="39096" numCol="1" anchor="t" anchorCtr="0" compatLnSpc="1">
                <a:prstTxWarp prst="textNoShape">
                  <a:avLst/>
                </a:prstTxWarp>
              </a:bodyPr>
              <a:lstStyle/>
              <a:p>
                <a:endParaRPr lang="en-GB" sz="1539" dirty="0"/>
              </a:p>
            </p:txBody>
          </p:sp>
          <p:sp>
            <p:nvSpPr>
              <p:cNvPr id="310" name="Freeform 45"/>
              <p:cNvSpPr>
                <a:spLocks/>
              </p:cNvSpPr>
              <p:nvPr/>
            </p:nvSpPr>
            <p:spPr bwMode="auto">
              <a:xfrm>
                <a:off x="3319" y="2767"/>
                <a:ext cx="512" cy="473"/>
              </a:xfrm>
              <a:custGeom>
                <a:avLst/>
                <a:gdLst/>
                <a:ahLst/>
                <a:cxnLst>
                  <a:cxn ang="0">
                    <a:pos x="608" y="1262"/>
                  </a:cxn>
                  <a:cxn ang="0">
                    <a:pos x="1365" y="312"/>
                  </a:cxn>
                  <a:cxn ang="0">
                    <a:pos x="0" y="0"/>
                  </a:cxn>
                  <a:cxn ang="0">
                    <a:pos x="608" y="1262"/>
                  </a:cxn>
                </a:cxnLst>
                <a:rect l="0" t="0" r="r" b="b"/>
                <a:pathLst>
                  <a:path w="1365" h="1262">
                    <a:moveTo>
                      <a:pt x="608" y="1262"/>
                    </a:moveTo>
                    <a:cubicBezTo>
                      <a:pt x="992" y="1077"/>
                      <a:pt x="1271" y="727"/>
                      <a:pt x="1365" y="312"/>
                    </a:cubicBezTo>
                    <a:lnTo>
                      <a:pt x="0" y="0"/>
                    </a:lnTo>
                    <a:lnTo>
                      <a:pt x="608" y="1262"/>
                    </a:lnTo>
                    <a:close/>
                  </a:path>
                </a:pathLst>
              </a:custGeom>
              <a:solidFill>
                <a:schemeClr val="accent4"/>
              </a:solidFill>
              <a:ln w="0">
                <a:solidFill>
                  <a:schemeClr val="accent4"/>
                </a:solidFill>
                <a:prstDash val="solid"/>
                <a:round/>
                <a:headEnd/>
                <a:tailEnd/>
              </a:ln>
            </p:spPr>
            <p:txBody>
              <a:bodyPr vert="horz" wrap="square" lIns="78191" tIns="39096" rIns="78191" bIns="39096" numCol="1" anchor="t" anchorCtr="0" compatLnSpc="1">
                <a:prstTxWarp prst="textNoShape">
                  <a:avLst/>
                </a:prstTxWarp>
              </a:bodyPr>
              <a:lstStyle/>
              <a:p>
                <a:endParaRPr lang="en-GB" sz="1539" dirty="0"/>
              </a:p>
            </p:txBody>
          </p:sp>
          <p:sp>
            <p:nvSpPr>
              <p:cNvPr id="311" name="Freeform 46"/>
              <p:cNvSpPr>
                <a:spLocks/>
              </p:cNvSpPr>
              <p:nvPr/>
            </p:nvSpPr>
            <p:spPr bwMode="auto">
              <a:xfrm>
                <a:off x="3091" y="2767"/>
                <a:ext cx="456" cy="543"/>
              </a:xfrm>
              <a:custGeom>
                <a:avLst/>
                <a:gdLst/>
                <a:ahLst/>
                <a:cxnLst>
                  <a:cxn ang="0">
                    <a:pos x="0" y="1262"/>
                  </a:cxn>
                  <a:cxn ang="0">
                    <a:pos x="1215" y="1262"/>
                  </a:cxn>
                  <a:cxn ang="0">
                    <a:pos x="607" y="0"/>
                  </a:cxn>
                  <a:cxn ang="0">
                    <a:pos x="0" y="1262"/>
                  </a:cxn>
                </a:cxnLst>
                <a:rect l="0" t="0" r="r" b="b"/>
                <a:pathLst>
                  <a:path w="1215" h="1447">
                    <a:moveTo>
                      <a:pt x="0" y="1262"/>
                    </a:moveTo>
                    <a:cubicBezTo>
                      <a:pt x="384" y="1447"/>
                      <a:pt x="831" y="1447"/>
                      <a:pt x="1215" y="1262"/>
                    </a:cubicBezTo>
                    <a:lnTo>
                      <a:pt x="607" y="0"/>
                    </a:lnTo>
                    <a:lnTo>
                      <a:pt x="0" y="1262"/>
                    </a:lnTo>
                    <a:close/>
                  </a:path>
                </a:pathLst>
              </a:custGeom>
              <a:solidFill>
                <a:schemeClr val="accent2"/>
              </a:solidFill>
              <a:ln w="0">
                <a:solidFill>
                  <a:schemeClr val="accent2"/>
                </a:solidFill>
                <a:prstDash val="solid"/>
                <a:round/>
                <a:headEnd/>
                <a:tailEnd/>
              </a:ln>
            </p:spPr>
            <p:txBody>
              <a:bodyPr vert="horz" wrap="square" lIns="78191" tIns="39096" rIns="78191" bIns="39096" numCol="1" anchor="t" anchorCtr="0" compatLnSpc="1">
                <a:prstTxWarp prst="textNoShape">
                  <a:avLst/>
                </a:prstTxWarp>
              </a:bodyPr>
              <a:lstStyle/>
              <a:p>
                <a:endParaRPr lang="en-GB" sz="1539" dirty="0"/>
              </a:p>
            </p:txBody>
          </p:sp>
          <p:sp>
            <p:nvSpPr>
              <p:cNvPr id="312" name="Freeform 47"/>
              <p:cNvSpPr>
                <a:spLocks/>
              </p:cNvSpPr>
              <p:nvPr/>
            </p:nvSpPr>
            <p:spPr bwMode="auto">
              <a:xfrm>
                <a:off x="2807" y="2767"/>
                <a:ext cx="512" cy="473"/>
              </a:xfrm>
              <a:custGeom>
                <a:avLst/>
                <a:gdLst/>
                <a:ahLst/>
                <a:cxnLst>
                  <a:cxn ang="0">
                    <a:pos x="0" y="312"/>
                  </a:cxn>
                  <a:cxn ang="0">
                    <a:pos x="757" y="1262"/>
                  </a:cxn>
                  <a:cxn ang="0">
                    <a:pos x="1364" y="0"/>
                  </a:cxn>
                  <a:cxn ang="0">
                    <a:pos x="0" y="312"/>
                  </a:cxn>
                </a:cxnLst>
                <a:rect l="0" t="0" r="r" b="b"/>
                <a:pathLst>
                  <a:path w="1364" h="1262">
                    <a:moveTo>
                      <a:pt x="0" y="312"/>
                    </a:moveTo>
                    <a:cubicBezTo>
                      <a:pt x="94" y="727"/>
                      <a:pt x="373" y="1077"/>
                      <a:pt x="757" y="1262"/>
                    </a:cubicBezTo>
                    <a:lnTo>
                      <a:pt x="1364" y="0"/>
                    </a:lnTo>
                    <a:lnTo>
                      <a:pt x="0" y="312"/>
                    </a:lnTo>
                    <a:close/>
                  </a:path>
                </a:pathLst>
              </a:custGeom>
              <a:solidFill>
                <a:schemeClr val="accent3"/>
              </a:solidFill>
              <a:ln w="0">
                <a:solidFill>
                  <a:schemeClr val="accent3"/>
                </a:solidFill>
                <a:prstDash val="solid"/>
                <a:round/>
                <a:headEnd/>
                <a:tailEnd/>
              </a:ln>
            </p:spPr>
            <p:txBody>
              <a:bodyPr vert="horz" wrap="square" lIns="78191" tIns="39096" rIns="78191" bIns="39096" numCol="1" anchor="t" anchorCtr="0" compatLnSpc="1">
                <a:prstTxWarp prst="textNoShape">
                  <a:avLst/>
                </a:prstTxWarp>
              </a:bodyPr>
              <a:lstStyle/>
              <a:p>
                <a:endParaRPr lang="en-GB" sz="1539" dirty="0"/>
              </a:p>
            </p:txBody>
          </p:sp>
          <p:sp>
            <p:nvSpPr>
              <p:cNvPr id="313" name="Freeform 48"/>
              <p:cNvSpPr>
                <a:spLocks/>
              </p:cNvSpPr>
              <p:nvPr/>
            </p:nvSpPr>
            <p:spPr bwMode="auto">
              <a:xfrm>
                <a:off x="2772" y="2440"/>
                <a:ext cx="547" cy="444"/>
              </a:xfrm>
              <a:custGeom>
                <a:avLst/>
                <a:gdLst/>
                <a:ahLst/>
                <a:cxnLst>
                  <a:cxn ang="0">
                    <a:pos x="365" y="0"/>
                  </a:cxn>
                  <a:cxn ang="0">
                    <a:pos x="95" y="1184"/>
                  </a:cxn>
                  <a:cxn ang="0">
                    <a:pos x="1459" y="872"/>
                  </a:cxn>
                  <a:cxn ang="0">
                    <a:pos x="365" y="0"/>
                  </a:cxn>
                </a:cxnLst>
                <a:rect l="0" t="0" r="r" b="b"/>
                <a:pathLst>
                  <a:path w="1459" h="1184">
                    <a:moveTo>
                      <a:pt x="365" y="0"/>
                    </a:moveTo>
                    <a:cubicBezTo>
                      <a:pt x="99" y="333"/>
                      <a:pt x="0" y="769"/>
                      <a:pt x="95" y="1184"/>
                    </a:cubicBezTo>
                    <a:lnTo>
                      <a:pt x="1459" y="872"/>
                    </a:lnTo>
                    <a:lnTo>
                      <a:pt x="365" y="0"/>
                    </a:lnTo>
                    <a:close/>
                  </a:path>
                </a:pathLst>
              </a:custGeom>
              <a:solidFill>
                <a:schemeClr val="accent6"/>
              </a:solidFill>
              <a:ln w="0">
                <a:solidFill>
                  <a:schemeClr val="accent6"/>
                </a:solidFill>
                <a:prstDash val="solid"/>
                <a:round/>
                <a:headEnd/>
                <a:tailEnd/>
              </a:ln>
            </p:spPr>
            <p:txBody>
              <a:bodyPr vert="horz" wrap="square" lIns="78191" tIns="39096" rIns="78191" bIns="39096" numCol="1" anchor="t" anchorCtr="0" compatLnSpc="1">
                <a:prstTxWarp prst="textNoShape">
                  <a:avLst/>
                </a:prstTxWarp>
              </a:bodyPr>
              <a:lstStyle/>
              <a:p>
                <a:endParaRPr lang="en-GB" sz="1539" dirty="0"/>
              </a:p>
            </p:txBody>
          </p:sp>
          <p:sp>
            <p:nvSpPr>
              <p:cNvPr id="314" name="Freeform 49"/>
              <p:cNvSpPr>
                <a:spLocks/>
              </p:cNvSpPr>
              <p:nvPr/>
            </p:nvSpPr>
            <p:spPr bwMode="auto">
              <a:xfrm>
                <a:off x="2909" y="2242"/>
                <a:ext cx="410" cy="525"/>
              </a:xfrm>
              <a:custGeom>
                <a:avLst/>
                <a:gdLst/>
                <a:ahLst/>
                <a:cxnLst>
                  <a:cxn ang="0">
                    <a:pos x="1094" y="0"/>
                  </a:cxn>
                  <a:cxn ang="0">
                    <a:pos x="0" y="528"/>
                  </a:cxn>
                  <a:cxn ang="0">
                    <a:pos x="1094" y="1400"/>
                  </a:cxn>
                  <a:cxn ang="0">
                    <a:pos x="1094" y="0"/>
                  </a:cxn>
                </a:cxnLst>
                <a:rect l="0" t="0" r="r" b="b"/>
                <a:pathLst>
                  <a:path w="1094" h="1400">
                    <a:moveTo>
                      <a:pt x="1094" y="0"/>
                    </a:moveTo>
                    <a:cubicBezTo>
                      <a:pt x="668" y="0"/>
                      <a:pt x="266" y="194"/>
                      <a:pt x="0" y="528"/>
                    </a:cubicBezTo>
                    <a:lnTo>
                      <a:pt x="1094" y="1400"/>
                    </a:lnTo>
                    <a:lnTo>
                      <a:pt x="1094" y="0"/>
                    </a:lnTo>
                    <a:close/>
                  </a:path>
                </a:pathLst>
              </a:custGeom>
              <a:solidFill>
                <a:schemeClr val="tx2"/>
              </a:solidFill>
              <a:ln w="0">
                <a:solidFill>
                  <a:schemeClr val="tx2"/>
                </a:solidFill>
                <a:prstDash val="solid"/>
                <a:round/>
                <a:headEnd/>
                <a:tailEnd/>
              </a:ln>
            </p:spPr>
            <p:txBody>
              <a:bodyPr vert="horz" wrap="square" lIns="78191" tIns="39096" rIns="78191" bIns="39096" numCol="1" anchor="t" anchorCtr="0" compatLnSpc="1">
                <a:prstTxWarp prst="textNoShape">
                  <a:avLst/>
                </a:prstTxWarp>
              </a:bodyPr>
              <a:lstStyle/>
              <a:p>
                <a:endParaRPr lang="en-GB" sz="1539" dirty="0"/>
              </a:p>
            </p:txBody>
          </p:sp>
        </p:grpSp>
        <p:sp>
          <p:nvSpPr>
            <p:cNvPr id="316" name="Oval 315"/>
            <p:cNvSpPr/>
            <p:nvPr/>
          </p:nvSpPr>
          <p:spPr bwMode="ltGray">
            <a:xfrm>
              <a:off x="4347050" y="1943301"/>
              <a:ext cx="3394204" cy="339420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err="1">
                <a:solidFill>
                  <a:schemeClr val="bg1"/>
                </a:solidFill>
                <a:latin typeface="Georgia" pitchFamily="18" charset="0"/>
              </a:endParaRPr>
            </a:p>
          </p:txBody>
        </p:sp>
      </p:grpSp>
      <p:grpSp>
        <p:nvGrpSpPr>
          <p:cNvPr id="317" name="Group 316"/>
          <p:cNvGrpSpPr/>
          <p:nvPr/>
        </p:nvGrpSpPr>
        <p:grpSpPr>
          <a:xfrm>
            <a:off x="4555027" y="3070160"/>
            <a:ext cx="2925438" cy="1442159"/>
            <a:chOff x="3175" y="1146175"/>
            <a:chExt cx="15586075" cy="7683500"/>
          </a:xfrm>
          <a:solidFill>
            <a:schemeClr val="bg2">
              <a:lumMod val="20000"/>
              <a:lumOff val="80000"/>
            </a:schemeClr>
          </a:solidFill>
        </p:grpSpPr>
        <p:sp>
          <p:nvSpPr>
            <p:cNvPr id="318" name="Freeform 5"/>
            <p:cNvSpPr>
              <a:spLocks/>
            </p:cNvSpPr>
            <p:nvPr/>
          </p:nvSpPr>
          <p:spPr bwMode="auto">
            <a:xfrm>
              <a:off x="2765425" y="1825625"/>
              <a:ext cx="311150" cy="171450"/>
            </a:xfrm>
            <a:custGeom>
              <a:avLst/>
              <a:gdLst>
                <a:gd name="T0" fmla="*/ 158 w 196"/>
                <a:gd name="T1" fmla="*/ 14 h 108"/>
                <a:gd name="T2" fmla="*/ 154 w 196"/>
                <a:gd name="T3" fmla="*/ 18 h 108"/>
                <a:gd name="T4" fmla="*/ 108 w 196"/>
                <a:gd name="T5" fmla="*/ 2 h 108"/>
                <a:gd name="T6" fmla="*/ 102 w 196"/>
                <a:gd name="T7" fmla="*/ 0 h 108"/>
                <a:gd name="T8" fmla="*/ 96 w 196"/>
                <a:gd name="T9" fmla="*/ 4 h 108"/>
                <a:gd name="T10" fmla="*/ 104 w 196"/>
                <a:gd name="T11" fmla="*/ 22 h 108"/>
                <a:gd name="T12" fmla="*/ 116 w 196"/>
                <a:gd name="T13" fmla="*/ 34 h 108"/>
                <a:gd name="T14" fmla="*/ 122 w 196"/>
                <a:gd name="T15" fmla="*/ 40 h 108"/>
                <a:gd name="T16" fmla="*/ 116 w 196"/>
                <a:gd name="T17" fmla="*/ 40 h 108"/>
                <a:gd name="T18" fmla="*/ 86 w 196"/>
                <a:gd name="T19" fmla="*/ 26 h 108"/>
                <a:gd name="T20" fmla="*/ 78 w 196"/>
                <a:gd name="T21" fmla="*/ 22 h 108"/>
                <a:gd name="T22" fmla="*/ 70 w 196"/>
                <a:gd name="T23" fmla="*/ 22 h 108"/>
                <a:gd name="T24" fmla="*/ 68 w 196"/>
                <a:gd name="T25" fmla="*/ 30 h 108"/>
                <a:gd name="T26" fmla="*/ 72 w 196"/>
                <a:gd name="T27" fmla="*/ 40 h 108"/>
                <a:gd name="T28" fmla="*/ 76 w 196"/>
                <a:gd name="T29" fmla="*/ 44 h 108"/>
                <a:gd name="T30" fmla="*/ 80 w 196"/>
                <a:gd name="T31" fmla="*/ 52 h 108"/>
                <a:gd name="T32" fmla="*/ 76 w 196"/>
                <a:gd name="T33" fmla="*/ 56 h 108"/>
                <a:gd name="T34" fmla="*/ 68 w 196"/>
                <a:gd name="T35" fmla="*/ 54 h 108"/>
                <a:gd name="T36" fmla="*/ 58 w 196"/>
                <a:gd name="T37" fmla="*/ 46 h 108"/>
                <a:gd name="T38" fmla="*/ 48 w 196"/>
                <a:gd name="T39" fmla="*/ 32 h 108"/>
                <a:gd name="T40" fmla="*/ 34 w 196"/>
                <a:gd name="T41" fmla="*/ 14 h 108"/>
                <a:gd name="T42" fmla="*/ 22 w 196"/>
                <a:gd name="T43" fmla="*/ 6 h 108"/>
                <a:gd name="T44" fmla="*/ 14 w 196"/>
                <a:gd name="T45" fmla="*/ 4 h 108"/>
                <a:gd name="T46" fmla="*/ 2 w 196"/>
                <a:gd name="T47" fmla="*/ 8 h 108"/>
                <a:gd name="T48" fmla="*/ 0 w 196"/>
                <a:gd name="T49" fmla="*/ 16 h 108"/>
                <a:gd name="T50" fmla="*/ 10 w 196"/>
                <a:gd name="T51" fmla="*/ 38 h 108"/>
                <a:gd name="T52" fmla="*/ 20 w 196"/>
                <a:gd name="T53" fmla="*/ 48 h 108"/>
                <a:gd name="T54" fmla="*/ 54 w 196"/>
                <a:gd name="T55" fmla="*/ 68 h 108"/>
                <a:gd name="T56" fmla="*/ 62 w 196"/>
                <a:gd name="T57" fmla="*/ 72 h 108"/>
                <a:gd name="T58" fmla="*/ 88 w 196"/>
                <a:gd name="T59" fmla="*/ 70 h 108"/>
                <a:gd name="T60" fmla="*/ 112 w 196"/>
                <a:gd name="T61" fmla="*/ 68 h 108"/>
                <a:gd name="T62" fmla="*/ 118 w 196"/>
                <a:gd name="T63" fmla="*/ 68 h 108"/>
                <a:gd name="T64" fmla="*/ 122 w 196"/>
                <a:gd name="T65" fmla="*/ 72 h 108"/>
                <a:gd name="T66" fmla="*/ 112 w 196"/>
                <a:gd name="T67" fmla="*/ 92 h 108"/>
                <a:gd name="T68" fmla="*/ 112 w 196"/>
                <a:gd name="T69" fmla="*/ 102 h 108"/>
                <a:gd name="T70" fmla="*/ 118 w 196"/>
                <a:gd name="T71" fmla="*/ 106 h 108"/>
                <a:gd name="T72" fmla="*/ 138 w 196"/>
                <a:gd name="T73" fmla="*/ 108 h 108"/>
                <a:gd name="T74" fmla="*/ 170 w 196"/>
                <a:gd name="T75" fmla="*/ 104 h 108"/>
                <a:gd name="T76" fmla="*/ 180 w 196"/>
                <a:gd name="T77" fmla="*/ 102 h 108"/>
                <a:gd name="T78" fmla="*/ 184 w 196"/>
                <a:gd name="T79" fmla="*/ 96 h 108"/>
                <a:gd name="T80" fmla="*/ 190 w 196"/>
                <a:gd name="T81" fmla="*/ 86 h 108"/>
                <a:gd name="T82" fmla="*/ 192 w 196"/>
                <a:gd name="T83" fmla="*/ 82 h 108"/>
                <a:gd name="T84" fmla="*/ 196 w 196"/>
                <a:gd name="T85" fmla="*/ 78 h 108"/>
                <a:gd name="T86" fmla="*/ 190 w 196"/>
                <a:gd name="T87" fmla="*/ 70 h 108"/>
                <a:gd name="T88" fmla="*/ 188 w 196"/>
                <a:gd name="T89" fmla="*/ 60 h 108"/>
                <a:gd name="T90" fmla="*/ 190 w 196"/>
                <a:gd name="T91" fmla="*/ 54 h 108"/>
                <a:gd name="T92" fmla="*/ 190 w 196"/>
                <a:gd name="T93" fmla="*/ 38 h 108"/>
                <a:gd name="T94" fmla="*/ 178 w 196"/>
                <a:gd name="T95" fmla="*/ 22 h 108"/>
                <a:gd name="T96" fmla="*/ 166 w 196"/>
                <a:gd name="T97" fmla="*/ 12 h 108"/>
                <a:gd name="T98" fmla="*/ 160 w 196"/>
                <a:gd name="T99" fmla="*/ 12 h 108"/>
                <a:gd name="T100" fmla="*/ 158 w 196"/>
                <a:gd name="T101" fmla="*/ 1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8">
                  <a:moveTo>
                    <a:pt x="158" y="14"/>
                  </a:moveTo>
                  <a:lnTo>
                    <a:pt x="158" y="14"/>
                  </a:lnTo>
                  <a:lnTo>
                    <a:pt x="158" y="16"/>
                  </a:lnTo>
                  <a:lnTo>
                    <a:pt x="154" y="18"/>
                  </a:lnTo>
                  <a:lnTo>
                    <a:pt x="142" y="16"/>
                  </a:lnTo>
                  <a:lnTo>
                    <a:pt x="108" y="2"/>
                  </a:lnTo>
                  <a:lnTo>
                    <a:pt x="108" y="2"/>
                  </a:lnTo>
                  <a:lnTo>
                    <a:pt x="102" y="0"/>
                  </a:lnTo>
                  <a:lnTo>
                    <a:pt x="98" y="2"/>
                  </a:lnTo>
                  <a:lnTo>
                    <a:pt x="96" y="4"/>
                  </a:lnTo>
                  <a:lnTo>
                    <a:pt x="98" y="10"/>
                  </a:lnTo>
                  <a:lnTo>
                    <a:pt x="104" y="22"/>
                  </a:lnTo>
                  <a:lnTo>
                    <a:pt x="116" y="34"/>
                  </a:lnTo>
                  <a:lnTo>
                    <a:pt x="116" y="34"/>
                  </a:lnTo>
                  <a:lnTo>
                    <a:pt x="120" y="38"/>
                  </a:lnTo>
                  <a:lnTo>
                    <a:pt x="122" y="40"/>
                  </a:lnTo>
                  <a:lnTo>
                    <a:pt x="120" y="42"/>
                  </a:lnTo>
                  <a:lnTo>
                    <a:pt x="116" y="40"/>
                  </a:lnTo>
                  <a:lnTo>
                    <a:pt x="102" y="36"/>
                  </a:lnTo>
                  <a:lnTo>
                    <a:pt x="86" y="26"/>
                  </a:lnTo>
                  <a:lnTo>
                    <a:pt x="86" y="26"/>
                  </a:lnTo>
                  <a:lnTo>
                    <a:pt x="78" y="22"/>
                  </a:lnTo>
                  <a:lnTo>
                    <a:pt x="72" y="20"/>
                  </a:lnTo>
                  <a:lnTo>
                    <a:pt x="70" y="22"/>
                  </a:lnTo>
                  <a:lnTo>
                    <a:pt x="68" y="26"/>
                  </a:lnTo>
                  <a:lnTo>
                    <a:pt x="68" y="30"/>
                  </a:lnTo>
                  <a:lnTo>
                    <a:pt x="70" y="36"/>
                  </a:lnTo>
                  <a:lnTo>
                    <a:pt x="72" y="40"/>
                  </a:lnTo>
                  <a:lnTo>
                    <a:pt x="76" y="44"/>
                  </a:lnTo>
                  <a:lnTo>
                    <a:pt x="76" y="44"/>
                  </a:lnTo>
                  <a:lnTo>
                    <a:pt x="78" y="48"/>
                  </a:lnTo>
                  <a:lnTo>
                    <a:pt x="80" y="52"/>
                  </a:lnTo>
                  <a:lnTo>
                    <a:pt x="78" y="54"/>
                  </a:lnTo>
                  <a:lnTo>
                    <a:pt x="76" y="56"/>
                  </a:lnTo>
                  <a:lnTo>
                    <a:pt x="74" y="56"/>
                  </a:lnTo>
                  <a:lnTo>
                    <a:pt x="68" y="54"/>
                  </a:lnTo>
                  <a:lnTo>
                    <a:pt x="64" y="52"/>
                  </a:lnTo>
                  <a:lnTo>
                    <a:pt x="58" y="46"/>
                  </a:lnTo>
                  <a:lnTo>
                    <a:pt x="58" y="46"/>
                  </a:lnTo>
                  <a:lnTo>
                    <a:pt x="48" y="32"/>
                  </a:lnTo>
                  <a:lnTo>
                    <a:pt x="40" y="18"/>
                  </a:lnTo>
                  <a:lnTo>
                    <a:pt x="34" y="14"/>
                  </a:lnTo>
                  <a:lnTo>
                    <a:pt x="28" y="8"/>
                  </a:lnTo>
                  <a:lnTo>
                    <a:pt x="22" y="6"/>
                  </a:lnTo>
                  <a:lnTo>
                    <a:pt x="14" y="4"/>
                  </a:lnTo>
                  <a:lnTo>
                    <a:pt x="14" y="4"/>
                  </a:lnTo>
                  <a:lnTo>
                    <a:pt x="6" y="6"/>
                  </a:lnTo>
                  <a:lnTo>
                    <a:pt x="2" y="8"/>
                  </a:lnTo>
                  <a:lnTo>
                    <a:pt x="0" y="12"/>
                  </a:lnTo>
                  <a:lnTo>
                    <a:pt x="0" y="16"/>
                  </a:lnTo>
                  <a:lnTo>
                    <a:pt x="4" y="28"/>
                  </a:lnTo>
                  <a:lnTo>
                    <a:pt x="10" y="38"/>
                  </a:lnTo>
                  <a:lnTo>
                    <a:pt x="10" y="38"/>
                  </a:lnTo>
                  <a:lnTo>
                    <a:pt x="20" y="48"/>
                  </a:lnTo>
                  <a:lnTo>
                    <a:pt x="30" y="56"/>
                  </a:lnTo>
                  <a:lnTo>
                    <a:pt x="54" y="68"/>
                  </a:lnTo>
                  <a:lnTo>
                    <a:pt x="54" y="68"/>
                  </a:lnTo>
                  <a:lnTo>
                    <a:pt x="62" y="72"/>
                  </a:lnTo>
                  <a:lnTo>
                    <a:pt x="70" y="72"/>
                  </a:lnTo>
                  <a:lnTo>
                    <a:pt x="88" y="70"/>
                  </a:lnTo>
                  <a:lnTo>
                    <a:pt x="106" y="68"/>
                  </a:lnTo>
                  <a:lnTo>
                    <a:pt x="112" y="68"/>
                  </a:lnTo>
                  <a:lnTo>
                    <a:pt x="118" y="68"/>
                  </a:lnTo>
                  <a:lnTo>
                    <a:pt x="118" y="68"/>
                  </a:lnTo>
                  <a:lnTo>
                    <a:pt x="122" y="70"/>
                  </a:lnTo>
                  <a:lnTo>
                    <a:pt x="122" y="72"/>
                  </a:lnTo>
                  <a:lnTo>
                    <a:pt x="118" y="82"/>
                  </a:lnTo>
                  <a:lnTo>
                    <a:pt x="112" y="92"/>
                  </a:lnTo>
                  <a:lnTo>
                    <a:pt x="110" y="96"/>
                  </a:lnTo>
                  <a:lnTo>
                    <a:pt x="112" y="102"/>
                  </a:lnTo>
                  <a:lnTo>
                    <a:pt x="112" y="102"/>
                  </a:lnTo>
                  <a:lnTo>
                    <a:pt x="118" y="106"/>
                  </a:lnTo>
                  <a:lnTo>
                    <a:pt x="122" y="108"/>
                  </a:lnTo>
                  <a:lnTo>
                    <a:pt x="138" y="108"/>
                  </a:lnTo>
                  <a:lnTo>
                    <a:pt x="170" y="104"/>
                  </a:lnTo>
                  <a:lnTo>
                    <a:pt x="170" y="104"/>
                  </a:lnTo>
                  <a:lnTo>
                    <a:pt x="176" y="102"/>
                  </a:lnTo>
                  <a:lnTo>
                    <a:pt x="180" y="102"/>
                  </a:lnTo>
                  <a:lnTo>
                    <a:pt x="182" y="98"/>
                  </a:lnTo>
                  <a:lnTo>
                    <a:pt x="184" y="96"/>
                  </a:lnTo>
                  <a:lnTo>
                    <a:pt x="186" y="88"/>
                  </a:lnTo>
                  <a:lnTo>
                    <a:pt x="190" y="86"/>
                  </a:lnTo>
                  <a:lnTo>
                    <a:pt x="192" y="82"/>
                  </a:lnTo>
                  <a:lnTo>
                    <a:pt x="192" y="82"/>
                  </a:lnTo>
                  <a:lnTo>
                    <a:pt x="196" y="80"/>
                  </a:lnTo>
                  <a:lnTo>
                    <a:pt x="196" y="78"/>
                  </a:lnTo>
                  <a:lnTo>
                    <a:pt x="192" y="72"/>
                  </a:lnTo>
                  <a:lnTo>
                    <a:pt x="190" y="70"/>
                  </a:lnTo>
                  <a:lnTo>
                    <a:pt x="188" y="66"/>
                  </a:lnTo>
                  <a:lnTo>
                    <a:pt x="188" y="60"/>
                  </a:lnTo>
                  <a:lnTo>
                    <a:pt x="190" y="54"/>
                  </a:lnTo>
                  <a:lnTo>
                    <a:pt x="190" y="54"/>
                  </a:lnTo>
                  <a:lnTo>
                    <a:pt x="192" y="46"/>
                  </a:lnTo>
                  <a:lnTo>
                    <a:pt x="190" y="38"/>
                  </a:lnTo>
                  <a:lnTo>
                    <a:pt x="184" y="30"/>
                  </a:lnTo>
                  <a:lnTo>
                    <a:pt x="178" y="22"/>
                  </a:lnTo>
                  <a:lnTo>
                    <a:pt x="172" y="16"/>
                  </a:lnTo>
                  <a:lnTo>
                    <a:pt x="166" y="12"/>
                  </a:lnTo>
                  <a:lnTo>
                    <a:pt x="160" y="10"/>
                  </a:lnTo>
                  <a:lnTo>
                    <a:pt x="160" y="12"/>
                  </a:lnTo>
                  <a:lnTo>
                    <a:pt x="158" y="14"/>
                  </a:lnTo>
                  <a:lnTo>
                    <a:pt x="158" y="1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19" name="Freeform 6"/>
            <p:cNvSpPr>
              <a:spLocks/>
            </p:cNvSpPr>
            <p:nvPr/>
          </p:nvSpPr>
          <p:spPr bwMode="auto">
            <a:xfrm>
              <a:off x="2955925" y="1514475"/>
              <a:ext cx="63500" cy="38100"/>
            </a:xfrm>
            <a:custGeom>
              <a:avLst/>
              <a:gdLst>
                <a:gd name="T0" fmla="*/ 38 w 40"/>
                <a:gd name="T1" fmla="*/ 20 h 24"/>
                <a:gd name="T2" fmla="*/ 38 w 40"/>
                <a:gd name="T3" fmla="*/ 20 h 24"/>
                <a:gd name="T4" fmla="*/ 40 w 40"/>
                <a:gd name="T5" fmla="*/ 16 h 24"/>
                <a:gd name="T6" fmla="*/ 40 w 40"/>
                <a:gd name="T7" fmla="*/ 14 h 24"/>
                <a:gd name="T8" fmla="*/ 34 w 40"/>
                <a:gd name="T9" fmla="*/ 10 h 24"/>
                <a:gd name="T10" fmla="*/ 28 w 40"/>
                <a:gd name="T11" fmla="*/ 6 h 24"/>
                <a:gd name="T12" fmla="*/ 18 w 40"/>
                <a:gd name="T13" fmla="*/ 2 h 24"/>
                <a:gd name="T14" fmla="*/ 10 w 40"/>
                <a:gd name="T15" fmla="*/ 0 h 24"/>
                <a:gd name="T16" fmla="*/ 4 w 40"/>
                <a:gd name="T17" fmla="*/ 0 h 24"/>
                <a:gd name="T18" fmla="*/ 0 w 40"/>
                <a:gd name="T19" fmla="*/ 2 h 24"/>
                <a:gd name="T20" fmla="*/ 2 w 40"/>
                <a:gd name="T21" fmla="*/ 6 h 24"/>
                <a:gd name="T22" fmla="*/ 2 w 40"/>
                <a:gd name="T23" fmla="*/ 6 h 24"/>
                <a:gd name="T24" fmla="*/ 10 w 40"/>
                <a:gd name="T25" fmla="*/ 14 h 24"/>
                <a:gd name="T26" fmla="*/ 20 w 40"/>
                <a:gd name="T27" fmla="*/ 20 h 24"/>
                <a:gd name="T28" fmla="*/ 26 w 40"/>
                <a:gd name="T29" fmla="*/ 24 h 24"/>
                <a:gd name="T30" fmla="*/ 30 w 40"/>
                <a:gd name="T31" fmla="*/ 24 h 24"/>
                <a:gd name="T32" fmla="*/ 36 w 40"/>
                <a:gd name="T33" fmla="*/ 24 h 24"/>
                <a:gd name="T34" fmla="*/ 38 w 40"/>
                <a:gd name="T35" fmla="*/ 20 h 24"/>
                <a:gd name="T36" fmla="*/ 38 w 40"/>
                <a:gd name="T3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4">
                  <a:moveTo>
                    <a:pt x="38" y="20"/>
                  </a:moveTo>
                  <a:lnTo>
                    <a:pt x="38" y="20"/>
                  </a:lnTo>
                  <a:lnTo>
                    <a:pt x="40" y="16"/>
                  </a:lnTo>
                  <a:lnTo>
                    <a:pt x="40" y="14"/>
                  </a:lnTo>
                  <a:lnTo>
                    <a:pt x="34" y="10"/>
                  </a:lnTo>
                  <a:lnTo>
                    <a:pt x="28" y="6"/>
                  </a:lnTo>
                  <a:lnTo>
                    <a:pt x="18" y="2"/>
                  </a:lnTo>
                  <a:lnTo>
                    <a:pt x="10" y="0"/>
                  </a:lnTo>
                  <a:lnTo>
                    <a:pt x="4" y="0"/>
                  </a:lnTo>
                  <a:lnTo>
                    <a:pt x="0" y="2"/>
                  </a:lnTo>
                  <a:lnTo>
                    <a:pt x="2" y="6"/>
                  </a:lnTo>
                  <a:lnTo>
                    <a:pt x="2" y="6"/>
                  </a:lnTo>
                  <a:lnTo>
                    <a:pt x="10" y="14"/>
                  </a:lnTo>
                  <a:lnTo>
                    <a:pt x="20" y="20"/>
                  </a:lnTo>
                  <a:lnTo>
                    <a:pt x="26" y="24"/>
                  </a:lnTo>
                  <a:lnTo>
                    <a:pt x="30" y="24"/>
                  </a:lnTo>
                  <a:lnTo>
                    <a:pt x="36" y="24"/>
                  </a:lnTo>
                  <a:lnTo>
                    <a:pt x="38" y="20"/>
                  </a:lnTo>
                  <a:lnTo>
                    <a:pt x="38" y="2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0" name="Freeform 7"/>
            <p:cNvSpPr>
              <a:spLocks/>
            </p:cNvSpPr>
            <p:nvPr/>
          </p:nvSpPr>
          <p:spPr bwMode="auto">
            <a:xfrm>
              <a:off x="2390775" y="1714500"/>
              <a:ext cx="149225" cy="73025"/>
            </a:xfrm>
            <a:custGeom>
              <a:avLst/>
              <a:gdLst>
                <a:gd name="T0" fmla="*/ 86 w 94"/>
                <a:gd name="T1" fmla="*/ 10 h 46"/>
                <a:gd name="T2" fmla="*/ 86 w 94"/>
                <a:gd name="T3" fmla="*/ 10 h 46"/>
                <a:gd name="T4" fmla="*/ 92 w 94"/>
                <a:gd name="T5" fmla="*/ 10 h 46"/>
                <a:gd name="T6" fmla="*/ 94 w 94"/>
                <a:gd name="T7" fmla="*/ 8 h 46"/>
                <a:gd name="T8" fmla="*/ 94 w 94"/>
                <a:gd name="T9" fmla="*/ 6 h 46"/>
                <a:gd name="T10" fmla="*/ 94 w 94"/>
                <a:gd name="T11" fmla="*/ 2 h 46"/>
                <a:gd name="T12" fmla="*/ 90 w 94"/>
                <a:gd name="T13" fmla="*/ 0 h 46"/>
                <a:gd name="T14" fmla="*/ 86 w 94"/>
                <a:gd name="T15" fmla="*/ 0 h 46"/>
                <a:gd name="T16" fmla="*/ 78 w 94"/>
                <a:gd name="T17" fmla="*/ 0 h 46"/>
                <a:gd name="T18" fmla="*/ 70 w 94"/>
                <a:gd name="T19" fmla="*/ 0 h 46"/>
                <a:gd name="T20" fmla="*/ 70 w 94"/>
                <a:gd name="T21" fmla="*/ 0 h 46"/>
                <a:gd name="T22" fmla="*/ 48 w 94"/>
                <a:gd name="T23" fmla="*/ 2 h 46"/>
                <a:gd name="T24" fmla="*/ 26 w 94"/>
                <a:gd name="T25" fmla="*/ 6 h 46"/>
                <a:gd name="T26" fmla="*/ 16 w 94"/>
                <a:gd name="T27" fmla="*/ 8 h 46"/>
                <a:gd name="T28" fmla="*/ 8 w 94"/>
                <a:gd name="T29" fmla="*/ 10 h 46"/>
                <a:gd name="T30" fmla="*/ 2 w 94"/>
                <a:gd name="T31" fmla="*/ 16 h 46"/>
                <a:gd name="T32" fmla="*/ 0 w 94"/>
                <a:gd name="T33" fmla="*/ 22 h 46"/>
                <a:gd name="T34" fmla="*/ 0 w 94"/>
                <a:gd name="T35" fmla="*/ 22 h 46"/>
                <a:gd name="T36" fmla="*/ 2 w 94"/>
                <a:gd name="T37" fmla="*/ 32 h 46"/>
                <a:gd name="T38" fmla="*/ 4 w 94"/>
                <a:gd name="T39" fmla="*/ 34 h 46"/>
                <a:gd name="T40" fmla="*/ 8 w 94"/>
                <a:gd name="T41" fmla="*/ 38 h 46"/>
                <a:gd name="T42" fmla="*/ 20 w 94"/>
                <a:gd name="T43" fmla="*/ 42 h 46"/>
                <a:gd name="T44" fmla="*/ 38 w 94"/>
                <a:gd name="T45" fmla="*/ 46 h 46"/>
                <a:gd name="T46" fmla="*/ 38 w 94"/>
                <a:gd name="T47" fmla="*/ 46 h 46"/>
                <a:gd name="T48" fmla="*/ 48 w 94"/>
                <a:gd name="T49" fmla="*/ 46 h 46"/>
                <a:gd name="T50" fmla="*/ 56 w 94"/>
                <a:gd name="T51" fmla="*/ 42 h 46"/>
                <a:gd name="T52" fmla="*/ 64 w 94"/>
                <a:gd name="T53" fmla="*/ 40 h 46"/>
                <a:gd name="T54" fmla="*/ 72 w 94"/>
                <a:gd name="T55" fmla="*/ 34 h 46"/>
                <a:gd name="T56" fmla="*/ 76 w 94"/>
                <a:gd name="T57" fmla="*/ 30 h 46"/>
                <a:gd name="T58" fmla="*/ 80 w 94"/>
                <a:gd name="T59" fmla="*/ 26 h 46"/>
                <a:gd name="T60" fmla="*/ 78 w 94"/>
                <a:gd name="T61" fmla="*/ 22 h 46"/>
                <a:gd name="T62" fmla="*/ 76 w 94"/>
                <a:gd name="T63" fmla="*/ 22 h 46"/>
                <a:gd name="T64" fmla="*/ 76 w 94"/>
                <a:gd name="T65" fmla="*/ 22 h 46"/>
                <a:gd name="T66" fmla="*/ 70 w 94"/>
                <a:gd name="T67" fmla="*/ 20 h 46"/>
                <a:gd name="T68" fmla="*/ 70 w 94"/>
                <a:gd name="T69" fmla="*/ 18 h 46"/>
                <a:gd name="T70" fmla="*/ 70 w 94"/>
                <a:gd name="T71" fmla="*/ 16 h 46"/>
                <a:gd name="T72" fmla="*/ 76 w 94"/>
                <a:gd name="T73" fmla="*/ 14 h 46"/>
                <a:gd name="T74" fmla="*/ 86 w 94"/>
                <a:gd name="T75" fmla="*/ 10 h 46"/>
                <a:gd name="T76" fmla="*/ 86 w 94"/>
                <a:gd name="T77"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46">
                  <a:moveTo>
                    <a:pt x="86" y="10"/>
                  </a:moveTo>
                  <a:lnTo>
                    <a:pt x="86" y="10"/>
                  </a:lnTo>
                  <a:lnTo>
                    <a:pt x="92" y="10"/>
                  </a:lnTo>
                  <a:lnTo>
                    <a:pt x="94" y="8"/>
                  </a:lnTo>
                  <a:lnTo>
                    <a:pt x="94" y="6"/>
                  </a:lnTo>
                  <a:lnTo>
                    <a:pt x="94" y="2"/>
                  </a:lnTo>
                  <a:lnTo>
                    <a:pt x="90" y="0"/>
                  </a:lnTo>
                  <a:lnTo>
                    <a:pt x="86" y="0"/>
                  </a:lnTo>
                  <a:lnTo>
                    <a:pt x="78" y="0"/>
                  </a:lnTo>
                  <a:lnTo>
                    <a:pt x="70" y="0"/>
                  </a:lnTo>
                  <a:lnTo>
                    <a:pt x="70" y="0"/>
                  </a:lnTo>
                  <a:lnTo>
                    <a:pt x="48" y="2"/>
                  </a:lnTo>
                  <a:lnTo>
                    <a:pt x="26" y="6"/>
                  </a:lnTo>
                  <a:lnTo>
                    <a:pt x="16" y="8"/>
                  </a:lnTo>
                  <a:lnTo>
                    <a:pt x="8" y="10"/>
                  </a:lnTo>
                  <a:lnTo>
                    <a:pt x="2" y="16"/>
                  </a:lnTo>
                  <a:lnTo>
                    <a:pt x="0" y="22"/>
                  </a:lnTo>
                  <a:lnTo>
                    <a:pt x="0" y="22"/>
                  </a:lnTo>
                  <a:lnTo>
                    <a:pt x="2" y="32"/>
                  </a:lnTo>
                  <a:lnTo>
                    <a:pt x="4" y="34"/>
                  </a:lnTo>
                  <a:lnTo>
                    <a:pt x="8" y="38"/>
                  </a:lnTo>
                  <a:lnTo>
                    <a:pt x="20" y="42"/>
                  </a:lnTo>
                  <a:lnTo>
                    <a:pt x="38" y="46"/>
                  </a:lnTo>
                  <a:lnTo>
                    <a:pt x="38" y="46"/>
                  </a:lnTo>
                  <a:lnTo>
                    <a:pt x="48" y="46"/>
                  </a:lnTo>
                  <a:lnTo>
                    <a:pt x="56" y="42"/>
                  </a:lnTo>
                  <a:lnTo>
                    <a:pt x="64" y="40"/>
                  </a:lnTo>
                  <a:lnTo>
                    <a:pt x="72" y="34"/>
                  </a:lnTo>
                  <a:lnTo>
                    <a:pt x="76" y="30"/>
                  </a:lnTo>
                  <a:lnTo>
                    <a:pt x="80" y="26"/>
                  </a:lnTo>
                  <a:lnTo>
                    <a:pt x="78" y="22"/>
                  </a:lnTo>
                  <a:lnTo>
                    <a:pt x="76" y="22"/>
                  </a:lnTo>
                  <a:lnTo>
                    <a:pt x="76" y="22"/>
                  </a:lnTo>
                  <a:lnTo>
                    <a:pt x="70" y="20"/>
                  </a:lnTo>
                  <a:lnTo>
                    <a:pt x="70" y="18"/>
                  </a:lnTo>
                  <a:lnTo>
                    <a:pt x="70" y="16"/>
                  </a:lnTo>
                  <a:lnTo>
                    <a:pt x="76" y="14"/>
                  </a:lnTo>
                  <a:lnTo>
                    <a:pt x="86" y="10"/>
                  </a:lnTo>
                  <a:lnTo>
                    <a:pt x="86" y="1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1" name="Freeform 8"/>
            <p:cNvSpPr>
              <a:spLocks/>
            </p:cNvSpPr>
            <p:nvPr/>
          </p:nvSpPr>
          <p:spPr bwMode="auto">
            <a:xfrm>
              <a:off x="2717800" y="1584325"/>
              <a:ext cx="282575" cy="149225"/>
            </a:xfrm>
            <a:custGeom>
              <a:avLst/>
              <a:gdLst>
                <a:gd name="T0" fmla="*/ 24 w 178"/>
                <a:gd name="T1" fmla="*/ 32 h 94"/>
                <a:gd name="T2" fmla="*/ 36 w 178"/>
                <a:gd name="T3" fmla="*/ 30 h 94"/>
                <a:gd name="T4" fmla="*/ 48 w 178"/>
                <a:gd name="T5" fmla="*/ 32 h 94"/>
                <a:gd name="T6" fmla="*/ 58 w 178"/>
                <a:gd name="T7" fmla="*/ 40 h 94"/>
                <a:gd name="T8" fmla="*/ 60 w 178"/>
                <a:gd name="T9" fmla="*/ 50 h 94"/>
                <a:gd name="T10" fmla="*/ 56 w 178"/>
                <a:gd name="T11" fmla="*/ 52 h 94"/>
                <a:gd name="T12" fmla="*/ 34 w 178"/>
                <a:gd name="T13" fmla="*/ 54 h 94"/>
                <a:gd name="T14" fmla="*/ 16 w 178"/>
                <a:gd name="T15" fmla="*/ 54 h 94"/>
                <a:gd name="T16" fmla="*/ 16 w 178"/>
                <a:gd name="T17" fmla="*/ 56 h 94"/>
                <a:gd name="T18" fmla="*/ 24 w 178"/>
                <a:gd name="T19" fmla="*/ 66 h 94"/>
                <a:gd name="T20" fmla="*/ 34 w 178"/>
                <a:gd name="T21" fmla="*/ 68 h 94"/>
                <a:gd name="T22" fmla="*/ 52 w 178"/>
                <a:gd name="T23" fmla="*/ 66 h 94"/>
                <a:gd name="T24" fmla="*/ 62 w 178"/>
                <a:gd name="T25" fmla="*/ 64 h 94"/>
                <a:gd name="T26" fmla="*/ 82 w 178"/>
                <a:gd name="T27" fmla="*/ 62 h 94"/>
                <a:gd name="T28" fmla="*/ 108 w 178"/>
                <a:gd name="T29" fmla="*/ 70 h 94"/>
                <a:gd name="T30" fmla="*/ 124 w 178"/>
                <a:gd name="T31" fmla="*/ 80 h 94"/>
                <a:gd name="T32" fmla="*/ 144 w 178"/>
                <a:gd name="T33" fmla="*/ 92 h 94"/>
                <a:gd name="T34" fmla="*/ 158 w 178"/>
                <a:gd name="T35" fmla="*/ 94 h 94"/>
                <a:gd name="T36" fmla="*/ 170 w 178"/>
                <a:gd name="T37" fmla="*/ 90 h 94"/>
                <a:gd name="T38" fmla="*/ 174 w 178"/>
                <a:gd name="T39" fmla="*/ 86 h 94"/>
                <a:gd name="T40" fmla="*/ 178 w 178"/>
                <a:gd name="T41" fmla="*/ 76 h 94"/>
                <a:gd name="T42" fmla="*/ 172 w 178"/>
                <a:gd name="T43" fmla="*/ 68 h 94"/>
                <a:gd name="T44" fmla="*/ 162 w 178"/>
                <a:gd name="T45" fmla="*/ 60 h 94"/>
                <a:gd name="T46" fmla="*/ 164 w 178"/>
                <a:gd name="T47" fmla="*/ 56 h 94"/>
                <a:gd name="T48" fmla="*/ 162 w 178"/>
                <a:gd name="T49" fmla="*/ 48 h 94"/>
                <a:gd name="T50" fmla="*/ 154 w 178"/>
                <a:gd name="T51" fmla="*/ 40 h 94"/>
                <a:gd name="T52" fmla="*/ 130 w 178"/>
                <a:gd name="T53" fmla="*/ 36 h 94"/>
                <a:gd name="T54" fmla="*/ 126 w 178"/>
                <a:gd name="T55" fmla="*/ 34 h 94"/>
                <a:gd name="T56" fmla="*/ 116 w 178"/>
                <a:gd name="T57" fmla="*/ 24 h 94"/>
                <a:gd name="T58" fmla="*/ 106 w 178"/>
                <a:gd name="T59" fmla="*/ 16 h 94"/>
                <a:gd name="T60" fmla="*/ 102 w 178"/>
                <a:gd name="T61" fmla="*/ 16 h 94"/>
                <a:gd name="T62" fmla="*/ 86 w 178"/>
                <a:gd name="T63" fmla="*/ 22 h 94"/>
                <a:gd name="T64" fmla="*/ 84 w 178"/>
                <a:gd name="T65" fmla="*/ 14 h 94"/>
                <a:gd name="T66" fmla="*/ 82 w 178"/>
                <a:gd name="T67" fmla="*/ 12 h 94"/>
                <a:gd name="T68" fmla="*/ 74 w 178"/>
                <a:gd name="T69" fmla="*/ 4 h 94"/>
                <a:gd name="T70" fmla="*/ 50 w 178"/>
                <a:gd name="T71" fmla="*/ 0 h 94"/>
                <a:gd name="T72" fmla="*/ 12 w 178"/>
                <a:gd name="T73" fmla="*/ 2 h 94"/>
                <a:gd name="T74" fmla="*/ 6 w 178"/>
                <a:gd name="T75" fmla="*/ 4 h 94"/>
                <a:gd name="T76" fmla="*/ 0 w 178"/>
                <a:gd name="T77" fmla="*/ 12 h 94"/>
                <a:gd name="T78" fmla="*/ 2 w 178"/>
                <a:gd name="T79" fmla="*/ 24 h 94"/>
                <a:gd name="T80" fmla="*/ 12 w 178"/>
                <a:gd name="T81" fmla="*/ 32 h 94"/>
                <a:gd name="T82" fmla="*/ 24 w 178"/>
                <a:gd name="T83"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 h="94">
                  <a:moveTo>
                    <a:pt x="24" y="32"/>
                  </a:moveTo>
                  <a:lnTo>
                    <a:pt x="24" y="32"/>
                  </a:lnTo>
                  <a:lnTo>
                    <a:pt x="30" y="30"/>
                  </a:lnTo>
                  <a:lnTo>
                    <a:pt x="36" y="30"/>
                  </a:lnTo>
                  <a:lnTo>
                    <a:pt x="42" y="30"/>
                  </a:lnTo>
                  <a:lnTo>
                    <a:pt x="48" y="32"/>
                  </a:lnTo>
                  <a:lnTo>
                    <a:pt x="54" y="36"/>
                  </a:lnTo>
                  <a:lnTo>
                    <a:pt x="58" y="40"/>
                  </a:lnTo>
                  <a:lnTo>
                    <a:pt x="60" y="44"/>
                  </a:lnTo>
                  <a:lnTo>
                    <a:pt x="60" y="50"/>
                  </a:lnTo>
                  <a:lnTo>
                    <a:pt x="60" y="50"/>
                  </a:lnTo>
                  <a:lnTo>
                    <a:pt x="56" y="52"/>
                  </a:lnTo>
                  <a:lnTo>
                    <a:pt x="50" y="54"/>
                  </a:lnTo>
                  <a:lnTo>
                    <a:pt x="34" y="54"/>
                  </a:lnTo>
                  <a:lnTo>
                    <a:pt x="20" y="52"/>
                  </a:lnTo>
                  <a:lnTo>
                    <a:pt x="16" y="54"/>
                  </a:lnTo>
                  <a:lnTo>
                    <a:pt x="16" y="56"/>
                  </a:lnTo>
                  <a:lnTo>
                    <a:pt x="16" y="56"/>
                  </a:lnTo>
                  <a:lnTo>
                    <a:pt x="18" y="60"/>
                  </a:lnTo>
                  <a:lnTo>
                    <a:pt x="24" y="66"/>
                  </a:lnTo>
                  <a:lnTo>
                    <a:pt x="28" y="68"/>
                  </a:lnTo>
                  <a:lnTo>
                    <a:pt x="34" y="68"/>
                  </a:lnTo>
                  <a:lnTo>
                    <a:pt x="42" y="68"/>
                  </a:lnTo>
                  <a:lnTo>
                    <a:pt x="52" y="66"/>
                  </a:lnTo>
                  <a:lnTo>
                    <a:pt x="52" y="66"/>
                  </a:lnTo>
                  <a:lnTo>
                    <a:pt x="62" y="64"/>
                  </a:lnTo>
                  <a:lnTo>
                    <a:pt x="72" y="62"/>
                  </a:lnTo>
                  <a:lnTo>
                    <a:pt x="82" y="62"/>
                  </a:lnTo>
                  <a:lnTo>
                    <a:pt x="90" y="64"/>
                  </a:lnTo>
                  <a:lnTo>
                    <a:pt x="108" y="70"/>
                  </a:lnTo>
                  <a:lnTo>
                    <a:pt x="124" y="80"/>
                  </a:lnTo>
                  <a:lnTo>
                    <a:pt x="124" y="80"/>
                  </a:lnTo>
                  <a:lnTo>
                    <a:pt x="138" y="90"/>
                  </a:lnTo>
                  <a:lnTo>
                    <a:pt x="144" y="92"/>
                  </a:lnTo>
                  <a:lnTo>
                    <a:pt x="152" y="94"/>
                  </a:lnTo>
                  <a:lnTo>
                    <a:pt x="158" y="94"/>
                  </a:lnTo>
                  <a:lnTo>
                    <a:pt x="164" y="94"/>
                  </a:lnTo>
                  <a:lnTo>
                    <a:pt x="170" y="90"/>
                  </a:lnTo>
                  <a:lnTo>
                    <a:pt x="174" y="86"/>
                  </a:lnTo>
                  <a:lnTo>
                    <a:pt x="174" y="86"/>
                  </a:lnTo>
                  <a:lnTo>
                    <a:pt x="178" y="80"/>
                  </a:lnTo>
                  <a:lnTo>
                    <a:pt x="178" y="76"/>
                  </a:lnTo>
                  <a:lnTo>
                    <a:pt x="176" y="72"/>
                  </a:lnTo>
                  <a:lnTo>
                    <a:pt x="172" y="68"/>
                  </a:lnTo>
                  <a:lnTo>
                    <a:pt x="164" y="62"/>
                  </a:lnTo>
                  <a:lnTo>
                    <a:pt x="162" y="60"/>
                  </a:lnTo>
                  <a:lnTo>
                    <a:pt x="164" y="56"/>
                  </a:lnTo>
                  <a:lnTo>
                    <a:pt x="164" y="56"/>
                  </a:lnTo>
                  <a:lnTo>
                    <a:pt x="164" y="50"/>
                  </a:lnTo>
                  <a:lnTo>
                    <a:pt x="162" y="48"/>
                  </a:lnTo>
                  <a:lnTo>
                    <a:pt x="160" y="44"/>
                  </a:lnTo>
                  <a:lnTo>
                    <a:pt x="154" y="40"/>
                  </a:lnTo>
                  <a:lnTo>
                    <a:pt x="142" y="38"/>
                  </a:lnTo>
                  <a:lnTo>
                    <a:pt x="130" y="36"/>
                  </a:lnTo>
                  <a:lnTo>
                    <a:pt x="130" y="36"/>
                  </a:lnTo>
                  <a:lnTo>
                    <a:pt x="126" y="34"/>
                  </a:lnTo>
                  <a:lnTo>
                    <a:pt x="122" y="32"/>
                  </a:lnTo>
                  <a:lnTo>
                    <a:pt x="116" y="24"/>
                  </a:lnTo>
                  <a:lnTo>
                    <a:pt x="110" y="18"/>
                  </a:lnTo>
                  <a:lnTo>
                    <a:pt x="106" y="16"/>
                  </a:lnTo>
                  <a:lnTo>
                    <a:pt x="102" y="16"/>
                  </a:lnTo>
                  <a:lnTo>
                    <a:pt x="102" y="16"/>
                  </a:lnTo>
                  <a:lnTo>
                    <a:pt x="88" y="22"/>
                  </a:lnTo>
                  <a:lnTo>
                    <a:pt x="86" y="22"/>
                  </a:lnTo>
                  <a:lnTo>
                    <a:pt x="84" y="22"/>
                  </a:lnTo>
                  <a:lnTo>
                    <a:pt x="84" y="14"/>
                  </a:lnTo>
                  <a:lnTo>
                    <a:pt x="84" y="14"/>
                  </a:lnTo>
                  <a:lnTo>
                    <a:pt x="82" y="12"/>
                  </a:lnTo>
                  <a:lnTo>
                    <a:pt x="80" y="8"/>
                  </a:lnTo>
                  <a:lnTo>
                    <a:pt x="74" y="4"/>
                  </a:lnTo>
                  <a:lnTo>
                    <a:pt x="62" y="2"/>
                  </a:lnTo>
                  <a:lnTo>
                    <a:pt x="50" y="0"/>
                  </a:lnTo>
                  <a:lnTo>
                    <a:pt x="24" y="0"/>
                  </a:lnTo>
                  <a:lnTo>
                    <a:pt x="12" y="2"/>
                  </a:lnTo>
                  <a:lnTo>
                    <a:pt x="6" y="4"/>
                  </a:lnTo>
                  <a:lnTo>
                    <a:pt x="6" y="4"/>
                  </a:lnTo>
                  <a:lnTo>
                    <a:pt x="0" y="6"/>
                  </a:lnTo>
                  <a:lnTo>
                    <a:pt x="0" y="12"/>
                  </a:lnTo>
                  <a:lnTo>
                    <a:pt x="0" y="18"/>
                  </a:lnTo>
                  <a:lnTo>
                    <a:pt x="2" y="24"/>
                  </a:lnTo>
                  <a:lnTo>
                    <a:pt x="6" y="28"/>
                  </a:lnTo>
                  <a:lnTo>
                    <a:pt x="12" y="32"/>
                  </a:lnTo>
                  <a:lnTo>
                    <a:pt x="18" y="34"/>
                  </a:lnTo>
                  <a:lnTo>
                    <a:pt x="24" y="32"/>
                  </a:lnTo>
                  <a:lnTo>
                    <a:pt x="24" y="3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2" name="Freeform 9"/>
            <p:cNvSpPr>
              <a:spLocks/>
            </p:cNvSpPr>
            <p:nvPr/>
          </p:nvSpPr>
          <p:spPr bwMode="auto">
            <a:xfrm>
              <a:off x="2847975" y="2060575"/>
              <a:ext cx="273050" cy="238125"/>
            </a:xfrm>
            <a:custGeom>
              <a:avLst/>
              <a:gdLst>
                <a:gd name="T0" fmla="*/ 88 w 172"/>
                <a:gd name="T1" fmla="*/ 146 h 150"/>
                <a:gd name="T2" fmla="*/ 102 w 172"/>
                <a:gd name="T3" fmla="*/ 150 h 150"/>
                <a:gd name="T4" fmla="*/ 110 w 172"/>
                <a:gd name="T5" fmla="*/ 146 h 150"/>
                <a:gd name="T6" fmla="*/ 120 w 172"/>
                <a:gd name="T7" fmla="*/ 136 h 150"/>
                <a:gd name="T8" fmla="*/ 136 w 172"/>
                <a:gd name="T9" fmla="*/ 132 h 150"/>
                <a:gd name="T10" fmla="*/ 142 w 172"/>
                <a:gd name="T11" fmla="*/ 132 h 150"/>
                <a:gd name="T12" fmla="*/ 154 w 172"/>
                <a:gd name="T13" fmla="*/ 124 h 150"/>
                <a:gd name="T14" fmla="*/ 164 w 172"/>
                <a:gd name="T15" fmla="*/ 106 h 150"/>
                <a:gd name="T16" fmla="*/ 172 w 172"/>
                <a:gd name="T17" fmla="*/ 66 h 150"/>
                <a:gd name="T18" fmla="*/ 172 w 172"/>
                <a:gd name="T19" fmla="*/ 60 h 150"/>
                <a:gd name="T20" fmla="*/ 166 w 172"/>
                <a:gd name="T21" fmla="*/ 54 h 150"/>
                <a:gd name="T22" fmla="*/ 158 w 172"/>
                <a:gd name="T23" fmla="*/ 52 h 150"/>
                <a:gd name="T24" fmla="*/ 154 w 172"/>
                <a:gd name="T25" fmla="*/ 58 h 150"/>
                <a:gd name="T26" fmla="*/ 156 w 172"/>
                <a:gd name="T27" fmla="*/ 62 h 150"/>
                <a:gd name="T28" fmla="*/ 156 w 172"/>
                <a:gd name="T29" fmla="*/ 78 h 150"/>
                <a:gd name="T30" fmla="*/ 154 w 172"/>
                <a:gd name="T31" fmla="*/ 80 h 150"/>
                <a:gd name="T32" fmla="*/ 152 w 172"/>
                <a:gd name="T33" fmla="*/ 74 h 150"/>
                <a:gd name="T34" fmla="*/ 150 w 172"/>
                <a:gd name="T35" fmla="*/ 68 h 150"/>
                <a:gd name="T36" fmla="*/ 136 w 172"/>
                <a:gd name="T37" fmla="*/ 66 h 150"/>
                <a:gd name="T38" fmla="*/ 122 w 172"/>
                <a:gd name="T39" fmla="*/ 64 h 150"/>
                <a:gd name="T40" fmla="*/ 118 w 172"/>
                <a:gd name="T41" fmla="*/ 60 h 150"/>
                <a:gd name="T42" fmla="*/ 118 w 172"/>
                <a:gd name="T43" fmla="*/ 52 h 150"/>
                <a:gd name="T44" fmla="*/ 142 w 172"/>
                <a:gd name="T45" fmla="*/ 40 h 150"/>
                <a:gd name="T46" fmla="*/ 152 w 172"/>
                <a:gd name="T47" fmla="*/ 30 h 150"/>
                <a:gd name="T48" fmla="*/ 154 w 172"/>
                <a:gd name="T49" fmla="*/ 26 h 150"/>
                <a:gd name="T50" fmla="*/ 148 w 172"/>
                <a:gd name="T51" fmla="*/ 20 h 150"/>
                <a:gd name="T52" fmla="*/ 134 w 172"/>
                <a:gd name="T53" fmla="*/ 12 h 150"/>
                <a:gd name="T54" fmla="*/ 134 w 172"/>
                <a:gd name="T55" fmla="*/ 6 h 150"/>
                <a:gd name="T56" fmla="*/ 134 w 172"/>
                <a:gd name="T57" fmla="*/ 4 h 150"/>
                <a:gd name="T58" fmla="*/ 128 w 172"/>
                <a:gd name="T59" fmla="*/ 0 h 150"/>
                <a:gd name="T60" fmla="*/ 104 w 172"/>
                <a:gd name="T61" fmla="*/ 4 h 150"/>
                <a:gd name="T62" fmla="*/ 96 w 172"/>
                <a:gd name="T63" fmla="*/ 10 h 150"/>
                <a:gd name="T64" fmla="*/ 98 w 172"/>
                <a:gd name="T65" fmla="*/ 14 h 150"/>
                <a:gd name="T66" fmla="*/ 104 w 172"/>
                <a:gd name="T67" fmla="*/ 16 h 150"/>
                <a:gd name="T68" fmla="*/ 106 w 172"/>
                <a:gd name="T69" fmla="*/ 22 h 150"/>
                <a:gd name="T70" fmla="*/ 100 w 172"/>
                <a:gd name="T71" fmla="*/ 24 h 150"/>
                <a:gd name="T72" fmla="*/ 88 w 172"/>
                <a:gd name="T73" fmla="*/ 22 h 150"/>
                <a:gd name="T74" fmla="*/ 82 w 172"/>
                <a:gd name="T75" fmla="*/ 18 h 150"/>
                <a:gd name="T76" fmla="*/ 66 w 172"/>
                <a:gd name="T77" fmla="*/ 16 h 150"/>
                <a:gd name="T78" fmla="*/ 46 w 172"/>
                <a:gd name="T79" fmla="*/ 20 h 150"/>
                <a:gd name="T80" fmla="*/ 34 w 172"/>
                <a:gd name="T81" fmla="*/ 30 h 150"/>
                <a:gd name="T82" fmla="*/ 34 w 172"/>
                <a:gd name="T83" fmla="*/ 38 h 150"/>
                <a:gd name="T84" fmla="*/ 36 w 172"/>
                <a:gd name="T85" fmla="*/ 40 h 150"/>
                <a:gd name="T86" fmla="*/ 50 w 172"/>
                <a:gd name="T87" fmla="*/ 44 h 150"/>
                <a:gd name="T88" fmla="*/ 70 w 172"/>
                <a:gd name="T89" fmla="*/ 46 h 150"/>
                <a:gd name="T90" fmla="*/ 72 w 172"/>
                <a:gd name="T91" fmla="*/ 54 h 150"/>
                <a:gd name="T92" fmla="*/ 66 w 172"/>
                <a:gd name="T93" fmla="*/ 64 h 150"/>
                <a:gd name="T94" fmla="*/ 50 w 172"/>
                <a:gd name="T95" fmla="*/ 76 h 150"/>
                <a:gd name="T96" fmla="*/ 38 w 172"/>
                <a:gd name="T97" fmla="*/ 72 h 150"/>
                <a:gd name="T98" fmla="*/ 18 w 172"/>
                <a:gd name="T99" fmla="*/ 60 h 150"/>
                <a:gd name="T100" fmla="*/ 12 w 172"/>
                <a:gd name="T101" fmla="*/ 60 h 150"/>
                <a:gd name="T102" fmla="*/ 0 w 172"/>
                <a:gd name="T103" fmla="*/ 66 h 150"/>
                <a:gd name="T104" fmla="*/ 2 w 172"/>
                <a:gd name="T105" fmla="*/ 78 h 150"/>
                <a:gd name="T106" fmla="*/ 12 w 172"/>
                <a:gd name="T107" fmla="*/ 90 h 150"/>
                <a:gd name="T108" fmla="*/ 32 w 172"/>
                <a:gd name="T109" fmla="*/ 100 h 150"/>
                <a:gd name="T110" fmla="*/ 42 w 172"/>
                <a:gd name="T111" fmla="*/ 104 h 150"/>
                <a:gd name="T112" fmla="*/ 56 w 172"/>
                <a:gd name="T113" fmla="*/ 114 h 150"/>
                <a:gd name="T114" fmla="*/ 72 w 172"/>
                <a:gd name="T115" fmla="*/ 132 h 150"/>
                <a:gd name="T116" fmla="*/ 88 w 172"/>
                <a:gd name="T117"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50">
                  <a:moveTo>
                    <a:pt x="88" y="146"/>
                  </a:moveTo>
                  <a:lnTo>
                    <a:pt x="88" y="146"/>
                  </a:lnTo>
                  <a:lnTo>
                    <a:pt x="96" y="150"/>
                  </a:lnTo>
                  <a:lnTo>
                    <a:pt x="102" y="150"/>
                  </a:lnTo>
                  <a:lnTo>
                    <a:pt x="106" y="150"/>
                  </a:lnTo>
                  <a:lnTo>
                    <a:pt x="110" y="146"/>
                  </a:lnTo>
                  <a:lnTo>
                    <a:pt x="114" y="140"/>
                  </a:lnTo>
                  <a:lnTo>
                    <a:pt x="120" y="136"/>
                  </a:lnTo>
                  <a:lnTo>
                    <a:pt x="126" y="134"/>
                  </a:lnTo>
                  <a:lnTo>
                    <a:pt x="136" y="132"/>
                  </a:lnTo>
                  <a:lnTo>
                    <a:pt x="136" y="132"/>
                  </a:lnTo>
                  <a:lnTo>
                    <a:pt x="142" y="132"/>
                  </a:lnTo>
                  <a:lnTo>
                    <a:pt x="146" y="130"/>
                  </a:lnTo>
                  <a:lnTo>
                    <a:pt x="154" y="124"/>
                  </a:lnTo>
                  <a:lnTo>
                    <a:pt x="160" y="116"/>
                  </a:lnTo>
                  <a:lnTo>
                    <a:pt x="164" y="106"/>
                  </a:lnTo>
                  <a:lnTo>
                    <a:pt x="168" y="84"/>
                  </a:lnTo>
                  <a:lnTo>
                    <a:pt x="172" y="66"/>
                  </a:lnTo>
                  <a:lnTo>
                    <a:pt x="172" y="66"/>
                  </a:lnTo>
                  <a:lnTo>
                    <a:pt x="172" y="60"/>
                  </a:lnTo>
                  <a:lnTo>
                    <a:pt x="170" y="56"/>
                  </a:lnTo>
                  <a:lnTo>
                    <a:pt x="166" y="54"/>
                  </a:lnTo>
                  <a:lnTo>
                    <a:pt x="162" y="52"/>
                  </a:lnTo>
                  <a:lnTo>
                    <a:pt x="158" y="52"/>
                  </a:lnTo>
                  <a:lnTo>
                    <a:pt x="156" y="54"/>
                  </a:lnTo>
                  <a:lnTo>
                    <a:pt x="154" y="58"/>
                  </a:lnTo>
                  <a:lnTo>
                    <a:pt x="156" y="62"/>
                  </a:lnTo>
                  <a:lnTo>
                    <a:pt x="156" y="62"/>
                  </a:lnTo>
                  <a:lnTo>
                    <a:pt x="158" y="72"/>
                  </a:lnTo>
                  <a:lnTo>
                    <a:pt x="156" y="78"/>
                  </a:lnTo>
                  <a:lnTo>
                    <a:pt x="156" y="80"/>
                  </a:lnTo>
                  <a:lnTo>
                    <a:pt x="154" y="80"/>
                  </a:lnTo>
                  <a:lnTo>
                    <a:pt x="152" y="78"/>
                  </a:lnTo>
                  <a:lnTo>
                    <a:pt x="152" y="74"/>
                  </a:lnTo>
                  <a:lnTo>
                    <a:pt x="152" y="74"/>
                  </a:lnTo>
                  <a:lnTo>
                    <a:pt x="150" y="68"/>
                  </a:lnTo>
                  <a:lnTo>
                    <a:pt x="146" y="66"/>
                  </a:lnTo>
                  <a:lnTo>
                    <a:pt x="136" y="66"/>
                  </a:lnTo>
                  <a:lnTo>
                    <a:pt x="126" y="64"/>
                  </a:lnTo>
                  <a:lnTo>
                    <a:pt x="122" y="64"/>
                  </a:lnTo>
                  <a:lnTo>
                    <a:pt x="118" y="60"/>
                  </a:lnTo>
                  <a:lnTo>
                    <a:pt x="118" y="60"/>
                  </a:lnTo>
                  <a:lnTo>
                    <a:pt x="116" y="56"/>
                  </a:lnTo>
                  <a:lnTo>
                    <a:pt x="118" y="52"/>
                  </a:lnTo>
                  <a:lnTo>
                    <a:pt x="128" y="46"/>
                  </a:lnTo>
                  <a:lnTo>
                    <a:pt x="142" y="40"/>
                  </a:lnTo>
                  <a:lnTo>
                    <a:pt x="148" y="36"/>
                  </a:lnTo>
                  <a:lnTo>
                    <a:pt x="152" y="30"/>
                  </a:lnTo>
                  <a:lnTo>
                    <a:pt x="152" y="30"/>
                  </a:lnTo>
                  <a:lnTo>
                    <a:pt x="154" y="26"/>
                  </a:lnTo>
                  <a:lnTo>
                    <a:pt x="152" y="22"/>
                  </a:lnTo>
                  <a:lnTo>
                    <a:pt x="148" y="20"/>
                  </a:lnTo>
                  <a:lnTo>
                    <a:pt x="144" y="16"/>
                  </a:lnTo>
                  <a:lnTo>
                    <a:pt x="134" y="12"/>
                  </a:lnTo>
                  <a:lnTo>
                    <a:pt x="132" y="10"/>
                  </a:lnTo>
                  <a:lnTo>
                    <a:pt x="134" y="6"/>
                  </a:lnTo>
                  <a:lnTo>
                    <a:pt x="134" y="6"/>
                  </a:lnTo>
                  <a:lnTo>
                    <a:pt x="134" y="4"/>
                  </a:lnTo>
                  <a:lnTo>
                    <a:pt x="134" y="2"/>
                  </a:lnTo>
                  <a:lnTo>
                    <a:pt x="128" y="0"/>
                  </a:lnTo>
                  <a:lnTo>
                    <a:pt x="112" y="2"/>
                  </a:lnTo>
                  <a:lnTo>
                    <a:pt x="104" y="4"/>
                  </a:lnTo>
                  <a:lnTo>
                    <a:pt x="98" y="8"/>
                  </a:lnTo>
                  <a:lnTo>
                    <a:pt x="96" y="10"/>
                  </a:lnTo>
                  <a:lnTo>
                    <a:pt x="96" y="12"/>
                  </a:lnTo>
                  <a:lnTo>
                    <a:pt x="98" y="14"/>
                  </a:lnTo>
                  <a:lnTo>
                    <a:pt x="98" y="14"/>
                  </a:lnTo>
                  <a:lnTo>
                    <a:pt x="104" y="16"/>
                  </a:lnTo>
                  <a:lnTo>
                    <a:pt x="106" y="20"/>
                  </a:lnTo>
                  <a:lnTo>
                    <a:pt x="106" y="22"/>
                  </a:lnTo>
                  <a:lnTo>
                    <a:pt x="104" y="24"/>
                  </a:lnTo>
                  <a:lnTo>
                    <a:pt x="100" y="24"/>
                  </a:lnTo>
                  <a:lnTo>
                    <a:pt x="94" y="24"/>
                  </a:lnTo>
                  <a:lnTo>
                    <a:pt x="88" y="22"/>
                  </a:lnTo>
                  <a:lnTo>
                    <a:pt x="82" y="18"/>
                  </a:lnTo>
                  <a:lnTo>
                    <a:pt x="82" y="18"/>
                  </a:lnTo>
                  <a:lnTo>
                    <a:pt x="76" y="16"/>
                  </a:lnTo>
                  <a:lnTo>
                    <a:pt x="66" y="16"/>
                  </a:lnTo>
                  <a:lnTo>
                    <a:pt x="56" y="16"/>
                  </a:lnTo>
                  <a:lnTo>
                    <a:pt x="46" y="20"/>
                  </a:lnTo>
                  <a:lnTo>
                    <a:pt x="38" y="24"/>
                  </a:lnTo>
                  <a:lnTo>
                    <a:pt x="34" y="30"/>
                  </a:lnTo>
                  <a:lnTo>
                    <a:pt x="32" y="36"/>
                  </a:lnTo>
                  <a:lnTo>
                    <a:pt x="34" y="38"/>
                  </a:lnTo>
                  <a:lnTo>
                    <a:pt x="36" y="40"/>
                  </a:lnTo>
                  <a:lnTo>
                    <a:pt x="36" y="40"/>
                  </a:lnTo>
                  <a:lnTo>
                    <a:pt x="42" y="44"/>
                  </a:lnTo>
                  <a:lnTo>
                    <a:pt x="50" y="44"/>
                  </a:lnTo>
                  <a:lnTo>
                    <a:pt x="64" y="44"/>
                  </a:lnTo>
                  <a:lnTo>
                    <a:pt x="70" y="46"/>
                  </a:lnTo>
                  <a:lnTo>
                    <a:pt x="72" y="50"/>
                  </a:lnTo>
                  <a:lnTo>
                    <a:pt x="72" y="54"/>
                  </a:lnTo>
                  <a:lnTo>
                    <a:pt x="66" y="64"/>
                  </a:lnTo>
                  <a:lnTo>
                    <a:pt x="66" y="64"/>
                  </a:lnTo>
                  <a:lnTo>
                    <a:pt x="58" y="74"/>
                  </a:lnTo>
                  <a:lnTo>
                    <a:pt x="50" y="76"/>
                  </a:lnTo>
                  <a:lnTo>
                    <a:pt x="44" y="76"/>
                  </a:lnTo>
                  <a:lnTo>
                    <a:pt x="38" y="72"/>
                  </a:lnTo>
                  <a:lnTo>
                    <a:pt x="26" y="64"/>
                  </a:lnTo>
                  <a:lnTo>
                    <a:pt x="18" y="60"/>
                  </a:lnTo>
                  <a:lnTo>
                    <a:pt x="12" y="60"/>
                  </a:lnTo>
                  <a:lnTo>
                    <a:pt x="12" y="60"/>
                  </a:lnTo>
                  <a:lnTo>
                    <a:pt x="4" y="62"/>
                  </a:lnTo>
                  <a:lnTo>
                    <a:pt x="0" y="66"/>
                  </a:lnTo>
                  <a:lnTo>
                    <a:pt x="0" y="72"/>
                  </a:lnTo>
                  <a:lnTo>
                    <a:pt x="2" y="78"/>
                  </a:lnTo>
                  <a:lnTo>
                    <a:pt x="6" y="84"/>
                  </a:lnTo>
                  <a:lnTo>
                    <a:pt x="12" y="90"/>
                  </a:lnTo>
                  <a:lnTo>
                    <a:pt x="20" y="96"/>
                  </a:lnTo>
                  <a:lnTo>
                    <a:pt x="32" y="100"/>
                  </a:lnTo>
                  <a:lnTo>
                    <a:pt x="32" y="100"/>
                  </a:lnTo>
                  <a:lnTo>
                    <a:pt x="42" y="104"/>
                  </a:lnTo>
                  <a:lnTo>
                    <a:pt x="50" y="108"/>
                  </a:lnTo>
                  <a:lnTo>
                    <a:pt x="56" y="114"/>
                  </a:lnTo>
                  <a:lnTo>
                    <a:pt x="62" y="120"/>
                  </a:lnTo>
                  <a:lnTo>
                    <a:pt x="72" y="132"/>
                  </a:lnTo>
                  <a:lnTo>
                    <a:pt x="78" y="138"/>
                  </a:lnTo>
                  <a:lnTo>
                    <a:pt x="88" y="146"/>
                  </a:lnTo>
                  <a:lnTo>
                    <a:pt x="88" y="14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3" name="Freeform 10"/>
            <p:cNvSpPr>
              <a:spLocks/>
            </p:cNvSpPr>
            <p:nvPr/>
          </p:nvSpPr>
          <p:spPr bwMode="auto">
            <a:xfrm>
              <a:off x="2378075" y="1651000"/>
              <a:ext cx="180975" cy="47625"/>
            </a:xfrm>
            <a:custGeom>
              <a:avLst/>
              <a:gdLst>
                <a:gd name="T0" fmla="*/ 36 w 114"/>
                <a:gd name="T1" fmla="*/ 28 h 30"/>
                <a:gd name="T2" fmla="*/ 36 w 114"/>
                <a:gd name="T3" fmla="*/ 28 h 30"/>
                <a:gd name="T4" fmla="*/ 40 w 114"/>
                <a:gd name="T5" fmla="*/ 28 h 30"/>
                <a:gd name="T6" fmla="*/ 44 w 114"/>
                <a:gd name="T7" fmla="*/ 28 h 30"/>
                <a:gd name="T8" fmla="*/ 54 w 114"/>
                <a:gd name="T9" fmla="*/ 24 h 30"/>
                <a:gd name="T10" fmla="*/ 62 w 114"/>
                <a:gd name="T11" fmla="*/ 22 h 30"/>
                <a:gd name="T12" fmla="*/ 64 w 114"/>
                <a:gd name="T13" fmla="*/ 22 h 30"/>
                <a:gd name="T14" fmla="*/ 68 w 114"/>
                <a:gd name="T15" fmla="*/ 24 h 30"/>
                <a:gd name="T16" fmla="*/ 68 w 114"/>
                <a:gd name="T17" fmla="*/ 24 h 30"/>
                <a:gd name="T18" fmla="*/ 78 w 114"/>
                <a:gd name="T19" fmla="*/ 28 h 30"/>
                <a:gd name="T20" fmla="*/ 94 w 114"/>
                <a:gd name="T21" fmla="*/ 30 h 30"/>
                <a:gd name="T22" fmla="*/ 102 w 114"/>
                <a:gd name="T23" fmla="*/ 30 h 30"/>
                <a:gd name="T24" fmla="*/ 108 w 114"/>
                <a:gd name="T25" fmla="*/ 28 h 30"/>
                <a:gd name="T26" fmla="*/ 112 w 114"/>
                <a:gd name="T27" fmla="*/ 24 h 30"/>
                <a:gd name="T28" fmla="*/ 114 w 114"/>
                <a:gd name="T29" fmla="*/ 18 h 30"/>
                <a:gd name="T30" fmla="*/ 114 w 114"/>
                <a:gd name="T31" fmla="*/ 18 h 30"/>
                <a:gd name="T32" fmla="*/ 112 w 114"/>
                <a:gd name="T33" fmla="*/ 12 h 30"/>
                <a:gd name="T34" fmla="*/ 106 w 114"/>
                <a:gd name="T35" fmla="*/ 6 h 30"/>
                <a:gd name="T36" fmla="*/ 98 w 114"/>
                <a:gd name="T37" fmla="*/ 2 h 30"/>
                <a:gd name="T38" fmla="*/ 88 w 114"/>
                <a:gd name="T39" fmla="*/ 0 h 30"/>
                <a:gd name="T40" fmla="*/ 70 w 114"/>
                <a:gd name="T41" fmla="*/ 0 h 30"/>
                <a:gd name="T42" fmla="*/ 60 w 114"/>
                <a:gd name="T43" fmla="*/ 2 h 30"/>
                <a:gd name="T44" fmla="*/ 54 w 114"/>
                <a:gd name="T45" fmla="*/ 4 h 30"/>
                <a:gd name="T46" fmla="*/ 54 w 114"/>
                <a:gd name="T47" fmla="*/ 4 h 30"/>
                <a:gd name="T48" fmla="*/ 48 w 114"/>
                <a:gd name="T49" fmla="*/ 6 h 30"/>
                <a:gd name="T50" fmla="*/ 40 w 114"/>
                <a:gd name="T51" fmla="*/ 8 h 30"/>
                <a:gd name="T52" fmla="*/ 18 w 114"/>
                <a:gd name="T53" fmla="*/ 12 h 30"/>
                <a:gd name="T54" fmla="*/ 10 w 114"/>
                <a:gd name="T55" fmla="*/ 14 h 30"/>
                <a:gd name="T56" fmla="*/ 2 w 114"/>
                <a:gd name="T57" fmla="*/ 18 h 30"/>
                <a:gd name="T58" fmla="*/ 0 w 114"/>
                <a:gd name="T59" fmla="*/ 22 h 30"/>
                <a:gd name="T60" fmla="*/ 2 w 114"/>
                <a:gd name="T61" fmla="*/ 26 h 30"/>
                <a:gd name="T62" fmla="*/ 2 w 114"/>
                <a:gd name="T63" fmla="*/ 26 h 30"/>
                <a:gd name="T64" fmla="*/ 6 w 114"/>
                <a:gd name="T65" fmla="*/ 28 h 30"/>
                <a:gd name="T66" fmla="*/ 10 w 114"/>
                <a:gd name="T67" fmla="*/ 28 h 30"/>
                <a:gd name="T68" fmla="*/ 18 w 114"/>
                <a:gd name="T69" fmla="*/ 28 h 30"/>
                <a:gd name="T70" fmla="*/ 26 w 114"/>
                <a:gd name="T71" fmla="*/ 26 h 30"/>
                <a:gd name="T72" fmla="*/ 36 w 114"/>
                <a:gd name="T73" fmla="*/ 28 h 30"/>
                <a:gd name="T74" fmla="*/ 36 w 114"/>
                <a:gd name="T75"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30">
                  <a:moveTo>
                    <a:pt x="36" y="28"/>
                  </a:moveTo>
                  <a:lnTo>
                    <a:pt x="36" y="28"/>
                  </a:lnTo>
                  <a:lnTo>
                    <a:pt x="40" y="28"/>
                  </a:lnTo>
                  <a:lnTo>
                    <a:pt x="44" y="28"/>
                  </a:lnTo>
                  <a:lnTo>
                    <a:pt x="54" y="24"/>
                  </a:lnTo>
                  <a:lnTo>
                    <a:pt x="62" y="22"/>
                  </a:lnTo>
                  <a:lnTo>
                    <a:pt x="64" y="22"/>
                  </a:lnTo>
                  <a:lnTo>
                    <a:pt x="68" y="24"/>
                  </a:lnTo>
                  <a:lnTo>
                    <a:pt x="68" y="24"/>
                  </a:lnTo>
                  <a:lnTo>
                    <a:pt x="78" y="28"/>
                  </a:lnTo>
                  <a:lnTo>
                    <a:pt x="94" y="30"/>
                  </a:lnTo>
                  <a:lnTo>
                    <a:pt x="102" y="30"/>
                  </a:lnTo>
                  <a:lnTo>
                    <a:pt x="108" y="28"/>
                  </a:lnTo>
                  <a:lnTo>
                    <a:pt x="112" y="24"/>
                  </a:lnTo>
                  <a:lnTo>
                    <a:pt x="114" y="18"/>
                  </a:lnTo>
                  <a:lnTo>
                    <a:pt x="114" y="18"/>
                  </a:lnTo>
                  <a:lnTo>
                    <a:pt x="112" y="12"/>
                  </a:lnTo>
                  <a:lnTo>
                    <a:pt x="106" y="6"/>
                  </a:lnTo>
                  <a:lnTo>
                    <a:pt x="98" y="2"/>
                  </a:lnTo>
                  <a:lnTo>
                    <a:pt x="88" y="0"/>
                  </a:lnTo>
                  <a:lnTo>
                    <a:pt x="70" y="0"/>
                  </a:lnTo>
                  <a:lnTo>
                    <a:pt x="60" y="2"/>
                  </a:lnTo>
                  <a:lnTo>
                    <a:pt x="54" y="4"/>
                  </a:lnTo>
                  <a:lnTo>
                    <a:pt x="54" y="4"/>
                  </a:lnTo>
                  <a:lnTo>
                    <a:pt x="48" y="6"/>
                  </a:lnTo>
                  <a:lnTo>
                    <a:pt x="40" y="8"/>
                  </a:lnTo>
                  <a:lnTo>
                    <a:pt x="18" y="12"/>
                  </a:lnTo>
                  <a:lnTo>
                    <a:pt x="10" y="14"/>
                  </a:lnTo>
                  <a:lnTo>
                    <a:pt x="2" y="18"/>
                  </a:lnTo>
                  <a:lnTo>
                    <a:pt x="0" y="22"/>
                  </a:lnTo>
                  <a:lnTo>
                    <a:pt x="2" y="26"/>
                  </a:lnTo>
                  <a:lnTo>
                    <a:pt x="2" y="26"/>
                  </a:lnTo>
                  <a:lnTo>
                    <a:pt x="6" y="28"/>
                  </a:lnTo>
                  <a:lnTo>
                    <a:pt x="10" y="28"/>
                  </a:lnTo>
                  <a:lnTo>
                    <a:pt x="18" y="28"/>
                  </a:lnTo>
                  <a:lnTo>
                    <a:pt x="26" y="26"/>
                  </a:lnTo>
                  <a:lnTo>
                    <a:pt x="36" y="28"/>
                  </a:lnTo>
                  <a:lnTo>
                    <a:pt x="36" y="2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4" name="Freeform 11"/>
            <p:cNvSpPr>
              <a:spLocks/>
            </p:cNvSpPr>
            <p:nvPr/>
          </p:nvSpPr>
          <p:spPr bwMode="auto">
            <a:xfrm>
              <a:off x="2701925" y="1736725"/>
              <a:ext cx="66675" cy="63500"/>
            </a:xfrm>
            <a:custGeom>
              <a:avLst/>
              <a:gdLst>
                <a:gd name="T0" fmla="*/ 42 w 42"/>
                <a:gd name="T1" fmla="*/ 38 h 40"/>
                <a:gd name="T2" fmla="*/ 42 w 42"/>
                <a:gd name="T3" fmla="*/ 38 h 40"/>
                <a:gd name="T4" fmla="*/ 42 w 42"/>
                <a:gd name="T5" fmla="*/ 36 h 40"/>
                <a:gd name="T6" fmla="*/ 42 w 42"/>
                <a:gd name="T7" fmla="*/ 32 h 40"/>
                <a:gd name="T8" fmla="*/ 40 w 42"/>
                <a:gd name="T9" fmla="*/ 24 h 40"/>
                <a:gd name="T10" fmla="*/ 34 w 42"/>
                <a:gd name="T11" fmla="*/ 18 h 40"/>
                <a:gd name="T12" fmla="*/ 26 w 42"/>
                <a:gd name="T13" fmla="*/ 10 h 40"/>
                <a:gd name="T14" fmla="*/ 18 w 42"/>
                <a:gd name="T15" fmla="*/ 4 h 40"/>
                <a:gd name="T16" fmla="*/ 10 w 42"/>
                <a:gd name="T17" fmla="*/ 0 h 40"/>
                <a:gd name="T18" fmla="*/ 4 w 42"/>
                <a:gd name="T19" fmla="*/ 0 h 40"/>
                <a:gd name="T20" fmla="*/ 2 w 42"/>
                <a:gd name="T21" fmla="*/ 2 h 40"/>
                <a:gd name="T22" fmla="*/ 0 w 42"/>
                <a:gd name="T23" fmla="*/ 6 h 40"/>
                <a:gd name="T24" fmla="*/ 0 w 42"/>
                <a:gd name="T25" fmla="*/ 6 h 40"/>
                <a:gd name="T26" fmla="*/ 2 w 42"/>
                <a:gd name="T27" fmla="*/ 12 h 40"/>
                <a:gd name="T28" fmla="*/ 4 w 42"/>
                <a:gd name="T29" fmla="*/ 20 h 40"/>
                <a:gd name="T30" fmla="*/ 10 w 42"/>
                <a:gd name="T31" fmla="*/ 26 h 40"/>
                <a:gd name="T32" fmla="*/ 16 w 42"/>
                <a:gd name="T33" fmla="*/ 34 h 40"/>
                <a:gd name="T34" fmla="*/ 24 w 42"/>
                <a:gd name="T35" fmla="*/ 38 h 40"/>
                <a:gd name="T36" fmla="*/ 30 w 42"/>
                <a:gd name="T37" fmla="*/ 40 h 40"/>
                <a:gd name="T38" fmla="*/ 36 w 42"/>
                <a:gd name="T39" fmla="*/ 40 h 40"/>
                <a:gd name="T40" fmla="*/ 42 w 42"/>
                <a:gd name="T41" fmla="*/ 38 h 40"/>
                <a:gd name="T42" fmla="*/ 42 w 42"/>
                <a:gd name="T43" fmla="*/ 3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0">
                  <a:moveTo>
                    <a:pt x="42" y="38"/>
                  </a:moveTo>
                  <a:lnTo>
                    <a:pt x="42" y="38"/>
                  </a:lnTo>
                  <a:lnTo>
                    <a:pt x="42" y="36"/>
                  </a:lnTo>
                  <a:lnTo>
                    <a:pt x="42" y="32"/>
                  </a:lnTo>
                  <a:lnTo>
                    <a:pt x="40" y="24"/>
                  </a:lnTo>
                  <a:lnTo>
                    <a:pt x="34" y="18"/>
                  </a:lnTo>
                  <a:lnTo>
                    <a:pt x="26" y="10"/>
                  </a:lnTo>
                  <a:lnTo>
                    <a:pt x="18" y="4"/>
                  </a:lnTo>
                  <a:lnTo>
                    <a:pt x="10" y="0"/>
                  </a:lnTo>
                  <a:lnTo>
                    <a:pt x="4" y="0"/>
                  </a:lnTo>
                  <a:lnTo>
                    <a:pt x="2" y="2"/>
                  </a:lnTo>
                  <a:lnTo>
                    <a:pt x="0" y="6"/>
                  </a:lnTo>
                  <a:lnTo>
                    <a:pt x="0" y="6"/>
                  </a:lnTo>
                  <a:lnTo>
                    <a:pt x="2" y="12"/>
                  </a:lnTo>
                  <a:lnTo>
                    <a:pt x="4" y="20"/>
                  </a:lnTo>
                  <a:lnTo>
                    <a:pt x="10" y="26"/>
                  </a:lnTo>
                  <a:lnTo>
                    <a:pt x="16" y="34"/>
                  </a:lnTo>
                  <a:lnTo>
                    <a:pt x="24" y="38"/>
                  </a:lnTo>
                  <a:lnTo>
                    <a:pt x="30" y="40"/>
                  </a:lnTo>
                  <a:lnTo>
                    <a:pt x="36" y="40"/>
                  </a:lnTo>
                  <a:lnTo>
                    <a:pt x="42" y="38"/>
                  </a:lnTo>
                  <a:lnTo>
                    <a:pt x="42" y="3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5" name="Freeform 12"/>
            <p:cNvSpPr>
              <a:spLocks/>
            </p:cNvSpPr>
            <p:nvPr/>
          </p:nvSpPr>
          <p:spPr bwMode="auto">
            <a:xfrm>
              <a:off x="3041650" y="1638300"/>
              <a:ext cx="142875" cy="95250"/>
            </a:xfrm>
            <a:custGeom>
              <a:avLst/>
              <a:gdLst>
                <a:gd name="T0" fmla="*/ 36 w 90"/>
                <a:gd name="T1" fmla="*/ 60 h 60"/>
                <a:gd name="T2" fmla="*/ 36 w 90"/>
                <a:gd name="T3" fmla="*/ 60 h 60"/>
                <a:gd name="T4" fmla="*/ 60 w 90"/>
                <a:gd name="T5" fmla="*/ 58 h 60"/>
                <a:gd name="T6" fmla="*/ 72 w 90"/>
                <a:gd name="T7" fmla="*/ 56 h 60"/>
                <a:gd name="T8" fmla="*/ 84 w 90"/>
                <a:gd name="T9" fmla="*/ 52 h 60"/>
                <a:gd name="T10" fmla="*/ 84 w 90"/>
                <a:gd name="T11" fmla="*/ 52 h 60"/>
                <a:gd name="T12" fmla="*/ 88 w 90"/>
                <a:gd name="T13" fmla="*/ 50 h 60"/>
                <a:gd name="T14" fmla="*/ 90 w 90"/>
                <a:gd name="T15" fmla="*/ 48 h 60"/>
                <a:gd name="T16" fmla="*/ 86 w 90"/>
                <a:gd name="T17" fmla="*/ 44 h 60"/>
                <a:gd name="T18" fmla="*/ 84 w 90"/>
                <a:gd name="T19" fmla="*/ 40 h 60"/>
                <a:gd name="T20" fmla="*/ 84 w 90"/>
                <a:gd name="T21" fmla="*/ 36 h 60"/>
                <a:gd name="T22" fmla="*/ 86 w 90"/>
                <a:gd name="T23" fmla="*/ 30 h 60"/>
                <a:gd name="T24" fmla="*/ 86 w 90"/>
                <a:gd name="T25" fmla="*/ 30 h 60"/>
                <a:gd name="T26" fmla="*/ 88 w 90"/>
                <a:gd name="T27" fmla="*/ 26 h 60"/>
                <a:gd name="T28" fmla="*/ 86 w 90"/>
                <a:gd name="T29" fmla="*/ 22 h 60"/>
                <a:gd name="T30" fmla="*/ 82 w 90"/>
                <a:gd name="T31" fmla="*/ 20 h 60"/>
                <a:gd name="T32" fmla="*/ 76 w 90"/>
                <a:gd name="T33" fmla="*/ 18 h 60"/>
                <a:gd name="T34" fmla="*/ 64 w 90"/>
                <a:gd name="T35" fmla="*/ 18 h 60"/>
                <a:gd name="T36" fmla="*/ 60 w 90"/>
                <a:gd name="T37" fmla="*/ 18 h 60"/>
                <a:gd name="T38" fmla="*/ 58 w 90"/>
                <a:gd name="T39" fmla="*/ 20 h 60"/>
                <a:gd name="T40" fmla="*/ 58 w 90"/>
                <a:gd name="T41" fmla="*/ 20 h 60"/>
                <a:gd name="T42" fmla="*/ 54 w 90"/>
                <a:gd name="T43" fmla="*/ 20 h 60"/>
                <a:gd name="T44" fmla="*/ 48 w 90"/>
                <a:gd name="T45" fmla="*/ 18 h 60"/>
                <a:gd name="T46" fmla="*/ 30 w 90"/>
                <a:gd name="T47" fmla="*/ 8 h 60"/>
                <a:gd name="T48" fmla="*/ 12 w 90"/>
                <a:gd name="T49" fmla="*/ 0 h 60"/>
                <a:gd name="T50" fmla="*/ 4 w 90"/>
                <a:gd name="T51" fmla="*/ 0 h 60"/>
                <a:gd name="T52" fmla="*/ 2 w 90"/>
                <a:gd name="T53" fmla="*/ 0 h 60"/>
                <a:gd name="T54" fmla="*/ 0 w 90"/>
                <a:gd name="T55" fmla="*/ 2 h 60"/>
                <a:gd name="T56" fmla="*/ 0 w 90"/>
                <a:gd name="T57" fmla="*/ 2 h 60"/>
                <a:gd name="T58" fmla="*/ 0 w 90"/>
                <a:gd name="T59" fmla="*/ 8 h 60"/>
                <a:gd name="T60" fmla="*/ 0 w 90"/>
                <a:gd name="T61" fmla="*/ 16 h 60"/>
                <a:gd name="T62" fmla="*/ 4 w 90"/>
                <a:gd name="T63" fmla="*/ 24 h 60"/>
                <a:gd name="T64" fmla="*/ 8 w 90"/>
                <a:gd name="T65" fmla="*/ 34 h 60"/>
                <a:gd name="T66" fmla="*/ 14 w 90"/>
                <a:gd name="T67" fmla="*/ 44 h 60"/>
                <a:gd name="T68" fmla="*/ 22 w 90"/>
                <a:gd name="T69" fmla="*/ 52 h 60"/>
                <a:gd name="T70" fmla="*/ 28 w 90"/>
                <a:gd name="T71" fmla="*/ 58 h 60"/>
                <a:gd name="T72" fmla="*/ 36 w 90"/>
                <a:gd name="T73" fmla="*/ 60 h 60"/>
                <a:gd name="T74" fmla="*/ 36 w 90"/>
                <a:gd name="T7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60">
                  <a:moveTo>
                    <a:pt x="36" y="60"/>
                  </a:moveTo>
                  <a:lnTo>
                    <a:pt x="36" y="60"/>
                  </a:lnTo>
                  <a:lnTo>
                    <a:pt x="60" y="58"/>
                  </a:lnTo>
                  <a:lnTo>
                    <a:pt x="72" y="56"/>
                  </a:lnTo>
                  <a:lnTo>
                    <a:pt x="84" y="52"/>
                  </a:lnTo>
                  <a:lnTo>
                    <a:pt x="84" y="52"/>
                  </a:lnTo>
                  <a:lnTo>
                    <a:pt x="88" y="50"/>
                  </a:lnTo>
                  <a:lnTo>
                    <a:pt x="90" y="48"/>
                  </a:lnTo>
                  <a:lnTo>
                    <a:pt x="86" y="44"/>
                  </a:lnTo>
                  <a:lnTo>
                    <a:pt x="84" y="40"/>
                  </a:lnTo>
                  <a:lnTo>
                    <a:pt x="84" y="36"/>
                  </a:lnTo>
                  <a:lnTo>
                    <a:pt x="86" y="30"/>
                  </a:lnTo>
                  <a:lnTo>
                    <a:pt x="86" y="30"/>
                  </a:lnTo>
                  <a:lnTo>
                    <a:pt x="88" y="26"/>
                  </a:lnTo>
                  <a:lnTo>
                    <a:pt x="86" y="22"/>
                  </a:lnTo>
                  <a:lnTo>
                    <a:pt x="82" y="20"/>
                  </a:lnTo>
                  <a:lnTo>
                    <a:pt x="76" y="18"/>
                  </a:lnTo>
                  <a:lnTo>
                    <a:pt x="64" y="18"/>
                  </a:lnTo>
                  <a:lnTo>
                    <a:pt x="60" y="18"/>
                  </a:lnTo>
                  <a:lnTo>
                    <a:pt x="58" y="20"/>
                  </a:lnTo>
                  <a:lnTo>
                    <a:pt x="58" y="20"/>
                  </a:lnTo>
                  <a:lnTo>
                    <a:pt x="54" y="20"/>
                  </a:lnTo>
                  <a:lnTo>
                    <a:pt x="48" y="18"/>
                  </a:lnTo>
                  <a:lnTo>
                    <a:pt x="30" y="8"/>
                  </a:lnTo>
                  <a:lnTo>
                    <a:pt x="12" y="0"/>
                  </a:lnTo>
                  <a:lnTo>
                    <a:pt x="4" y="0"/>
                  </a:lnTo>
                  <a:lnTo>
                    <a:pt x="2" y="0"/>
                  </a:lnTo>
                  <a:lnTo>
                    <a:pt x="0" y="2"/>
                  </a:lnTo>
                  <a:lnTo>
                    <a:pt x="0" y="2"/>
                  </a:lnTo>
                  <a:lnTo>
                    <a:pt x="0" y="8"/>
                  </a:lnTo>
                  <a:lnTo>
                    <a:pt x="0" y="16"/>
                  </a:lnTo>
                  <a:lnTo>
                    <a:pt x="4" y="24"/>
                  </a:lnTo>
                  <a:lnTo>
                    <a:pt x="8" y="34"/>
                  </a:lnTo>
                  <a:lnTo>
                    <a:pt x="14" y="44"/>
                  </a:lnTo>
                  <a:lnTo>
                    <a:pt x="22" y="52"/>
                  </a:lnTo>
                  <a:lnTo>
                    <a:pt x="28" y="58"/>
                  </a:lnTo>
                  <a:lnTo>
                    <a:pt x="36" y="60"/>
                  </a:lnTo>
                  <a:lnTo>
                    <a:pt x="36" y="6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6" name="Freeform 13"/>
            <p:cNvSpPr>
              <a:spLocks/>
            </p:cNvSpPr>
            <p:nvPr/>
          </p:nvSpPr>
          <p:spPr bwMode="auto">
            <a:xfrm>
              <a:off x="3124200" y="1739900"/>
              <a:ext cx="130175" cy="34925"/>
            </a:xfrm>
            <a:custGeom>
              <a:avLst/>
              <a:gdLst>
                <a:gd name="T0" fmla="*/ 82 w 82"/>
                <a:gd name="T1" fmla="*/ 2 h 22"/>
                <a:gd name="T2" fmla="*/ 82 w 82"/>
                <a:gd name="T3" fmla="*/ 2 h 22"/>
                <a:gd name="T4" fmla="*/ 76 w 82"/>
                <a:gd name="T5" fmla="*/ 0 h 22"/>
                <a:gd name="T6" fmla="*/ 66 w 82"/>
                <a:gd name="T7" fmla="*/ 0 h 22"/>
                <a:gd name="T8" fmla="*/ 36 w 82"/>
                <a:gd name="T9" fmla="*/ 2 h 22"/>
                <a:gd name="T10" fmla="*/ 20 w 82"/>
                <a:gd name="T11" fmla="*/ 6 h 22"/>
                <a:gd name="T12" fmla="*/ 8 w 82"/>
                <a:gd name="T13" fmla="*/ 8 h 22"/>
                <a:gd name="T14" fmla="*/ 0 w 82"/>
                <a:gd name="T15" fmla="*/ 12 h 22"/>
                <a:gd name="T16" fmla="*/ 0 w 82"/>
                <a:gd name="T17" fmla="*/ 14 h 22"/>
                <a:gd name="T18" fmla="*/ 2 w 82"/>
                <a:gd name="T19" fmla="*/ 16 h 22"/>
                <a:gd name="T20" fmla="*/ 2 w 82"/>
                <a:gd name="T21" fmla="*/ 16 h 22"/>
                <a:gd name="T22" fmla="*/ 12 w 82"/>
                <a:gd name="T23" fmla="*/ 22 h 22"/>
                <a:gd name="T24" fmla="*/ 24 w 82"/>
                <a:gd name="T25" fmla="*/ 22 h 22"/>
                <a:gd name="T26" fmla="*/ 38 w 82"/>
                <a:gd name="T27" fmla="*/ 22 h 22"/>
                <a:gd name="T28" fmla="*/ 52 w 82"/>
                <a:gd name="T29" fmla="*/ 18 h 22"/>
                <a:gd name="T30" fmla="*/ 64 w 82"/>
                <a:gd name="T31" fmla="*/ 14 h 22"/>
                <a:gd name="T32" fmla="*/ 74 w 82"/>
                <a:gd name="T33" fmla="*/ 10 h 22"/>
                <a:gd name="T34" fmla="*/ 80 w 82"/>
                <a:gd name="T35" fmla="*/ 6 h 22"/>
                <a:gd name="T36" fmla="*/ 82 w 82"/>
                <a:gd name="T37" fmla="*/ 2 h 22"/>
                <a:gd name="T38" fmla="*/ 82 w 82"/>
                <a:gd name="T3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 h="22">
                  <a:moveTo>
                    <a:pt x="82" y="2"/>
                  </a:moveTo>
                  <a:lnTo>
                    <a:pt x="82" y="2"/>
                  </a:lnTo>
                  <a:lnTo>
                    <a:pt x="76" y="0"/>
                  </a:lnTo>
                  <a:lnTo>
                    <a:pt x="66" y="0"/>
                  </a:lnTo>
                  <a:lnTo>
                    <a:pt x="36" y="2"/>
                  </a:lnTo>
                  <a:lnTo>
                    <a:pt x="20" y="6"/>
                  </a:lnTo>
                  <a:lnTo>
                    <a:pt x="8" y="8"/>
                  </a:lnTo>
                  <a:lnTo>
                    <a:pt x="0" y="12"/>
                  </a:lnTo>
                  <a:lnTo>
                    <a:pt x="0" y="14"/>
                  </a:lnTo>
                  <a:lnTo>
                    <a:pt x="2" y="16"/>
                  </a:lnTo>
                  <a:lnTo>
                    <a:pt x="2" y="16"/>
                  </a:lnTo>
                  <a:lnTo>
                    <a:pt x="12" y="22"/>
                  </a:lnTo>
                  <a:lnTo>
                    <a:pt x="24" y="22"/>
                  </a:lnTo>
                  <a:lnTo>
                    <a:pt x="38" y="22"/>
                  </a:lnTo>
                  <a:lnTo>
                    <a:pt x="52" y="18"/>
                  </a:lnTo>
                  <a:lnTo>
                    <a:pt x="64" y="14"/>
                  </a:lnTo>
                  <a:lnTo>
                    <a:pt x="74" y="10"/>
                  </a:lnTo>
                  <a:lnTo>
                    <a:pt x="80" y="6"/>
                  </a:lnTo>
                  <a:lnTo>
                    <a:pt x="82" y="2"/>
                  </a:lnTo>
                  <a:lnTo>
                    <a:pt x="82" y="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7" name="Freeform 14"/>
            <p:cNvSpPr>
              <a:spLocks/>
            </p:cNvSpPr>
            <p:nvPr/>
          </p:nvSpPr>
          <p:spPr bwMode="auto">
            <a:xfrm>
              <a:off x="3098800" y="1943100"/>
              <a:ext cx="152400" cy="79375"/>
            </a:xfrm>
            <a:custGeom>
              <a:avLst/>
              <a:gdLst>
                <a:gd name="T0" fmla="*/ 84 w 96"/>
                <a:gd name="T1" fmla="*/ 50 h 50"/>
                <a:gd name="T2" fmla="*/ 84 w 96"/>
                <a:gd name="T3" fmla="*/ 50 h 50"/>
                <a:gd name="T4" fmla="*/ 90 w 96"/>
                <a:gd name="T5" fmla="*/ 48 h 50"/>
                <a:gd name="T6" fmla="*/ 94 w 96"/>
                <a:gd name="T7" fmla="*/ 46 h 50"/>
                <a:gd name="T8" fmla="*/ 96 w 96"/>
                <a:gd name="T9" fmla="*/ 40 h 50"/>
                <a:gd name="T10" fmla="*/ 94 w 96"/>
                <a:gd name="T11" fmla="*/ 34 h 50"/>
                <a:gd name="T12" fmla="*/ 92 w 96"/>
                <a:gd name="T13" fmla="*/ 26 h 50"/>
                <a:gd name="T14" fmla="*/ 86 w 96"/>
                <a:gd name="T15" fmla="*/ 20 h 50"/>
                <a:gd name="T16" fmla="*/ 80 w 96"/>
                <a:gd name="T17" fmla="*/ 12 h 50"/>
                <a:gd name="T18" fmla="*/ 70 w 96"/>
                <a:gd name="T19" fmla="*/ 4 h 50"/>
                <a:gd name="T20" fmla="*/ 70 w 96"/>
                <a:gd name="T21" fmla="*/ 4 h 50"/>
                <a:gd name="T22" fmla="*/ 66 w 96"/>
                <a:gd name="T23" fmla="*/ 2 h 50"/>
                <a:gd name="T24" fmla="*/ 60 w 96"/>
                <a:gd name="T25" fmla="*/ 0 h 50"/>
                <a:gd name="T26" fmla="*/ 48 w 96"/>
                <a:gd name="T27" fmla="*/ 0 h 50"/>
                <a:gd name="T28" fmla="*/ 36 w 96"/>
                <a:gd name="T29" fmla="*/ 2 h 50"/>
                <a:gd name="T30" fmla="*/ 24 w 96"/>
                <a:gd name="T31" fmla="*/ 8 h 50"/>
                <a:gd name="T32" fmla="*/ 14 w 96"/>
                <a:gd name="T33" fmla="*/ 14 h 50"/>
                <a:gd name="T34" fmla="*/ 6 w 96"/>
                <a:gd name="T35" fmla="*/ 22 h 50"/>
                <a:gd name="T36" fmla="*/ 2 w 96"/>
                <a:gd name="T37" fmla="*/ 26 h 50"/>
                <a:gd name="T38" fmla="*/ 0 w 96"/>
                <a:gd name="T39" fmla="*/ 30 h 50"/>
                <a:gd name="T40" fmla="*/ 2 w 96"/>
                <a:gd name="T41" fmla="*/ 32 h 50"/>
                <a:gd name="T42" fmla="*/ 2 w 96"/>
                <a:gd name="T43" fmla="*/ 32 h 50"/>
                <a:gd name="T44" fmla="*/ 16 w 96"/>
                <a:gd name="T45" fmla="*/ 38 h 50"/>
                <a:gd name="T46" fmla="*/ 40 w 96"/>
                <a:gd name="T47" fmla="*/ 44 h 50"/>
                <a:gd name="T48" fmla="*/ 64 w 96"/>
                <a:gd name="T49" fmla="*/ 50 h 50"/>
                <a:gd name="T50" fmla="*/ 84 w 96"/>
                <a:gd name="T51" fmla="*/ 50 h 50"/>
                <a:gd name="T52" fmla="*/ 84 w 96"/>
                <a:gd name="T5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50">
                  <a:moveTo>
                    <a:pt x="84" y="50"/>
                  </a:moveTo>
                  <a:lnTo>
                    <a:pt x="84" y="50"/>
                  </a:lnTo>
                  <a:lnTo>
                    <a:pt x="90" y="48"/>
                  </a:lnTo>
                  <a:lnTo>
                    <a:pt x="94" y="46"/>
                  </a:lnTo>
                  <a:lnTo>
                    <a:pt x="96" y="40"/>
                  </a:lnTo>
                  <a:lnTo>
                    <a:pt x="94" y="34"/>
                  </a:lnTo>
                  <a:lnTo>
                    <a:pt x="92" y="26"/>
                  </a:lnTo>
                  <a:lnTo>
                    <a:pt x="86" y="20"/>
                  </a:lnTo>
                  <a:lnTo>
                    <a:pt x="80" y="12"/>
                  </a:lnTo>
                  <a:lnTo>
                    <a:pt x="70" y="4"/>
                  </a:lnTo>
                  <a:lnTo>
                    <a:pt x="70" y="4"/>
                  </a:lnTo>
                  <a:lnTo>
                    <a:pt x="66" y="2"/>
                  </a:lnTo>
                  <a:lnTo>
                    <a:pt x="60" y="0"/>
                  </a:lnTo>
                  <a:lnTo>
                    <a:pt x="48" y="0"/>
                  </a:lnTo>
                  <a:lnTo>
                    <a:pt x="36" y="2"/>
                  </a:lnTo>
                  <a:lnTo>
                    <a:pt x="24" y="8"/>
                  </a:lnTo>
                  <a:lnTo>
                    <a:pt x="14" y="14"/>
                  </a:lnTo>
                  <a:lnTo>
                    <a:pt x="6" y="22"/>
                  </a:lnTo>
                  <a:lnTo>
                    <a:pt x="2" y="26"/>
                  </a:lnTo>
                  <a:lnTo>
                    <a:pt x="0" y="30"/>
                  </a:lnTo>
                  <a:lnTo>
                    <a:pt x="2" y="32"/>
                  </a:lnTo>
                  <a:lnTo>
                    <a:pt x="2" y="32"/>
                  </a:lnTo>
                  <a:lnTo>
                    <a:pt x="16" y="38"/>
                  </a:lnTo>
                  <a:lnTo>
                    <a:pt x="40" y="44"/>
                  </a:lnTo>
                  <a:lnTo>
                    <a:pt x="64" y="50"/>
                  </a:lnTo>
                  <a:lnTo>
                    <a:pt x="84" y="50"/>
                  </a:lnTo>
                  <a:lnTo>
                    <a:pt x="84" y="5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8" name="Freeform 15"/>
            <p:cNvSpPr>
              <a:spLocks/>
            </p:cNvSpPr>
            <p:nvPr/>
          </p:nvSpPr>
          <p:spPr bwMode="auto">
            <a:xfrm>
              <a:off x="3343275" y="1752600"/>
              <a:ext cx="66675" cy="41275"/>
            </a:xfrm>
            <a:custGeom>
              <a:avLst/>
              <a:gdLst>
                <a:gd name="T0" fmla="*/ 34 w 42"/>
                <a:gd name="T1" fmla="*/ 4 h 26"/>
                <a:gd name="T2" fmla="*/ 34 w 42"/>
                <a:gd name="T3" fmla="*/ 4 h 26"/>
                <a:gd name="T4" fmla="*/ 26 w 42"/>
                <a:gd name="T5" fmla="*/ 0 h 26"/>
                <a:gd name="T6" fmla="*/ 18 w 42"/>
                <a:gd name="T7" fmla="*/ 0 h 26"/>
                <a:gd name="T8" fmla="*/ 10 w 42"/>
                <a:gd name="T9" fmla="*/ 4 h 26"/>
                <a:gd name="T10" fmla="*/ 4 w 42"/>
                <a:gd name="T11" fmla="*/ 6 h 26"/>
                <a:gd name="T12" fmla="*/ 0 w 42"/>
                <a:gd name="T13" fmla="*/ 12 h 26"/>
                <a:gd name="T14" fmla="*/ 0 w 42"/>
                <a:gd name="T15" fmla="*/ 16 h 26"/>
                <a:gd name="T16" fmla="*/ 2 w 42"/>
                <a:gd name="T17" fmla="*/ 20 h 26"/>
                <a:gd name="T18" fmla="*/ 8 w 42"/>
                <a:gd name="T19" fmla="*/ 24 h 26"/>
                <a:gd name="T20" fmla="*/ 8 w 42"/>
                <a:gd name="T21" fmla="*/ 24 h 26"/>
                <a:gd name="T22" fmla="*/ 16 w 42"/>
                <a:gd name="T23" fmla="*/ 26 h 26"/>
                <a:gd name="T24" fmla="*/ 22 w 42"/>
                <a:gd name="T25" fmla="*/ 26 h 26"/>
                <a:gd name="T26" fmla="*/ 30 w 42"/>
                <a:gd name="T27" fmla="*/ 24 h 26"/>
                <a:gd name="T28" fmla="*/ 36 w 42"/>
                <a:gd name="T29" fmla="*/ 20 h 26"/>
                <a:gd name="T30" fmla="*/ 40 w 42"/>
                <a:gd name="T31" fmla="*/ 16 h 26"/>
                <a:gd name="T32" fmla="*/ 42 w 42"/>
                <a:gd name="T33" fmla="*/ 12 h 26"/>
                <a:gd name="T34" fmla="*/ 40 w 42"/>
                <a:gd name="T35" fmla="*/ 8 h 26"/>
                <a:gd name="T36" fmla="*/ 34 w 42"/>
                <a:gd name="T37" fmla="*/ 4 h 26"/>
                <a:gd name="T38" fmla="*/ 34 w 42"/>
                <a:gd name="T3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26">
                  <a:moveTo>
                    <a:pt x="34" y="4"/>
                  </a:moveTo>
                  <a:lnTo>
                    <a:pt x="34" y="4"/>
                  </a:lnTo>
                  <a:lnTo>
                    <a:pt x="26" y="0"/>
                  </a:lnTo>
                  <a:lnTo>
                    <a:pt x="18" y="0"/>
                  </a:lnTo>
                  <a:lnTo>
                    <a:pt x="10" y="4"/>
                  </a:lnTo>
                  <a:lnTo>
                    <a:pt x="4" y="6"/>
                  </a:lnTo>
                  <a:lnTo>
                    <a:pt x="0" y="12"/>
                  </a:lnTo>
                  <a:lnTo>
                    <a:pt x="0" y="16"/>
                  </a:lnTo>
                  <a:lnTo>
                    <a:pt x="2" y="20"/>
                  </a:lnTo>
                  <a:lnTo>
                    <a:pt x="8" y="24"/>
                  </a:lnTo>
                  <a:lnTo>
                    <a:pt x="8" y="24"/>
                  </a:lnTo>
                  <a:lnTo>
                    <a:pt x="16" y="26"/>
                  </a:lnTo>
                  <a:lnTo>
                    <a:pt x="22" y="26"/>
                  </a:lnTo>
                  <a:lnTo>
                    <a:pt x="30" y="24"/>
                  </a:lnTo>
                  <a:lnTo>
                    <a:pt x="36" y="20"/>
                  </a:lnTo>
                  <a:lnTo>
                    <a:pt x="40" y="16"/>
                  </a:lnTo>
                  <a:lnTo>
                    <a:pt x="42" y="12"/>
                  </a:lnTo>
                  <a:lnTo>
                    <a:pt x="40" y="8"/>
                  </a:lnTo>
                  <a:lnTo>
                    <a:pt x="34" y="4"/>
                  </a:lnTo>
                  <a:lnTo>
                    <a:pt x="34"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29" name="Freeform 16"/>
            <p:cNvSpPr>
              <a:spLocks/>
            </p:cNvSpPr>
            <p:nvPr/>
          </p:nvSpPr>
          <p:spPr bwMode="auto">
            <a:xfrm>
              <a:off x="3787775" y="2092325"/>
              <a:ext cx="196850" cy="92075"/>
            </a:xfrm>
            <a:custGeom>
              <a:avLst/>
              <a:gdLst>
                <a:gd name="T0" fmla="*/ 0 w 124"/>
                <a:gd name="T1" fmla="*/ 6 h 58"/>
                <a:gd name="T2" fmla="*/ 0 w 124"/>
                <a:gd name="T3" fmla="*/ 6 h 58"/>
                <a:gd name="T4" fmla="*/ 0 w 124"/>
                <a:gd name="T5" fmla="*/ 12 h 58"/>
                <a:gd name="T6" fmla="*/ 0 w 124"/>
                <a:gd name="T7" fmla="*/ 16 h 58"/>
                <a:gd name="T8" fmla="*/ 6 w 124"/>
                <a:gd name="T9" fmla="*/ 22 h 58"/>
                <a:gd name="T10" fmla="*/ 14 w 124"/>
                <a:gd name="T11" fmla="*/ 30 h 58"/>
                <a:gd name="T12" fmla="*/ 16 w 124"/>
                <a:gd name="T13" fmla="*/ 34 h 58"/>
                <a:gd name="T14" fmla="*/ 18 w 124"/>
                <a:gd name="T15" fmla="*/ 40 h 58"/>
                <a:gd name="T16" fmla="*/ 18 w 124"/>
                <a:gd name="T17" fmla="*/ 40 h 58"/>
                <a:gd name="T18" fmla="*/ 20 w 124"/>
                <a:gd name="T19" fmla="*/ 46 h 58"/>
                <a:gd name="T20" fmla="*/ 22 w 124"/>
                <a:gd name="T21" fmla="*/ 52 h 58"/>
                <a:gd name="T22" fmla="*/ 26 w 124"/>
                <a:gd name="T23" fmla="*/ 54 h 58"/>
                <a:gd name="T24" fmla="*/ 32 w 124"/>
                <a:gd name="T25" fmla="*/ 58 h 58"/>
                <a:gd name="T26" fmla="*/ 38 w 124"/>
                <a:gd name="T27" fmla="*/ 58 h 58"/>
                <a:gd name="T28" fmla="*/ 46 w 124"/>
                <a:gd name="T29" fmla="*/ 58 h 58"/>
                <a:gd name="T30" fmla="*/ 52 w 124"/>
                <a:gd name="T31" fmla="*/ 56 h 58"/>
                <a:gd name="T32" fmla="*/ 58 w 124"/>
                <a:gd name="T33" fmla="*/ 54 h 58"/>
                <a:gd name="T34" fmla="*/ 58 w 124"/>
                <a:gd name="T35" fmla="*/ 54 h 58"/>
                <a:gd name="T36" fmla="*/ 66 w 124"/>
                <a:gd name="T37" fmla="*/ 50 h 58"/>
                <a:gd name="T38" fmla="*/ 76 w 124"/>
                <a:gd name="T39" fmla="*/ 48 h 58"/>
                <a:gd name="T40" fmla="*/ 98 w 124"/>
                <a:gd name="T41" fmla="*/ 48 h 58"/>
                <a:gd name="T42" fmla="*/ 116 w 124"/>
                <a:gd name="T43" fmla="*/ 48 h 58"/>
                <a:gd name="T44" fmla="*/ 122 w 124"/>
                <a:gd name="T45" fmla="*/ 46 h 58"/>
                <a:gd name="T46" fmla="*/ 124 w 124"/>
                <a:gd name="T47" fmla="*/ 44 h 58"/>
                <a:gd name="T48" fmla="*/ 124 w 124"/>
                <a:gd name="T49" fmla="*/ 42 h 58"/>
                <a:gd name="T50" fmla="*/ 124 w 124"/>
                <a:gd name="T51" fmla="*/ 42 h 58"/>
                <a:gd name="T52" fmla="*/ 122 w 124"/>
                <a:gd name="T53" fmla="*/ 36 h 58"/>
                <a:gd name="T54" fmla="*/ 116 w 124"/>
                <a:gd name="T55" fmla="*/ 30 h 58"/>
                <a:gd name="T56" fmla="*/ 108 w 124"/>
                <a:gd name="T57" fmla="*/ 24 h 58"/>
                <a:gd name="T58" fmla="*/ 96 w 124"/>
                <a:gd name="T59" fmla="*/ 18 h 58"/>
                <a:gd name="T60" fmla="*/ 74 w 124"/>
                <a:gd name="T61" fmla="*/ 10 h 58"/>
                <a:gd name="T62" fmla="*/ 64 w 124"/>
                <a:gd name="T63" fmla="*/ 8 h 58"/>
                <a:gd name="T64" fmla="*/ 56 w 124"/>
                <a:gd name="T65" fmla="*/ 8 h 58"/>
                <a:gd name="T66" fmla="*/ 56 w 124"/>
                <a:gd name="T67" fmla="*/ 8 h 58"/>
                <a:gd name="T68" fmla="*/ 48 w 124"/>
                <a:gd name="T69" fmla="*/ 8 h 58"/>
                <a:gd name="T70" fmla="*/ 40 w 124"/>
                <a:gd name="T71" fmla="*/ 8 h 58"/>
                <a:gd name="T72" fmla="*/ 24 w 124"/>
                <a:gd name="T73" fmla="*/ 2 h 58"/>
                <a:gd name="T74" fmla="*/ 16 w 124"/>
                <a:gd name="T75" fmla="*/ 0 h 58"/>
                <a:gd name="T76" fmla="*/ 10 w 124"/>
                <a:gd name="T77" fmla="*/ 0 h 58"/>
                <a:gd name="T78" fmla="*/ 4 w 124"/>
                <a:gd name="T79" fmla="*/ 2 h 58"/>
                <a:gd name="T80" fmla="*/ 0 w 124"/>
                <a:gd name="T81" fmla="*/ 6 h 58"/>
                <a:gd name="T82" fmla="*/ 0 w 124"/>
                <a:gd name="T83"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4" h="58">
                  <a:moveTo>
                    <a:pt x="0" y="6"/>
                  </a:moveTo>
                  <a:lnTo>
                    <a:pt x="0" y="6"/>
                  </a:lnTo>
                  <a:lnTo>
                    <a:pt x="0" y="12"/>
                  </a:lnTo>
                  <a:lnTo>
                    <a:pt x="0" y="16"/>
                  </a:lnTo>
                  <a:lnTo>
                    <a:pt x="6" y="22"/>
                  </a:lnTo>
                  <a:lnTo>
                    <a:pt x="14" y="30"/>
                  </a:lnTo>
                  <a:lnTo>
                    <a:pt x="16" y="34"/>
                  </a:lnTo>
                  <a:lnTo>
                    <a:pt x="18" y="40"/>
                  </a:lnTo>
                  <a:lnTo>
                    <a:pt x="18" y="40"/>
                  </a:lnTo>
                  <a:lnTo>
                    <a:pt x="20" y="46"/>
                  </a:lnTo>
                  <a:lnTo>
                    <a:pt x="22" y="52"/>
                  </a:lnTo>
                  <a:lnTo>
                    <a:pt x="26" y="54"/>
                  </a:lnTo>
                  <a:lnTo>
                    <a:pt x="32" y="58"/>
                  </a:lnTo>
                  <a:lnTo>
                    <a:pt x="38" y="58"/>
                  </a:lnTo>
                  <a:lnTo>
                    <a:pt x="46" y="58"/>
                  </a:lnTo>
                  <a:lnTo>
                    <a:pt x="52" y="56"/>
                  </a:lnTo>
                  <a:lnTo>
                    <a:pt x="58" y="54"/>
                  </a:lnTo>
                  <a:lnTo>
                    <a:pt x="58" y="54"/>
                  </a:lnTo>
                  <a:lnTo>
                    <a:pt x="66" y="50"/>
                  </a:lnTo>
                  <a:lnTo>
                    <a:pt x="76" y="48"/>
                  </a:lnTo>
                  <a:lnTo>
                    <a:pt x="98" y="48"/>
                  </a:lnTo>
                  <a:lnTo>
                    <a:pt x="116" y="48"/>
                  </a:lnTo>
                  <a:lnTo>
                    <a:pt x="122" y="46"/>
                  </a:lnTo>
                  <a:lnTo>
                    <a:pt x="124" y="44"/>
                  </a:lnTo>
                  <a:lnTo>
                    <a:pt x="124" y="42"/>
                  </a:lnTo>
                  <a:lnTo>
                    <a:pt x="124" y="42"/>
                  </a:lnTo>
                  <a:lnTo>
                    <a:pt x="122" y="36"/>
                  </a:lnTo>
                  <a:lnTo>
                    <a:pt x="116" y="30"/>
                  </a:lnTo>
                  <a:lnTo>
                    <a:pt x="108" y="24"/>
                  </a:lnTo>
                  <a:lnTo>
                    <a:pt x="96" y="18"/>
                  </a:lnTo>
                  <a:lnTo>
                    <a:pt x="74" y="10"/>
                  </a:lnTo>
                  <a:lnTo>
                    <a:pt x="64" y="8"/>
                  </a:lnTo>
                  <a:lnTo>
                    <a:pt x="56" y="8"/>
                  </a:lnTo>
                  <a:lnTo>
                    <a:pt x="56" y="8"/>
                  </a:lnTo>
                  <a:lnTo>
                    <a:pt x="48" y="8"/>
                  </a:lnTo>
                  <a:lnTo>
                    <a:pt x="40" y="8"/>
                  </a:lnTo>
                  <a:lnTo>
                    <a:pt x="24" y="2"/>
                  </a:lnTo>
                  <a:lnTo>
                    <a:pt x="16" y="0"/>
                  </a:lnTo>
                  <a:lnTo>
                    <a:pt x="10" y="0"/>
                  </a:lnTo>
                  <a:lnTo>
                    <a:pt x="4" y="2"/>
                  </a:lnTo>
                  <a:lnTo>
                    <a:pt x="0" y="6"/>
                  </a:lnTo>
                  <a:lnTo>
                    <a:pt x="0" y="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0" name="Freeform 17"/>
            <p:cNvSpPr>
              <a:spLocks/>
            </p:cNvSpPr>
            <p:nvPr/>
          </p:nvSpPr>
          <p:spPr bwMode="auto">
            <a:xfrm>
              <a:off x="2311400" y="1724025"/>
              <a:ext cx="57150" cy="28575"/>
            </a:xfrm>
            <a:custGeom>
              <a:avLst/>
              <a:gdLst>
                <a:gd name="T0" fmla="*/ 36 w 36"/>
                <a:gd name="T1" fmla="*/ 10 h 18"/>
                <a:gd name="T2" fmla="*/ 36 w 36"/>
                <a:gd name="T3" fmla="*/ 10 h 18"/>
                <a:gd name="T4" fmla="*/ 36 w 36"/>
                <a:gd name="T5" fmla="*/ 6 h 18"/>
                <a:gd name="T6" fmla="*/ 32 w 36"/>
                <a:gd name="T7" fmla="*/ 2 h 18"/>
                <a:gd name="T8" fmla="*/ 26 w 36"/>
                <a:gd name="T9" fmla="*/ 0 h 18"/>
                <a:gd name="T10" fmla="*/ 18 w 36"/>
                <a:gd name="T11" fmla="*/ 0 h 18"/>
                <a:gd name="T12" fmla="*/ 4 w 36"/>
                <a:gd name="T13" fmla="*/ 0 h 18"/>
                <a:gd name="T14" fmla="*/ 0 w 36"/>
                <a:gd name="T15" fmla="*/ 2 h 18"/>
                <a:gd name="T16" fmla="*/ 0 w 36"/>
                <a:gd name="T17" fmla="*/ 4 h 18"/>
                <a:gd name="T18" fmla="*/ 0 w 36"/>
                <a:gd name="T19" fmla="*/ 4 h 18"/>
                <a:gd name="T20" fmla="*/ 8 w 36"/>
                <a:gd name="T21" fmla="*/ 12 h 18"/>
                <a:gd name="T22" fmla="*/ 20 w 36"/>
                <a:gd name="T23" fmla="*/ 16 h 18"/>
                <a:gd name="T24" fmla="*/ 24 w 36"/>
                <a:gd name="T25" fmla="*/ 18 h 18"/>
                <a:gd name="T26" fmla="*/ 30 w 36"/>
                <a:gd name="T27" fmla="*/ 18 h 18"/>
                <a:gd name="T28" fmla="*/ 34 w 36"/>
                <a:gd name="T29" fmla="*/ 14 h 18"/>
                <a:gd name="T30" fmla="*/ 36 w 36"/>
                <a:gd name="T31" fmla="*/ 10 h 18"/>
                <a:gd name="T32" fmla="*/ 36 w 36"/>
                <a:gd name="T33"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8">
                  <a:moveTo>
                    <a:pt x="36" y="10"/>
                  </a:moveTo>
                  <a:lnTo>
                    <a:pt x="36" y="10"/>
                  </a:lnTo>
                  <a:lnTo>
                    <a:pt x="36" y="6"/>
                  </a:lnTo>
                  <a:lnTo>
                    <a:pt x="32" y="2"/>
                  </a:lnTo>
                  <a:lnTo>
                    <a:pt x="26" y="0"/>
                  </a:lnTo>
                  <a:lnTo>
                    <a:pt x="18" y="0"/>
                  </a:lnTo>
                  <a:lnTo>
                    <a:pt x="4" y="0"/>
                  </a:lnTo>
                  <a:lnTo>
                    <a:pt x="0" y="2"/>
                  </a:lnTo>
                  <a:lnTo>
                    <a:pt x="0" y="4"/>
                  </a:lnTo>
                  <a:lnTo>
                    <a:pt x="0" y="4"/>
                  </a:lnTo>
                  <a:lnTo>
                    <a:pt x="8" y="12"/>
                  </a:lnTo>
                  <a:lnTo>
                    <a:pt x="20" y="16"/>
                  </a:lnTo>
                  <a:lnTo>
                    <a:pt x="24" y="18"/>
                  </a:lnTo>
                  <a:lnTo>
                    <a:pt x="30" y="18"/>
                  </a:lnTo>
                  <a:lnTo>
                    <a:pt x="34" y="14"/>
                  </a:lnTo>
                  <a:lnTo>
                    <a:pt x="36" y="10"/>
                  </a:lnTo>
                  <a:lnTo>
                    <a:pt x="36" y="1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1" name="Freeform 18"/>
            <p:cNvSpPr>
              <a:spLocks/>
            </p:cNvSpPr>
            <p:nvPr/>
          </p:nvSpPr>
          <p:spPr bwMode="auto">
            <a:xfrm>
              <a:off x="3101975" y="1377950"/>
              <a:ext cx="498475" cy="330200"/>
            </a:xfrm>
            <a:custGeom>
              <a:avLst/>
              <a:gdLst>
                <a:gd name="T0" fmla="*/ 18 w 314"/>
                <a:gd name="T1" fmla="*/ 108 h 208"/>
                <a:gd name="T2" fmla="*/ 28 w 314"/>
                <a:gd name="T3" fmla="*/ 126 h 208"/>
                <a:gd name="T4" fmla="*/ 38 w 314"/>
                <a:gd name="T5" fmla="*/ 134 h 208"/>
                <a:gd name="T6" fmla="*/ 84 w 314"/>
                <a:gd name="T7" fmla="*/ 132 h 208"/>
                <a:gd name="T8" fmla="*/ 116 w 314"/>
                <a:gd name="T9" fmla="*/ 134 h 208"/>
                <a:gd name="T10" fmla="*/ 118 w 314"/>
                <a:gd name="T11" fmla="*/ 138 h 208"/>
                <a:gd name="T12" fmla="*/ 92 w 314"/>
                <a:gd name="T13" fmla="*/ 148 h 208"/>
                <a:gd name="T14" fmla="*/ 70 w 314"/>
                <a:gd name="T15" fmla="*/ 158 h 208"/>
                <a:gd name="T16" fmla="*/ 80 w 314"/>
                <a:gd name="T17" fmla="*/ 166 h 208"/>
                <a:gd name="T18" fmla="*/ 108 w 314"/>
                <a:gd name="T19" fmla="*/ 184 h 208"/>
                <a:gd name="T20" fmla="*/ 108 w 314"/>
                <a:gd name="T21" fmla="*/ 190 h 208"/>
                <a:gd name="T22" fmla="*/ 136 w 314"/>
                <a:gd name="T23" fmla="*/ 202 h 208"/>
                <a:gd name="T24" fmla="*/ 172 w 314"/>
                <a:gd name="T25" fmla="*/ 206 h 208"/>
                <a:gd name="T26" fmla="*/ 180 w 314"/>
                <a:gd name="T27" fmla="*/ 200 h 208"/>
                <a:gd name="T28" fmla="*/ 212 w 314"/>
                <a:gd name="T29" fmla="*/ 204 h 208"/>
                <a:gd name="T30" fmla="*/ 220 w 314"/>
                <a:gd name="T31" fmla="*/ 202 h 208"/>
                <a:gd name="T32" fmla="*/ 232 w 314"/>
                <a:gd name="T33" fmla="*/ 176 h 208"/>
                <a:gd name="T34" fmla="*/ 240 w 314"/>
                <a:gd name="T35" fmla="*/ 174 h 208"/>
                <a:gd name="T36" fmla="*/ 250 w 314"/>
                <a:gd name="T37" fmla="*/ 168 h 208"/>
                <a:gd name="T38" fmla="*/ 268 w 314"/>
                <a:gd name="T39" fmla="*/ 152 h 208"/>
                <a:gd name="T40" fmla="*/ 296 w 314"/>
                <a:gd name="T41" fmla="*/ 144 h 208"/>
                <a:gd name="T42" fmla="*/ 314 w 314"/>
                <a:gd name="T43" fmla="*/ 136 h 208"/>
                <a:gd name="T44" fmla="*/ 308 w 314"/>
                <a:gd name="T45" fmla="*/ 126 h 208"/>
                <a:gd name="T46" fmla="*/ 286 w 314"/>
                <a:gd name="T47" fmla="*/ 124 h 208"/>
                <a:gd name="T48" fmla="*/ 258 w 314"/>
                <a:gd name="T49" fmla="*/ 118 h 208"/>
                <a:gd name="T50" fmla="*/ 260 w 314"/>
                <a:gd name="T51" fmla="*/ 106 h 208"/>
                <a:gd name="T52" fmla="*/ 260 w 314"/>
                <a:gd name="T53" fmla="*/ 98 h 208"/>
                <a:gd name="T54" fmla="*/ 246 w 314"/>
                <a:gd name="T55" fmla="*/ 84 h 208"/>
                <a:gd name="T56" fmla="*/ 250 w 314"/>
                <a:gd name="T57" fmla="*/ 76 h 208"/>
                <a:gd name="T58" fmla="*/ 242 w 314"/>
                <a:gd name="T59" fmla="*/ 68 h 208"/>
                <a:gd name="T60" fmla="*/ 228 w 314"/>
                <a:gd name="T61" fmla="*/ 70 h 208"/>
                <a:gd name="T62" fmla="*/ 228 w 314"/>
                <a:gd name="T63" fmla="*/ 80 h 208"/>
                <a:gd name="T64" fmla="*/ 218 w 314"/>
                <a:gd name="T65" fmla="*/ 80 h 208"/>
                <a:gd name="T66" fmla="*/ 204 w 314"/>
                <a:gd name="T67" fmla="*/ 64 h 208"/>
                <a:gd name="T68" fmla="*/ 192 w 314"/>
                <a:gd name="T69" fmla="*/ 54 h 208"/>
                <a:gd name="T70" fmla="*/ 130 w 314"/>
                <a:gd name="T71" fmla="*/ 26 h 208"/>
                <a:gd name="T72" fmla="*/ 106 w 314"/>
                <a:gd name="T73" fmla="*/ 8 h 208"/>
                <a:gd name="T74" fmla="*/ 74 w 314"/>
                <a:gd name="T75" fmla="*/ 0 h 208"/>
                <a:gd name="T76" fmla="*/ 66 w 314"/>
                <a:gd name="T77" fmla="*/ 8 h 208"/>
                <a:gd name="T78" fmla="*/ 80 w 314"/>
                <a:gd name="T79" fmla="*/ 14 h 208"/>
                <a:gd name="T80" fmla="*/ 84 w 314"/>
                <a:gd name="T81" fmla="*/ 20 h 208"/>
                <a:gd name="T82" fmla="*/ 72 w 314"/>
                <a:gd name="T83" fmla="*/ 22 h 208"/>
                <a:gd name="T84" fmla="*/ 44 w 314"/>
                <a:gd name="T85" fmla="*/ 24 h 208"/>
                <a:gd name="T86" fmla="*/ 54 w 314"/>
                <a:gd name="T87" fmla="*/ 32 h 208"/>
                <a:gd name="T88" fmla="*/ 64 w 314"/>
                <a:gd name="T89" fmla="*/ 38 h 208"/>
                <a:gd name="T90" fmla="*/ 48 w 314"/>
                <a:gd name="T91" fmla="*/ 46 h 208"/>
                <a:gd name="T92" fmla="*/ 24 w 314"/>
                <a:gd name="T93" fmla="*/ 48 h 208"/>
                <a:gd name="T94" fmla="*/ 16 w 314"/>
                <a:gd name="T95" fmla="*/ 60 h 208"/>
                <a:gd name="T96" fmla="*/ 28 w 314"/>
                <a:gd name="T97" fmla="*/ 74 h 208"/>
                <a:gd name="T98" fmla="*/ 44 w 314"/>
                <a:gd name="T99" fmla="*/ 78 h 208"/>
                <a:gd name="T100" fmla="*/ 48 w 314"/>
                <a:gd name="T101" fmla="*/ 86 h 208"/>
                <a:gd name="T102" fmla="*/ 30 w 314"/>
                <a:gd name="T103" fmla="*/ 90 h 208"/>
                <a:gd name="T104" fmla="*/ 14 w 314"/>
                <a:gd name="T105" fmla="*/ 88 h 208"/>
                <a:gd name="T106" fmla="*/ 2 w 314"/>
                <a:gd name="T107" fmla="*/ 92 h 208"/>
                <a:gd name="T108" fmla="*/ 6 w 314"/>
                <a:gd name="T109" fmla="*/ 1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4" h="208">
                  <a:moveTo>
                    <a:pt x="12" y="104"/>
                  </a:moveTo>
                  <a:lnTo>
                    <a:pt x="12" y="104"/>
                  </a:lnTo>
                  <a:lnTo>
                    <a:pt x="18" y="108"/>
                  </a:lnTo>
                  <a:lnTo>
                    <a:pt x="22" y="112"/>
                  </a:lnTo>
                  <a:lnTo>
                    <a:pt x="24" y="118"/>
                  </a:lnTo>
                  <a:lnTo>
                    <a:pt x="28" y="126"/>
                  </a:lnTo>
                  <a:lnTo>
                    <a:pt x="32" y="130"/>
                  </a:lnTo>
                  <a:lnTo>
                    <a:pt x="38" y="134"/>
                  </a:lnTo>
                  <a:lnTo>
                    <a:pt x="38" y="134"/>
                  </a:lnTo>
                  <a:lnTo>
                    <a:pt x="48" y="136"/>
                  </a:lnTo>
                  <a:lnTo>
                    <a:pt x="58" y="136"/>
                  </a:lnTo>
                  <a:lnTo>
                    <a:pt x="84" y="132"/>
                  </a:lnTo>
                  <a:lnTo>
                    <a:pt x="106" y="130"/>
                  </a:lnTo>
                  <a:lnTo>
                    <a:pt x="114" y="132"/>
                  </a:lnTo>
                  <a:lnTo>
                    <a:pt x="116" y="134"/>
                  </a:lnTo>
                  <a:lnTo>
                    <a:pt x="118" y="136"/>
                  </a:lnTo>
                  <a:lnTo>
                    <a:pt x="118" y="136"/>
                  </a:lnTo>
                  <a:lnTo>
                    <a:pt x="118" y="138"/>
                  </a:lnTo>
                  <a:lnTo>
                    <a:pt x="118" y="140"/>
                  </a:lnTo>
                  <a:lnTo>
                    <a:pt x="112" y="144"/>
                  </a:lnTo>
                  <a:lnTo>
                    <a:pt x="92" y="148"/>
                  </a:lnTo>
                  <a:lnTo>
                    <a:pt x="74" y="154"/>
                  </a:lnTo>
                  <a:lnTo>
                    <a:pt x="70" y="156"/>
                  </a:lnTo>
                  <a:lnTo>
                    <a:pt x="70" y="158"/>
                  </a:lnTo>
                  <a:lnTo>
                    <a:pt x="70" y="158"/>
                  </a:lnTo>
                  <a:lnTo>
                    <a:pt x="70" y="158"/>
                  </a:lnTo>
                  <a:lnTo>
                    <a:pt x="80" y="166"/>
                  </a:lnTo>
                  <a:lnTo>
                    <a:pt x="94" y="174"/>
                  </a:lnTo>
                  <a:lnTo>
                    <a:pt x="106" y="182"/>
                  </a:lnTo>
                  <a:lnTo>
                    <a:pt x="108" y="184"/>
                  </a:lnTo>
                  <a:lnTo>
                    <a:pt x="108" y="188"/>
                  </a:lnTo>
                  <a:lnTo>
                    <a:pt x="108" y="188"/>
                  </a:lnTo>
                  <a:lnTo>
                    <a:pt x="108" y="190"/>
                  </a:lnTo>
                  <a:lnTo>
                    <a:pt x="110" y="190"/>
                  </a:lnTo>
                  <a:lnTo>
                    <a:pt x="116" y="194"/>
                  </a:lnTo>
                  <a:lnTo>
                    <a:pt x="136" y="202"/>
                  </a:lnTo>
                  <a:lnTo>
                    <a:pt x="160" y="208"/>
                  </a:lnTo>
                  <a:lnTo>
                    <a:pt x="168" y="208"/>
                  </a:lnTo>
                  <a:lnTo>
                    <a:pt x="172" y="206"/>
                  </a:lnTo>
                  <a:lnTo>
                    <a:pt x="172" y="206"/>
                  </a:lnTo>
                  <a:lnTo>
                    <a:pt x="176" y="202"/>
                  </a:lnTo>
                  <a:lnTo>
                    <a:pt x="180" y="200"/>
                  </a:lnTo>
                  <a:lnTo>
                    <a:pt x="188" y="200"/>
                  </a:lnTo>
                  <a:lnTo>
                    <a:pt x="200" y="200"/>
                  </a:lnTo>
                  <a:lnTo>
                    <a:pt x="212" y="204"/>
                  </a:lnTo>
                  <a:lnTo>
                    <a:pt x="212" y="204"/>
                  </a:lnTo>
                  <a:lnTo>
                    <a:pt x="216" y="204"/>
                  </a:lnTo>
                  <a:lnTo>
                    <a:pt x="220" y="202"/>
                  </a:lnTo>
                  <a:lnTo>
                    <a:pt x="224" y="196"/>
                  </a:lnTo>
                  <a:lnTo>
                    <a:pt x="228" y="188"/>
                  </a:lnTo>
                  <a:lnTo>
                    <a:pt x="232" y="176"/>
                  </a:lnTo>
                  <a:lnTo>
                    <a:pt x="236" y="174"/>
                  </a:lnTo>
                  <a:lnTo>
                    <a:pt x="240" y="174"/>
                  </a:lnTo>
                  <a:lnTo>
                    <a:pt x="240" y="174"/>
                  </a:lnTo>
                  <a:lnTo>
                    <a:pt x="242" y="176"/>
                  </a:lnTo>
                  <a:lnTo>
                    <a:pt x="246" y="174"/>
                  </a:lnTo>
                  <a:lnTo>
                    <a:pt x="250" y="168"/>
                  </a:lnTo>
                  <a:lnTo>
                    <a:pt x="256" y="158"/>
                  </a:lnTo>
                  <a:lnTo>
                    <a:pt x="262" y="154"/>
                  </a:lnTo>
                  <a:lnTo>
                    <a:pt x="268" y="152"/>
                  </a:lnTo>
                  <a:lnTo>
                    <a:pt x="268" y="152"/>
                  </a:lnTo>
                  <a:lnTo>
                    <a:pt x="282" y="146"/>
                  </a:lnTo>
                  <a:lnTo>
                    <a:pt x="296" y="144"/>
                  </a:lnTo>
                  <a:lnTo>
                    <a:pt x="308" y="140"/>
                  </a:lnTo>
                  <a:lnTo>
                    <a:pt x="312" y="138"/>
                  </a:lnTo>
                  <a:lnTo>
                    <a:pt x="314" y="136"/>
                  </a:lnTo>
                  <a:lnTo>
                    <a:pt x="314" y="136"/>
                  </a:lnTo>
                  <a:lnTo>
                    <a:pt x="312" y="130"/>
                  </a:lnTo>
                  <a:lnTo>
                    <a:pt x="308" y="126"/>
                  </a:lnTo>
                  <a:lnTo>
                    <a:pt x="300" y="124"/>
                  </a:lnTo>
                  <a:lnTo>
                    <a:pt x="286" y="124"/>
                  </a:lnTo>
                  <a:lnTo>
                    <a:pt x="286" y="124"/>
                  </a:lnTo>
                  <a:lnTo>
                    <a:pt x="272" y="124"/>
                  </a:lnTo>
                  <a:lnTo>
                    <a:pt x="262" y="120"/>
                  </a:lnTo>
                  <a:lnTo>
                    <a:pt x="258" y="118"/>
                  </a:lnTo>
                  <a:lnTo>
                    <a:pt x="256" y="114"/>
                  </a:lnTo>
                  <a:lnTo>
                    <a:pt x="258" y="110"/>
                  </a:lnTo>
                  <a:lnTo>
                    <a:pt x="260" y="106"/>
                  </a:lnTo>
                  <a:lnTo>
                    <a:pt x="260" y="106"/>
                  </a:lnTo>
                  <a:lnTo>
                    <a:pt x="262" y="102"/>
                  </a:lnTo>
                  <a:lnTo>
                    <a:pt x="260" y="98"/>
                  </a:lnTo>
                  <a:lnTo>
                    <a:pt x="252" y="92"/>
                  </a:lnTo>
                  <a:lnTo>
                    <a:pt x="246" y="86"/>
                  </a:lnTo>
                  <a:lnTo>
                    <a:pt x="246" y="84"/>
                  </a:lnTo>
                  <a:lnTo>
                    <a:pt x="248" y="80"/>
                  </a:lnTo>
                  <a:lnTo>
                    <a:pt x="248" y="80"/>
                  </a:lnTo>
                  <a:lnTo>
                    <a:pt x="250" y="76"/>
                  </a:lnTo>
                  <a:lnTo>
                    <a:pt x="250" y="74"/>
                  </a:lnTo>
                  <a:lnTo>
                    <a:pt x="246" y="70"/>
                  </a:lnTo>
                  <a:lnTo>
                    <a:pt x="242" y="68"/>
                  </a:lnTo>
                  <a:lnTo>
                    <a:pt x="236" y="68"/>
                  </a:lnTo>
                  <a:lnTo>
                    <a:pt x="232" y="68"/>
                  </a:lnTo>
                  <a:lnTo>
                    <a:pt x="228" y="70"/>
                  </a:lnTo>
                  <a:lnTo>
                    <a:pt x="228" y="76"/>
                  </a:lnTo>
                  <a:lnTo>
                    <a:pt x="228" y="76"/>
                  </a:lnTo>
                  <a:lnTo>
                    <a:pt x="228" y="80"/>
                  </a:lnTo>
                  <a:lnTo>
                    <a:pt x="226" y="82"/>
                  </a:lnTo>
                  <a:lnTo>
                    <a:pt x="222" y="82"/>
                  </a:lnTo>
                  <a:lnTo>
                    <a:pt x="218" y="80"/>
                  </a:lnTo>
                  <a:lnTo>
                    <a:pt x="210" y="72"/>
                  </a:lnTo>
                  <a:lnTo>
                    <a:pt x="206" y="68"/>
                  </a:lnTo>
                  <a:lnTo>
                    <a:pt x="204" y="64"/>
                  </a:lnTo>
                  <a:lnTo>
                    <a:pt x="204" y="64"/>
                  </a:lnTo>
                  <a:lnTo>
                    <a:pt x="200" y="58"/>
                  </a:lnTo>
                  <a:lnTo>
                    <a:pt x="192" y="54"/>
                  </a:lnTo>
                  <a:lnTo>
                    <a:pt x="172" y="46"/>
                  </a:lnTo>
                  <a:lnTo>
                    <a:pt x="144" y="34"/>
                  </a:lnTo>
                  <a:lnTo>
                    <a:pt x="130" y="26"/>
                  </a:lnTo>
                  <a:lnTo>
                    <a:pt x="118" y="16"/>
                  </a:lnTo>
                  <a:lnTo>
                    <a:pt x="118" y="16"/>
                  </a:lnTo>
                  <a:lnTo>
                    <a:pt x="106" y="8"/>
                  </a:lnTo>
                  <a:lnTo>
                    <a:pt x="94" y="2"/>
                  </a:lnTo>
                  <a:lnTo>
                    <a:pt x="82" y="0"/>
                  </a:lnTo>
                  <a:lnTo>
                    <a:pt x="74" y="0"/>
                  </a:lnTo>
                  <a:lnTo>
                    <a:pt x="68" y="2"/>
                  </a:lnTo>
                  <a:lnTo>
                    <a:pt x="64" y="6"/>
                  </a:lnTo>
                  <a:lnTo>
                    <a:pt x="66" y="8"/>
                  </a:lnTo>
                  <a:lnTo>
                    <a:pt x="70" y="10"/>
                  </a:lnTo>
                  <a:lnTo>
                    <a:pt x="70" y="10"/>
                  </a:lnTo>
                  <a:lnTo>
                    <a:pt x="80" y="14"/>
                  </a:lnTo>
                  <a:lnTo>
                    <a:pt x="84" y="16"/>
                  </a:lnTo>
                  <a:lnTo>
                    <a:pt x="84" y="18"/>
                  </a:lnTo>
                  <a:lnTo>
                    <a:pt x="84" y="20"/>
                  </a:lnTo>
                  <a:lnTo>
                    <a:pt x="82" y="22"/>
                  </a:lnTo>
                  <a:lnTo>
                    <a:pt x="72" y="22"/>
                  </a:lnTo>
                  <a:lnTo>
                    <a:pt x="72" y="22"/>
                  </a:lnTo>
                  <a:lnTo>
                    <a:pt x="60" y="22"/>
                  </a:lnTo>
                  <a:lnTo>
                    <a:pt x="48" y="24"/>
                  </a:lnTo>
                  <a:lnTo>
                    <a:pt x="44" y="24"/>
                  </a:lnTo>
                  <a:lnTo>
                    <a:pt x="44" y="26"/>
                  </a:lnTo>
                  <a:lnTo>
                    <a:pt x="48" y="30"/>
                  </a:lnTo>
                  <a:lnTo>
                    <a:pt x="54" y="32"/>
                  </a:lnTo>
                  <a:lnTo>
                    <a:pt x="54" y="32"/>
                  </a:lnTo>
                  <a:lnTo>
                    <a:pt x="62" y="36"/>
                  </a:lnTo>
                  <a:lnTo>
                    <a:pt x="64" y="38"/>
                  </a:lnTo>
                  <a:lnTo>
                    <a:pt x="64" y="42"/>
                  </a:lnTo>
                  <a:lnTo>
                    <a:pt x="60" y="44"/>
                  </a:lnTo>
                  <a:lnTo>
                    <a:pt x="48" y="46"/>
                  </a:lnTo>
                  <a:lnTo>
                    <a:pt x="32" y="46"/>
                  </a:lnTo>
                  <a:lnTo>
                    <a:pt x="32" y="46"/>
                  </a:lnTo>
                  <a:lnTo>
                    <a:pt x="24" y="48"/>
                  </a:lnTo>
                  <a:lnTo>
                    <a:pt x="20" y="50"/>
                  </a:lnTo>
                  <a:lnTo>
                    <a:pt x="16" y="54"/>
                  </a:lnTo>
                  <a:lnTo>
                    <a:pt x="16" y="60"/>
                  </a:lnTo>
                  <a:lnTo>
                    <a:pt x="18" y="66"/>
                  </a:lnTo>
                  <a:lnTo>
                    <a:pt x="22" y="70"/>
                  </a:lnTo>
                  <a:lnTo>
                    <a:pt x="28" y="74"/>
                  </a:lnTo>
                  <a:lnTo>
                    <a:pt x="36" y="76"/>
                  </a:lnTo>
                  <a:lnTo>
                    <a:pt x="36" y="76"/>
                  </a:lnTo>
                  <a:lnTo>
                    <a:pt x="44" y="78"/>
                  </a:lnTo>
                  <a:lnTo>
                    <a:pt x="48" y="80"/>
                  </a:lnTo>
                  <a:lnTo>
                    <a:pt x="50" y="84"/>
                  </a:lnTo>
                  <a:lnTo>
                    <a:pt x="48" y="86"/>
                  </a:lnTo>
                  <a:lnTo>
                    <a:pt x="42" y="90"/>
                  </a:lnTo>
                  <a:lnTo>
                    <a:pt x="36" y="90"/>
                  </a:lnTo>
                  <a:lnTo>
                    <a:pt x="30" y="90"/>
                  </a:lnTo>
                  <a:lnTo>
                    <a:pt x="22" y="90"/>
                  </a:lnTo>
                  <a:lnTo>
                    <a:pt x="22" y="90"/>
                  </a:lnTo>
                  <a:lnTo>
                    <a:pt x="14" y="88"/>
                  </a:lnTo>
                  <a:lnTo>
                    <a:pt x="8" y="88"/>
                  </a:lnTo>
                  <a:lnTo>
                    <a:pt x="4" y="90"/>
                  </a:lnTo>
                  <a:lnTo>
                    <a:pt x="2" y="92"/>
                  </a:lnTo>
                  <a:lnTo>
                    <a:pt x="0" y="94"/>
                  </a:lnTo>
                  <a:lnTo>
                    <a:pt x="2" y="96"/>
                  </a:lnTo>
                  <a:lnTo>
                    <a:pt x="6" y="100"/>
                  </a:lnTo>
                  <a:lnTo>
                    <a:pt x="12" y="104"/>
                  </a:lnTo>
                  <a:lnTo>
                    <a:pt x="12" y="10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2" name="Freeform 19"/>
            <p:cNvSpPr>
              <a:spLocks/>
            </p:cNvSpPr>
            <p:nvPr/>
          </p:nvSpPr>
          <p:spPr bwMode="auto">
            <a:xfrm>
              <a:off x="1517650" y="3489325"/>
              <a:ext cx="76200" cy="104775"/>
            </a:xfrm>
            <a:custGeom>
              <a:avLst/>
              <a:gdLst>
                <a:gd name="T0" fmla="*/ 6 w 48"/>
                <a:gd name="T1" fmla="*/ 4 h 66"/>
                <a:gd name="T2" fmla="*/ 6 w 48"/>
                <a:gd name="T3" fmla="*/ 4 h 66"/>
                <a:gd name="T4" fmla="*/ 2 w 48"/>
                <a:gd name="T5" fmla="*/ 8 h 66"/>
                <a:gd name="T6" fmla="*/ 0 w 48"/>
                <a:gd name="T7" fmla="*/ 10 h 66"/>
                <a:gd name="T8" fmla="*/ 0 w 48"/>
                <a:gd name="T9" fmla="*/ 16 h 66"/>
                <a:gd name="T10" fmla="*/ 2 w 48"/>
                <a:gd name="T11" fmla="*/ 20 h 66"/>
                <a:gd name="T12" fmla="*/ 6 w 48"/>
                <a:gd name="T13" fmla="*/ 30 h 66"/>
                <a:gd name="T14" fmla="*/ 14 w 48"/>
                <a:gd name="T15" fmla="*/ 42 h 66"/>
                <a:gd name="T16" fmla="*/ 24 w 48"/>
                <a:gd name="T17" fmla="*/ 52 h 66"/>
                <a:gd name="T18" fmla="*/ 34 w 48"/>
                <a:gd name="T19" fmla="*/ 60 h 66"/>
                <a:gd name="T20" fmla="*/ 42 w 48"/>
                <a:gd name="T21" fmla="*/ 64 h 66"/>
                <a:gd name="T22" fmla="*/ 44 w 48"/>
                <a:gd name="T23" fmla="*/ 66 h 66"/>
                <a:gd name="T24" fmla="*/ 48 w 48"/>
                <a:gd name="T25" fmla="*/ 64 h 66"/>
                <a:gd name="T26" fmla="*/ 48 w 48"/>
                <a:gd name="T27" fmla="*/ 64 h 66"/>
                <a:gd name="T28" fmla="*/ 48 w 48"/>
                <a:gd name="T29" fmla="*/ 62 h 66"/>
                <a:gd name="T30" fmla="*/ 48 w 48"/>
                <a:gd name="T31" fmla="*/ 58 h 66"/>
                <a:gd name="T32" fmla="*/ 44 w 48"/>
                <a:gd name="T33" fmla="*/ 46 h 66"/>
                <a:gd name="T34" fmla="*/ 38 w 48"/>
                <a:gd name="T35" fmla="*/ 34 h 66"/>
                <a:gd name="T36" fmla="*/ 36 w 48"/>
                <a:gd name="T37" fmla="*/ 28 h 66"/>
                <a:gd name="T38" fmla="*/ 34 w 48"/>
                <a:gd name="T39" fmla="*/ 22 h 66"/>
                <a:gd name="T40" fmla="*/ 34 w 48"/>
                <a:gd name="T41" fmla="*/ 22 h 66"/>
                <a:gd name="T42" fmla="*/ 32 w 48"/>
                <a:gd name="T43" fmla="*/ 12 h 66"/>
                <a:gd name="T44" fmla="*/ 32 w 48"/>
                <a:gd name="T45" fmla="*/ 8 h 66"/>
                <a:gd name="T46" fmla="*/ 28 w 48"/>
                <a:gd name="T47" fmla="*/ 4 h 66"/>
                <a:gd name="T48" fmla="*/ 24 w 48"/>
                <a:gd name="T49" fmla="*/ 2 h 66"/>
                <a:gd name="T50" fmla="*/ 20 w 48"/>
                <a:gd name="T51" fmla="*/ 0 h 66"/>
                <a:gd name="T52" fmla="*/ 14 w 48"/>
                <a:gd name="T53" fmla="*/ 2 h 66"/>
                <a:gd name="T54" fmla="*/ 6 w 48"/>
                <a:gd name="T55" fmla="*/ 4 h 66"/>
                <a:gd name="T56" fmla="*/ 6 w 48"/>
                <a:gd name="T5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66">
                  <a:moveTo>
                    <a:pt x="6" y="4"/>
                  </a:moveTo>
                  <a:lnTo>
                    <a:pt x="6" y="4"/>
                  </a:lnTo>
                  <a:lnTo>
                    <a:pt x="2" y="8"/>
                  </a:lnTo>
                  <a:lnTo>
                    <a:pt x="0" y="10"/>
                  </a:lnTo>
                  <a:lnTo>
                    <a:pt x="0" y="16"/>
                  </a:lnTo>
                  <a:lnTo>
                    <a:pt x="2" y="20"/>
                  </a:lnTo>
                  <a:lnTo>
                    <a:pt x="6" y="30"/>
                  </a:lnTo>
                  <a:lnTo>
                    <a:pt x="14" y="42"/>
                  </a:lnTo>
                  <a:lnTo>
                    <a:pt x="24" y="52"/>
                  </a:lnTo>
                  <a:lnTo>
                    <a:pt x="34" y="60"/>
                  </a:lnTo>
                  <a:lnTo>
                    <a:pt x="42" y="64"/>
                  </a:lnTo>
                  <a:lnTo>
                    <a:pt x="44" y="66"/>
                  </a:lnTo>
                  <a:lnTo>
                    <a:pt x="48" y="64"/>
                  </a:lnTo>
                  <a:lnTo>
                    <a:pt x="48" y="64"/>
                  </a:lnTo>
                  <a:lnTo>
                    <a:pt x="48" y="62"/>
                  </a:lnTo>
                  <a:lnTo>
                    <a:pt x="48" y="58"/>
                  </a:lnTo>
                  <a:lnTo>
                    <a:pt x="44" y="46"/>
                  </a:lnTo>
                  <a:lnTo>
                    <a:pt x="38" y="34"/>
                  </a:lnTo>
                  <a:lnTo>
                    <a:pt x="36" y="28"/>
                  </a:lnTo>
                  <a:lnTo>
                    <a:pt x="34" y="22"/>
                  </a:lnTo>
                  <a:lnTo>
                    <a:pt x="34" y="22"/>
                  </a:lnTo>
                  <a:lnTo>
                    <a:pt x="32" y="12"/>
                  </a:lnTo>
                  <a:lnTo>
                    <a:pt x="32" y="8"/>
                  </a:lnTo>
                  <a:lnTo>
                    <a:pt x="28" y="4"/>
                  </a:lnTo>
                  <a:lnTo>
                    <a:pt x="24" y="2"/>
                  </a:lnTo>
                  <a:lnTo>
                    <a:pt x="20" y="0"/>
                  </a:lnTo>
                  <a:lnTo>
                    <a:pt x="14" y="2"/>
                  </a:lnTo>
                  <a:lnTo>
                    <a:pt x="6" y="4"/>
                  </a:lnTo>
                  <a:lnTo>
                    <a:pt x="6"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3" name="Freeform 20"/>
            <p:cNvSpPr>
              <a:spLocks/>
            </p:cNvSpPr>
            <p:nvPr/>
          </p:nvSpPr>
          <p:spPr bwMode="auto">
            <a:xfrm>
              <a:off x="2206625" y="1831975"/>
              <a:ext cx="511175" cy="215900"/>
            </a:xfrm>
            <a:custGeom>
              <a:avLst/>
              <a:gdLst>
                <a:gd name="T0" fmla="*/ 34 w 322"/>
                <a:gd name="T1" fmla="*/ 30 h 136"/>
                <a:gd name="T2" fmla="*/ 28 w 322"/>
                <a:gd name="T3" fmla="*/ 40 h 136"/>
                <a:gd name="T4" fmla="*/ 36 w 322"/>
                <a:gd name="T5" fmla="*/ 48 h 136"/>
                <a:gd name="T6" fmla="*/ 54 w 322"/>
                <a:gd name="T7" fmla="*/ 48 h 136"/>
                <a:gd name="T8" fmla="*/ 56 w 322"/>
                <a:gd name="T9" fmla="*/ 52 h 136"/>
                <a:gd name="T10" fmla="*/ 30 w 322"/>
                <a:gd name="T11" fmla="*/ 54 h 136"/>
                <a:gd name="T12" fmla="*/ 12 w 322"/>
                <a:gd name="T13" fmla="*/ 64 h 136"/>
                <a:gd name="T14" fmla="*/ 14 w 322"/>
                <a:gd name="T15" fmla="*/ 72 h 136"/>
                <a:gd name="T16" fmla="*/ 34 w 322"/>
                <a:gd name="T17" fmla="*/ 68 h 136"/>
                <a:gd name="T18" fmla="*/ 52 w 322"/>
                <a:gd name="T19" fmla="*/ 70 h 136"/>
                <a:gd name="T20" fmla="*/ 34 w 322"/>
                <a:gd name="T21" fmla="*/ 74 h 136"/>
                <a:gd name="T22" fmla="*/ 0 w 322"/>
                <a:gd name="T23" fmla="*/ 84 h 136"/>
                <a:gd name="T24" fmla="*/ 4 w 322"/>
                <a:gd name="T25" fmla="*/ 90 h 136"/>
                <a:gd name="T26" fmla="*/ 34 w 322"/>
                <a:gd name="T27" fmla="*/ 96 h 136"/>
                <a:gd name="T28" fmla="*/ 54 w 322"/>
                <a:gd name="T29" fmla="*/ 102 h 136"/>
                <a:gd name="T30" fmla="*/ 72 w 322"/>
                <a:gd name="T31" fmla="*/ 92 h 136"/>
                <a:gd name="T32" fmla="*/ 92 w 322"/>
                <a:gd name="T33" fmla="*/ 76 h 136"/>
                <a:gd name="T34" fmla="*/ 94 w 322"/>
                <a:gd name="T35" fmla="*/ 84 h 136"/>
                <a:gd name="T36" fmla="*/ 94 w 322"/>
                <a:gd name="T37" fmla="*/ 92 h 136"/>
                <a:gd name="T38" fmla="*/ 124 w 322"/>
                <a:gd name="T39" fmla="*/ 90 h 136"/>
                <a:gd name="T40" fmla="*/ 154 w 322"/>
                <a:gd name="T41" fmla="*/ 88 h 136"/>
                <a:gd name="T42" fmla="*/ 150 w 322"/>
                <a:gd name="T43" fmla="*/ 98 h 136"/>
                <a:gd name="T44" fmla="*/ 106 w 322"/>
                <a:gd name="T45" fmla="*/ 110 h 136"/>
                <a:gd name="T46" fmla="*/ 88 w 322"/>
                <a:gd name="T47" fmla="*/ 114 h 136"/>
                <a:gd name="T48" fmla="*/ 84 w 322"/>
                <a:gd name="T49" fmla="*/ 124 h 136"/>
                <a:gd name="T50" fmla="*/ 104 w 322"/>
                <a:gd name="T51" fmla="*/ 134 h 136"/>
                <a:gd name="T52" fmla="*/ 130 w 322"/>
                <a:gd name="T53" fmla="*/ 134 h 136"/>
                <a:gd name="T54" fmla="*/ 184 w 322"/>
                <a:gd name="T55" fmla="*/ 116 h 136"/>
                <a:gd name="T56" fmla="*/ 202 w 322"/>
                <a:gd name="T57" fmla="*/ 104 h 136"/>
                <a:gd name="T58" fmla="*/ 220 w 322"/>
                <a:gd name="T59" fmla="*/ 102 h 136"/>
                <a:gd name="T60" fmla="*/ 240 w 322"/>
                <a:gd name="T61" fmla="*/ 102 h 136"/>
                <a:gd name="T62" fmla="*/ 252 w 322"/>
                <a:gd name="T63" fmla="*/ 98 h 136"/>
                <a:gd name="T64" fmla="*/ 302 w 322"/>
                <a:gd name="T65" fmla="*/ 98 h 136"/>
                <a:gd name="T66" fmla="*/ 316 w 322"/>
                <a:gd name="T67" fmla="*/ 88 h 136"/>
                <a:gd name="T68" fmla="*/ 322 w 322"/>
                <a:gd name="T69" fmla="*/ 62 h 136"/>
                <a:gd name="T70" fmla="*/ 312 w 322"/>
                <a:gd name="T71" fmla="*/ 42 h 136"/>
                <a:gd name="T72" fmla="*/ 302 w 322"/>
                <a:gd name="T73" fmla="*/ 42 h 136"/>
                <a:gd name="T74" fmla="*/ 290 w 322"/>
                <a:gd name="T75" fmla="*/ 50 h 136"/>
                <a:gd name="T76" fmla="*/ 282 w 322"/>
                <a:gd name="T77" fmla="*/ 54 h 136"/>
                <a:gd name="T78" fmla="*/ 264 w 322"/>
                <a:gd name="T79" fmla="*/ 46 h 136"/>
                <a:gd name="T80" fmla="*/ 246 w 322"/>
                <a:gd name="T81" fmla="*/ 24 h 136"/>
                <a:gd name="T82" fmla="*/ 240 w 322"/>
                <a:gd name="T83" fmla="*/ 4 h 136"/>
                <a:gd name="T84" fmla="*/ 230 w 322"/>
                <a:gd name="T85" fmla="*/ 0 h 136"/>
                <a:gd name="T86" fmla="*/ 216 w 322"/>
                <a:gd name="T87" fmla="*/ 4 h 136"/>
                <a:gd name="T88" fmla="*/ 196 w 322"/>
                <a:gd name="T89" fmla="*/ 24 h 136"/>
                <a:gd name="T90" fmla="*/ 202 w 322"/>
                <a:gd name="T91" fmla="*/ 30 h 136"/>
                <a:gd name="T92" fmla="*/ 214 w 322"/>
                <a:gd name="T93" fmla="*/ 36 h 136"/>
                <a:gd name="T94" fmla="*/ 204 w 322"/>
                <a:gd name="T95" fmla="*/ 48 h 136"/>
                <a:gd name="T96" fmla="*/ 204 w 322"/>
                <a:gd name="T97" fmla="*/ 52 h 136"/>
                <a:gd name="T98" fmla="*/ 224 w 322"/>
                <a:gd name="T99" fmla="*/ 66 h 136"/>
                <a:gd name="T100" fmla="*/ 220 w 322"/>
                <a:gd name="T101" fmla="*/ 70 h 136"/>
                <a:gd name="T102" fmla="*/ 172 w 322"/>
                <a:gd name="T103" fmla="*/ 66 h 136"/>
                <a:gd name="T104" fmla="*/ 162 w 322"/>
                <a:gd name="T105" fmla="*/ 58 h 136"/>
                <a:gd name="T106" fmla="*/ 136 w 322"/>
                <a:gd name="T107" fmla="*/ 36 h 136"/>
                <a:gd name="T108" fmla="*/ 98 w 322"/>
                <a:gd name="T109" fmla="*/ 28 h 136"/>
                <a:gd name="T110" fmla="*/ 88 w 322"/>
                <a:gd name="T111" fmla="*/ 28 h 136"/>
                <a:gd name="T112" fmla="*/ 78 w 322"/>
                <a:gd name="T113" fmla="*/ 16 h 136"/>
                <a:gd name="T114" fmla="*/ 68 w 322"/>
                <a:gd name="T115" fmla="*/ 12 h 136"/>
                <a:gd name="T116" fmla="*/ 54 w 322"/>
                <a:gd name="T117" fmla="*/ 20 h 136"/>
                <a:gd name="T118" fmla="*/ 40 w 322"/>
                <a:gd name="T119" fmla="*/ 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2" h="136">
                  <a:moveTo>
                    <a:pt x="40" y="30"/>
                  </a:moveTo>
                  <a:lnTo>
                    <a:pt x="40" y="30"/>
                  </a:lnTo>
                  <a:lnTo>
                    <a:pt x="34" y="30"/>
                  </a:lnTo>
                  <a:lnTo>
                    <a:pt x="30" y="34"/>
                  </a:lnTo>
                  <a:lnTo>
                    <a:pt x="28" y="36"/>
                  </a:lnTo>
                  <a:lnTo>
                    <a:pt x="28" y="40"/>
                  </a:lnTo>
                  <a:lnTo>
                    <a:pt x="28" y="42"/>
                  </a:lnTo>
                  <a:lnTo>
                    <a:pt x="32" y="46"/>
                  </a:lnTo>
                  <a:lnTo>
                    <a:pt x="36" y="48"/>
                  </a:lnTo>
                  <a:lnTo>
                    <a:pt x="44" y="48"/>
                  </a:lnTo>
                  <a:lnTo>
                    <a:pt x="44" y="48"/>
                  </a:lnTo>
                  <a:lnTo>
                    <a:pt x="54" y="48"/>
                  </a:lnTo>
                  <a:lnTo>
                    <a:pt x="60" y="50"/>
                  </a:lnTo>
                  <a:lnTo>
                    <a:pt x="58" y="52"/>
                  </a:lnTo>
                  <a:lnTo>
                    <a:pt x="56" y="52"/>
                  </a:lnTo>
                  <a:lnTo>
                    <a:pt x="40" y="52"/>
                  </a:lnTo>
                  <a:lnTo>
                    <a:pt x="40" y="52"/>
                  </a:lnTo>
                  <a:lnTo>
                    <a:pt x="30" y="54"/>
                  </a:lnTo>
                  <a:lnTo>
                    <a:pt x="22" y="56"/>
                  </a:lnTo>
                  <a:lnTo>
                    <a:pt x="16" y="60"/>
                  </a:lnTo>
                  <a:lnTo>
                    <a:pt x="12" y="64"/>
                  </a:lnTo>
                  <a:lnTo>
                    <a:pt x="10" y="66"/>
                  </a:lnTo>
                  <a:lnTo>
                    <a:pt x="12" y="70"/>
                  </a:lnTo>
                  <a:lnTo>
                    <a:pt x="14" y="72"/>
                  </a:lnTo>
                  <a:lnTo>
                    <a:pt x="20" y="70"/>
                  </a:lnTo>
                  <a:lnTo>
                    <a:pt x="20" y="70"/>
                  </a:lnTo>
                  <a:lnTo>
                    <a:pt x="34" y="68"/>
                  </a:lnTo>
                  <a:lnTo>
                    <a:pt x="46" y="68"/>
                  </a:lnTo>
                  <a:lnTo>
                    <a:pt x="52" y="68"/>
                  </a:lnTo>
                  <a:lnTo>
                    <a:pt x="52" y="70"/>
                  </a:lnTo>
                  <a:lnTo>
                    <a:pt x="48" y="70"/>
                  </a:lnTo>
                  <a:lnTo>
                    <a:pt x="48" y="70"/>
                  </a:lnTo>
                  <a:lnTo>
                    <a:pt x="34" y="74"/>
                  </a:lnTo>
                  <a:lnTo>
                    <a:pt x="16" y="78"/>
                  </a:lnTo>
                  <a:lnTo>
                    <a:pt x="2" y="82"/>
                  </a:lnTo>
                  <a:lnTo>
                    <a:pt x="0" y="84"/>
                  </a:lnTo>
                  <a:lnTo>
                    <a:pt x="0" y="86"/>
                  </a:lnTo>
                  <a:lnTo>
                    <a:pt x="0" y="86"/>
                  </a:lnTo>
                  <a:lnTo>
                    <a:pt x="4" y="90"/>
                  </a:lnTo>
                  <a:lnTo>
                    <a:pt x="12" y="90"/>
                  </a:lnTo>
                  <a:lnTo>
                    <a:pt x="22" y="92"/>
                  </a:lnTo>
                  <a:lnTo>
                    <a:pt x="34" y="96"/>
                  </a:lnTo>
                  <a:lnTo>
                    <a:pt x="34" y="96"/>
                  </a:lnTo>
                  <a:lnTo>
                    <a:pt x="46" y="100"/>
                  </a:lnTo>
                  <a:lnTo>
                    <a:pt x="54" y="102"/>
                  </a:lnTo>
                  <a:lnTo>
                    <a:pt x="64" y="100"/>
                  </a:lnTo>
                  <a:lnTo>
                    <a:pt x="72" y="92"/>
                  </a:lnTo>
                  <a:lnTo>
                    <a:pt x="72" y="92"/>
                  </a:lnTo>
                  <a:lnTo>
                    <a:pt x="82" y="84"/>
                  </a:lnTo>
                  <a:lnTo>
                    <a:pt x="90" y="76"/>
                  </a:lnTo>
                  <a:lnTo>
                    <a:pt x="92" y="76"/>
                  </a:lnTo>
                  <a:lnTo>
                    <a:pt x="94" y="76"/>
                  </a:lnTo>
                  <a:lnTo>
                    <a:pt x="96" y="78"/>
                  </a:lnTo>
                  <a:lnTo>
                    <a:pt x="94" y="84"/>
                  </a:lnTo>
                  <a:lnTo>
                    <a:pt x="94" y="84"/>
                  </a:lnTo>
                  <a:lnTo>
                    <a:pt x="92" y="90"/>
                  </a:lnTo>
                  <a:lnTo>
                    <a:pt x="94" y="92"/>
                  </a:lnTo>
                  <a:lnTo>
                    <a:pt x="98" y="94"/>
                  </a:lnTo>
                  <a:lnTo>
                    <a:pt x="106" y="94"/>
                  </a:lnTo>
                  <a:lnTo>
                    <a:pt x="124" y="90"/>
                  </a:lnTo>
                  <a:lnTo>
                    <a:pt x="146" y="88"/>
                  </a:lnTo>
                  <a:lnTo>
                    <a:pt x="146" y="88"/>
                  </a:lnTo>
                  <a:lnTo>
                    <a:pt x="154" y="88"/>
                  </a:lnTo>
                  <a:lnTo>
                    <a:pt x="158" y="90"/>
                  </a:lnTo>
                  <a:lnTo>
                    <a:pt x="156" y="94"/>
                  </a:lnTo>
                  <a:lnTo>
                    <a:pt x="150" y="98"/>
                  </a:lnTo>
                  <a:lnTo>
                    <a:pt x="130" y="104"/>
                  </a:lnTo>
                  <a:lnTo>
                    <a:pt x="118" y="108"/>
                  </a:lnTo>
                  <a:lnTo>
                    <a:pt x="106" y="110"/>
                  </a:lnTo>
                  <a:lnTo>
                    <a:pt x="106" y="110"/>
                  </a:lnTo>
                  <a:lnTo>
                    <a:pt x="96" y="112"/>
                  </a:lnTo>
                  <a:lnTo>
                    <a:pt x="88" y="114"/>
                  </a:lnTo>
                  <a:lnTo>
                    <a:pt x="84" y="116"/>
                  </a:lnTo>
                  <a:lnTo>
                    <a:pt x="82" y="120"/>
                  </a:lnTo>
                  <a:lnTo>
                    <a:pt x="84" y="124"/>
                  </a:lnTo>
                  <a:lnTo>
                    <a:pt x="88" y="128"/>
                  </a:lnTo>
                  <a:lnTo>
                    <a:pt x="96" y="132"/>
                  </a:lnTo>
                  <a:lnTo>
                    <a:pt x="104" y="134"/>
                  </a:lnTo>
                  <a:lnTo>
                    <a:pt x="104" y="134"/>
                  </a:lnTo>
                  <a:lnTo>
                    <a:pt x="116" y="136"/>
                  </a:lnTo>
                  <a:lnTo>
                    <a:pt x="130" y="134"/>
                  </a:lnTo>
                  <a:lnTo>
                    <a:pt x="144" y="132"/>
                  </a:lnTo>
                  <a:lnTo>
                    <a:pt x="158" y="128"/>
                  </a:lnTo>
                  <a:lnTo>
                    <a:pt x="184" y="116"/>
                  </a:lnTo>
                  <a:lnTo>
                    <a:pt x="194" y="110"/>
                  </a:lnTo>
                  <a:lnTo>
                    <a:pt x="202" y="104"/>
                  </a:lnTo>
                  <a:lnTo>
                    <a:pt x="202" y="104"/>
                  </a:lnTo>
                  <a:lnTo>
                    <a:pt x="206" y="102"/>
                  </a:lnTo>
                  <a:lnTo>
                    <a:pt x="212" y="100"/>
                  </a:lnTo>
                  <a:lnTo>
                    <a:pt x="220" y="102"/>
                  </a:lnTo>
                  <a:lnTo>
                    <a:pt x="230" y="104"/>
                  </a:lnTo>
                  <a:lnTo>
                    <a:pt x="236" y="104"/>
                  </a:lnTo>
                  <a:lnTo>
                    <a:pt x="240" y="102"/>
                  </a:lnTo>
                  <a:lnTo>
                    <a:pt x="240" y="102"/>
                  </a:lnTo>
                  <a:lnTo>
                    <a:pt x="246" y="100"/>
                  </a:lnTo>
                  <a:lnTo>
                    <a:pt x="252" y="98"/>
                  </a:lnTo>
                  <a:lnTo>
                    <a:pt x="268" y="98"/>
                  </a:lnTo>
                  <a:lnTo>
                    <a:pt x="284" y="100"/>
                  </a:lnTo>
                  <a:lnTo>
                    <a:pt x="302" y="98"/>
                  </a:lnTo>
                  <a:lnTo>
                    <a:pt x="302" y="98"/>
                  </a:lnTo>
                  <a:lnTo>
                    <a:pt x="310" y="96"/>
                  </a:lnTo>
                  <a:lnTo>
                    <a:pt x="316" y="88"/>
                  </a:lnTo>
                  <a:lnTo>
                    <a:pt x="320" y="80"/>
                  </a:lnTo>
                  <a:lnTo>
                    <a:pt x="322" y="72"/>
                  </a:lnTo>
                  <a:lnTo>
                    <a:pt x="322" y="62"/>
                  </a:lnTo>
                  <a:lnTo>
                    <a:pt x="320" y="54"/>
                  </a:lnTo>
                  <a:lnTo>
                    <a:pt x="316" y="48"/>
                  </a:lnTo>
                  <a:lnTo>
                    <a:pt x="312" y="42"/>
                  </a:lnTo>
                  <a:lnTo>
                    <a:pt x="312" y="42"/>
                  </a:lnTo>
                  <a:lnTo>
                    <a:pt x="306" y="42"/>
                  </a:lnTo>
                  <a:lnTo>
                    <a:pt x="302" y="42"/>
                  </a:lnTo>
                  <a:lnTo>
                    <a:pt x="298" y="42"/>
                  </a:lnTo>
                  <a:lnTo>
                    <a:pt x="294" y="44"/>
                  </a:lnTo>
                  <a:lnTo>
                    <a:pt x="290" y="50"/>
                  </a:lnTo>
                  <a:lnTo>
                    <a:pt x="286" y="52"/>
                  </a:lnTo>
                  <a:lnTo>
                    <a:pt x="282" y="54"/>
                  </a:lnTo>
                  <a:lnTo>
                    <a:pt x="282" y="54"/>
                  </a:lnTo>
                  <a:lnTo>
                    <a:pt x="276" y="54"/>
                  </a:lnTo>
                  <a:lnTo>
                    <a:pt x="272" y="52"/>
                  </a:lnTo>
                  <a:lnTo>
                    <a:pt x="264" y="46"/>
                  </a:lnTo>
                  <a:lnTo>
                    <a:pt x="250" y="28"/>
                  </a:lnTo>
                  <a:lnTo>
                    <a:pt x="250" y="28"/>
                  </a:lnTo>
                  <a:lnTo>
                    <a:pt x="246" y="24"/>
                  </a:lnTo>
                  <a:lnTo>
                    <a:pt x="244" y="20"/>
                  </a:lnTo>
                  <a:lnTo>
                    <a:pt x="242" y="8"/>
                  </a:lnTo>
                  <a:lnTo>
                    <a:pt x="240" y="4"/>
                  </a:lnTo>
                  <a:lnTo>
                    <a:pt x="238" y="2"/>
                  </a:lnTo>
                  <a:lnTo>
                    <a:pt x="236" y="0"/>
                  </a:lnTo>
                  <a:lnTo>
                    <a:pt x="230" y="0"/>
                  </a:lnTo>
                  <a:lnTo>
                    <a:pt x="230" y="0"/>
                  </a:lnTo>
                  <a:lnTo>
                    <a:pt x="224" y="2"/>
                  </a:lnTo>
                  <a:lnTo>
                    <a:pt x="216" y="4"/>
                  </a:lnTo>
                  <a:lnTo>
                    <a:pt x="202" y="14"/>
                  </a:lnTo>
                  <a:lnTo>
                    <a:pt x="198" y="20"/>
                  </a:lnTo>
                  <a:lnTo>
                    <a:pt x="196" y="24"/>
                  </a:lnTo>
                  <a:lnTo>
                    <a:pt x="196" y="28"/>
                  </a:lnTo>
                  <a:lnTo>
                    <a:pt x="202" y="30"/>
                  </a:lnTo>
                  <a:lnTo>
                    <a:pt x="202" y="30"/>
                  </a:lnTo>
                  <a:lnTo>
                    <a:pt x="208" y="30"/>
                  </a:lnTo>
                  <a:lnTo>
                    <a:pt x="212" y="32"/>
                  </a:lnTo>
                  <a:lnTo>
                    <a:pt x="214" y="36"/>
                  </a:lnTo>
                  <a:lnTo>
                    <a:pt x="214" y="38"/>
                  </a:lnTo>
                  <a:lnTo>
                    <a:pt x="210" y="44"/>
                  </a:lnTo>
                  <a:lnTo>
                    <a:pt x="204" y="48"/>
                  </a:lnTo>
                  <a:lnTo>
                    <a:pt x="204" y="48"/>
                  </a:lnTo>
                  <a:lnTo>
                    <a:pt x="202" y="50"/>
                  </a:lnTo>
                  <a:lnTo>
                    <a:pt x="204" y="52"/>
                  </a:lnTo>
                  <a:lnTo>
                    <a:pt x="212" y="58"/>
                  </a:lnTo>
                  <a:lnTo>
                    <a:pt x="222" y="62"/>
                  </a:lnTo>
                  <a:lnTo>
                    <a:pt x="224" y="66"/>
                  </a:lnTo>
                  <a:lnTo>
                    <a:pt x="224" y="68"/>
                  </a:lnTo>
                  <a:lnTo>
                    <a:pt x="224" y="68"/>
                  </a:lnTo>
                  <a:lnTo>
                    <a:pt x="220" y="70"/>
                  </a:lnTo>
                  <a:lnTo>
                    <a:pt x="212" y="72"/>
                  </a:lnTo>
                  <a:lnTo>
                    <a:pt x="192" y="70"/>
                  </a:lnTo>
                  <a:lnTo>
                    <a:pt x="172" y="66"/>
                  </a:lnTo>
                  <a:lnTo>
                    <a:pt x="164" y="62"/>
                  </a:lnTo>
                  <a:lnTo>
                    <a:pt x="162" y="58"/>
                  </a:lnTo>
                  <a:lnTo>
                    <a:pt x="162" y="58"/>
                  </a:lnTo>
                  <a:lnTo>
                    <a:pt x="158" y="52"/>
                  </a:lnTo>
                  <a:lnTo>
                    <a:pt x="152" y="48"/>
                  </a:lnTo>
                  <a:lnTo>
                    <a:pt x="136" y="36"/>
                  </a:lnTo>
                  <a:lnTo>
                    <a:pt x="114" y="30"/>
                  </a:lnTo>
                  <a:lnTo>
                    <a:pt x="106" y="28"/>
                  </a:lnTo>
                  <a:lnTo>
                    <a:pt x="98" y="28"/>
                  </a:lnTo>
                  <a:lnTo>
                    <a:pt x="98" y="28"/>
                  </a:lnTo>
                  <a:lnTo>
                    <a:pt x="92" y="30"/>
                  </a:lnTo>
                  <a:lnTo>
                    <a:pt x="88" y="28"/>
                  </a:lnTo>
                  <a:lnTo>
                    <a:pt x="86" y="26"/>
                  </a:lnTo>
                  <a:lnTo>
                    <a:pt x="82" y="22"/>
                  </a:lnTo>
                  <a:lnTo>
                    <a:pt x="78" y="16"/>
                  </a:lnTo>
                  <a:lnTo>
                    <a:pt x="74" y="14"/>
                  </a:lnTo>
                  <a:lnTo>
                    <a:pt x="68" y="12"/>
                  </a:lnTo>
                  <a:lnTo>
                    <a:pt x="68" y="12"/>
                  </a:lnTo>
                  <a:lnTo>
                    <a:pt x="62" y="14"/>
                  </a:lnTo>
                  <a:lnTo>
                    <a:pt x="58" y="14"/>
                  </a:lnTo>
                  <a:lnTo>
                    <a:pt x="54" y="20"/>
                  </a:lnTo>
                  <a:lnTo>
                    <a:pt x="48" y="26"/>
                  </a:lnTo>
                  <a:lnTo>
                    <a:pt x="44" y="28"/>
                  </a:lnTo>
                  <a:lnTo>
                    <a:pt x="40" y="30"/>
                  </a:lnTo>
                  <a:lnTo>
                    <a:pt x="40" y="3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4" name="Freeform 21"/>
            <p:cNvSpPr>
              <a:spLocks/>
            </p:cNvSpPr>
            <p:nvPr/>
          </p:nvSpPr>
          <p:spPr bwMode="auto">
            <a:xfrm>
              <a:off x="574675" y="3213100"/>
              <a:ext cx="117475" cy="111125"/>
            </a:xfrm>
            <a:custGeom>
              <a:avLst/>
              <a:gdLst>
                <a:gd name="T0" fmla="*/ 66 w 74"/>
                <a:gd name="T1" fmla="*/ 4 h 70"/>
                <a:gd name="T2" fmla="*/ 66 w 74"/>
                <a:gd name="T3" fmla="*/ 4 h 70"/>
                <a:gd name="T4" fmla="*/ 64 w 74"/>
                <a:gd name="T5" fmla="*/ 0 h 70"/>
                <a:gd name="T6" fmla="*/ 60 w 74"/>
                <a:gd name="T7" fmla="*/ 0 h 70"/>
                <a:gd name="T8" fmla="*/ 54 w 74"/>
                <a:gd name="T9" fmla="*/ 4 h 70"/>
                <a:gd name="T10" fmla="*/ 44 w 74"/>
                <a:gd name="T11" fmla="*/ 12 h 70"/>
                <a:gd name="T12" fmla="*/ 44 w 74"/>
                <a:gd name="T13" fmla="*/ 12 h 70"/>
                <a:gd name="T14" fmla="*/ 28 w 74"/>
                <a:gd name="T15" fmla="*/ 28 h 70"/>
                <a:gd name="T16" fmla="*/ 24 w 74"/>
                <a:gd name="T17" fmla="*/ 34 h 70"/>
                <a:gd name="T18" fmla="*/ 20 w 74"/>
                <a:gd name="T19" fmla="*/ 40 h 70"/>
                <a:gd name="T20" fmla="*/ 20 w 74"/>
                <a:gd name="T21" fmla="*/ 40 h 70"/>
                <a:gd name="T22" fmla="*/ 20 w 74"/>
                <a:gd name="T23" fmla="*/ 42 h 70"/>
                <a:gd name="T24" fmla="*/ 18 w 74"/>
                <a:gd name="T25" fmla="*/ 42 h 70"/>
                <a:gd name="T26" fmla="*/ 12 w 74"/>
                <a:gd name="T27" fmla="*/ 42 h 70"/>
                <a:gd name="T28" fmla="*/ 6 w 74"/>
                <a:gd name="T29" fmla="*/ 44 h 70"/>
                <a:gd name="T30" fmla="*/ 2 w 74"/>
                <a:gd name="T31" fmla="*/ 44 h 70"/>
                <a:gd name="T32" fmla="*/ 0 w 74"/>
                <a:gd name="T33" fmla="*/ 46 h 70"/>
                <a:gd name="T34" fmla="*/ 0 w 74"/>
                <a:gd name="T35" fmla="*/ 46 h 70"/>
                <a:gd name="T36" fmla="*/ 0 w 74"/>
                <a:gd name="T37" fmla="*/ 54 h 70"/>
                <a:gd name="T38" fmla="*/ 2 w 74"/>
                <a:gd name="T39" fmla="*/ 62 h 70"/>
                <a:gd name="T40" fmla="*/ 6 w 74"/>
                <a:gd name="T41" fmla="*/ 68 h 70"/>
                <a:gd name="T42" fmla="*/ 8 w 74"/>
                <a:gd name="T43" fmla="*/ 70 h 70"/>
                <a:gd name="T44" fmla="*/ 12 w 74"/>
                <a:gd name="T45" fmla="*/ 68 h 70"/>
                <a:gd name="T46" fmla="*/ 12 w 74"/>
                <a:gd name="T47" fmla="*/ 68 h 70"/>
                <a:gd name="T48" fmla="*/ 18 w 74"/>
                <a:gd name="T49" fmla="*/ 66 h 70"/>
                <a:gd name="T50" fmla="*/ 20 w 74"/>
                <a:gd name="T51" fmla="*/ 66 h 70"/>
                <a:gd name="T52" fmla="*/ 24 w 74"/>
                <a:gd name="T53" fmla="*/ 68 h 70"/>
                <a:gd name="T54" fmla="*/ 26 w 74"/>
                <a:gd name="T55" fmla="*/ 68 h 70"/>
                <a:gd name="T56" fmla="*/ 26 w 74"/>
                <a:gd name="T57" fmla="*/ 68 h 70"/>
                <a:gd name="T58" fmla="*/ 34 w 74"/>
                <a:gd name="T59" fmla="*/ 66 h 70"/>
                <a:gd name="T60" fmla="*/ 44 w 74"/>
                <a:gd name="T61" fmla="*/ 58 h 70"/>
                <a:gd name="T62" fmla="*/ 56 w 74"/>
                <a:gd name="T63" fmla="*/ 50 h 70"/>
                <a:gd name="T64" fmla="*/ 62 w 74"/>
                <a:gd name="T65" fmla="*/ 42 h 70"/>
                <a:gd name="T66" fmla="*/ 62 w 74"/>
                <a:gd name="T67" fmla="*/ 42 h 70"/>
                <a:gd name="T68" fmla="*/ 64 w 74"/>
                <a:gd name="T69" fmla="*/ 40 h 70"/>
                <a:gd name="T70" fmla="*/ 64 w 74"/>
                <a:gd name="T71" fmla="*/ 38 h 70"/>
                <a:gd name="T72" fmla="*/ 60 w 74"/>
                <a:gd name="T73" fmla="*/ 34 h 70"/>
                <a:gd name="T74" fmla="*/ 54 w 74"/>
                <a:gd name="T75" fmla="*/ 30 h 70"/>
                <a:gd name="T76" fmla="*/ 52 w 74"/>
                <a:gd name="T77" fmla="*/ 26 h 70"/>
                <a:gd name="T78" fmla="*/ 52 w 74"/>
                <a:gd name="T79" fmla="*/ 26 h 70"/>
                <a:gd name="T80" fmla="*/ 52 w 74"/>
                <a:gd name="T81" fmla="*/ 24 h 70"/>
                <a:gd name="T82" fmla="*/ 54 w 74"/>
                <a:gd name="T83" fmla="*/ 24 h 70"/>
                <a:gd name="T84" fmla="*/ 58 w 74"/>
                <a:gd name="T85" fmla="*/ 22 h 70"/>
                <a:gd name="T86" fmla="*/ 72 w 74"/>
                <a:gd name="T87" fmla="*/ 18 h 70"/>
                <a:gd name="T88" fmla="*/ 72 w 74"/>
                <a:gd name="T89" fmla="*/ 18 h 70"/>
                <a:gd name="T90" fmla="*/ 72 w 74"/>
                <a:gd name="T91" fmla="*/ 16 h 70"/>
                <a:gd name="T92" fmla="*/ 74 w 74"/>
                <a:gd name="T93" fmla="*/ 14 h 70"/>
                <a:gd name="T94" fmla="*/ 70 w 74"/>
                <a:gd name="T95" fmla="*/ 12 h 70"/>
                <a:gd name="T96" fmla="*/ 68 w 74"/>
                <a:gd name="T97" fmla="*/ 8 h 70"/>
                <a:gd name="T98" fmla="*/ 66 w 74"/>
                <a:gd name="T99" fmla="*/ 4 h 70"/>
                <a:gd name="T100" fmla="*/ 66 w 74"/>
                <a:gd name="T101"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 h="70">
                  <a:moveTo>
                    <a:pt x="66" y="4"/>
                  </a:moveTo>
                  <a:lnTo>
                    <a:pt x="66" y="4"/>
                  </a:lnTo>
                  <a:lnTo>
                    <a:pt x="64" y="0"/>
                  </a:lnTo>
                  <a:lnTo>
                    <a:pt x="60" y="0"/>
                  </a:lnTo>
                  <a:lnTo>
                    <a:pt x="54" y="4"/>
                  </a:lnTo>
                  <a:lnTo>
                    <a:pt x="44" y="12"/>
                  </a:lnTo>
                  <a:lnTo>
                    <a:pt x="44" y="12"/>
                  </a:lnTo>
                  <a:lnTo>
                    <a:pt x="28" y="28"/>
                  </a:lnTo>
                  <a:lnTo>
                    <a:pt x="24" y="34"/>
                  </a:lnTo>
                  <a:lnTo>
                    <a:pt x="20" y="40"/>
                  </a:lnTo>
                  <a:lnTo>
                    <a:pt x="20" y="40"/>
                  </a:lnTo>
                  <a:lnTo>
                    <a:pt x="20" y="42"/>
                  </a:lnTo>
                  <a:lnTo>
                    <a:pt x="18" y="42"/>
                  </a:lnTo>
                  <a:lnTo>
                    <a:pt x="12" y="42"/>
                  </a:lnTo>
                  <a:lnTo>
                    <a:pt x="6" y="44"/>
                  </a:lnTo>
                  <a:lnTo>
                    <a:pt x="2" y="44"/>
                  </a:lnTo>
                  <a:lnTo>
                    <a:pt x="0" y="46"/>
                  </a:lnTo>
                  <a:lnTo>
                    <a:pt x="0" y="46"/>
                  </a:lnTo>
                  <a:lnTo>
                    <a:pt x="0" y="54"/>
                  </a:lnTo>
                  <a:lnTo>
                    <a:pt x="2" y="62"/>
                  </a:lnTo>
                  <a:lnTo>
                    <a:pt x="6" y="68"/>
                  </a:lnTo>
                  <a:lnTo>
                    <a:pt x="8" y="70"/>
                  </a:lnTo>
                  <a:lnTo>
                    <a:pt x="12" y="68"/>
                  </a:lnTo>
                  <a:lnTo>
                    <a:pt x="12" y="68"/>
                  </a:lnTo>
                  <a:lnTo>
                    <a:pt x="18" y="66"/>
                  </a:lnTo>
                  <a:lnTo>
                    <a:pt x="20" y="66"/>
                  </a:lnTo>
                  <a:lnTo>
                    <a:pt x="24" y="68"/>
                  </a:lnTo>
                  <a:lnTo>
                    <a:pt x="26" y="68"/>
                  </a:lnTo>
                  <a:lnTo>
                    <a:pt x="26" y="68"/>
                  </a:lnTo>
                  <a:lnTo>
                    <a:pt x="34" y="66"/>
                  </a:lnTo>
                  <a:lnTo>
                    <a:pt x="44" y="58"/>
                  </a:lnTo>
                  <a:lnTo>
                    <a:pt x="56" y="50"/>
                  </a:lnTo>
                  <a:lnTo>
                    <a:pt x="62" y="42"/>
                  </a:lnTo>
                  <a:lnTo>
                    <a:pt x="62" y="42"/>
                  </a:lnTo>
                  <a:lnTo>
                    <a:pt x="64" y="40"/>
                  </a:lnTo>
                  <a:lnTo>
                    <a:pt x="64" y="38"/>
                  </a:lnTo>
                  <a:lnTo>
                    <a:pt x="60" y="34"/>
                  </a:lnTo>
                  <a:lnTo>
                    <a:pt x="54" y="30"/>
                  </a:lnTo>
                  <a:lnTo>
                    <a:pt x="52" y="26"/>
                  </a:lnTo>
                  <a:lnTo>
                    <a:pt x="52" y="26"/>
                  </a:lnTo>
                  <a:lnTo>
                    <a:pt x="52" y="24"/>
                  </a:lnTo>
                  <a:lnTo>
                    <a:pt x="54" y="24"/>
                  </a:lnTo>
                  <a:lnTo>
                    <a:pt x="58" y="22"/>
                  </a:lnTo>
                  <a:lnTo>
                    <a:pt x="72" y="18"/>
                  </a:lnTo>
                  <a:lnTo>
                    <a:pt x="72" y="18"/>
                  </a:lnTo>
                  <a:lnTo>
                    <a:pt x="72" y="16"/>
                  </a:lnTo>
                  <a:lnTo>
                    <a:pt x="74" y="14"/>
                  </a:lnTo>
                  <a:lnTo>
                    <a:pt x="70" y="12"/>
                  </a:lnTo>
                  <a:lnTo>
                    <a:pt x="68" y="8"/>
                  </a:lnTo>
                  <a:lnTo>
                    <a:pt x="66" y="4"/>
                  </a:lnTo>
                  <a:lnTo>
                    <a:pt x="66"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5" name="Freeform 22"/>
            <p:cNvSpPr>
              <a:spLocks/>
            </p:cNvSpPr>
            <p:nvPr/>
          </p:nvSpPr>
          <p:spPr bwMode="auto">
            <a:xfrm>
              <a:off x="130175" y="3444875"/>
              <a:ext cx="69850" cy="28575"/>
            </a:xfrm>
            <a:custGeom>
              <a:avLst/>
              <a:gdLst>
                <a:gd name="T0" fmla="*/ 40 w 44"/>
                <a:gd name="T1" fmla="*/ 0 h 18"/>
                <a:gd name="T2" fmla="*/ 40 w 44"/>
                <a:gd name="T3" fmla="*/ 0 h 18"/>
                <a:gd name="T4" fmla="*/ 34 w 44"/>
                <a:gd name="T5" fmla="*/ 0 h 18"/>
                <a:gd name="T6" fmla="*/ 26 w 44"/>
                <a:gd name="T7" fmla="*/ 0 h 18"/>
                <a:gd name="T8" fmla="*/ 12 w 44"/>
                <a:gd name="T9" fmla="*/ 6 h 18"/>
                <a:gd name="T10" fmla="*/ 2 w 44"/>
                <a:gd name="T11" fmla="*/ 14 h 18"/>
                <a:gd name="T12" fmla="*/ 0 w 44"/>
                <a:gd name="T13" fmla="*/ 16 h 18"/>
                <a:gd name="T14" fmla="*/ 4 w 44"/>
                <a:gd name="T15" fmla="*/ 18 h 18"/>
                <a:gd name="T16" fmla="*/ 4 w 44"/>
                <a:gd name="T17" fmla="*/ 18 h 18"/>
                <a:gd name="T18" fmla="*/ 8 w 44"/>
                <a:gd name="T19" fmla="*/ 18 h 18"/>
                <a:gd name="T20" fmla="*/ 14 w 44"/>
                <a:gd name="T21" fmla="*/ 16 h 18"/>
                <a:gd name="T22" fmla="*/ 18 w 44"/>
                <a:gd name="T23" fmla="*/ 12 h 18"/>
                <a:gd name="T24" fmla="*/ 24 w 44"/>
                <a:gd name="T25" fmla="*/ 10 h 18"/>
                <a:gd name="T26" fmla="*/ 24 w 44"/>
                <a:gd name="T27" fmla="*/ 10 h 18"/>
                <a:gd name="T28" fmla="*/ 34 w 44"/>
                <a:gd name="T29" fmla="*/ 10 h 18"/>
                <a:gd name="T30" fmla="*/ 40 w 44"/>
                <a:gd name="T31" fmla="*/ 8 h 18"/>
                <a:gd name="T32" fmla="*/ 44 w 44"/>
                <a:gd name="T33" fmla="*/ 6 h 18"/>
                <a:gd name="T34" fmla="*/ 44 w 44"/>
                <a:gd name="T35" fmla="*/ 4 h 18"/>
                <a:gd name="T36" fmla="*/ 44 w 44"/>
                <a:gd name="T37" fmla="*/ 2 h 18"/>
                <a:gd name="T38" fmla="*/ 40 w 44"/>
                <a:gd name="T39" fmla="*/ 0 h 18"/>
                <a:gd name="T40" fmla="*/ 40 w 44"/>
                <a:gd name="T4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18">
                  <a:moveTo>
                    <a:pt x="40" y="0"/>
                  </a:moveTo>
                  <a:lnTo>
                    <a:pt x="40" y="0"/>
                  </a:lnTo>
                  <a:lnTo>
                    <a:pt x="34" y="0"/>
                  </a:lnTo>
                  <a:lnTo>
                    <a:pt x="26" y="0"/>
                  </a:lnTo>
                  <a:lnTo>
                    <a:pt x="12" y="6"/>
                  </a:lnTo>
                  <a:lnTo>
                    <a:pt x="2" y="14"/>
                  </a:lnTo>
                  <a:lnTo>
                    <a:pt x="0" y="16"/>
                  </a:lnTo>
                  <a:lnTo>
                    <a:pt x="4" y="18"/>
                  </a:lnTo>
                  <a:lnTo>
                    <a:pt x="4" y="18"/>
                  </a:lnTo>
                  <a:lnTo>
                    <a:pt x="8" y="18"/>
                  </a:lnTo>
                  <a:lnTo>
                    <a:pt x="14" y="16"/>
                  </a:lnTo>
                  <a:lnTo>
                    <a:pt x="18" y="12"/>
                  </a:lnTo>
                  <a:lnTo>
                    <a:pt x="24" y="10"/>
                  </a:lnTo>
                  <a:lnTo>
                    <a:pt x="24" y="10"/>
                  </a:lnTo>
                  <a:lnTo>
                    <a:pt x="34" y="10"/>
                  </a:lnTo>
                  <a:lnTo>
                    <a:pt x="40" y="8"/>
                  </a:lnTo>
                  <a:lnTo>
                    <a:pt x="44" y="6"/>
                  </a:lnTo>
                  <a:lnTo>
                    <a:pt x="44" y="4"/>
                  </a:lnTo>
                  <a:lnTo>
                    <a:pt x="44" y="2"/>
                  </a:lnTo>
                  <a:lnTo>
                    <a:pt x="40" y="0"/>
                  </a:lnTo>
                  <a:lnTo>
                    <a:pt x="40" y="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6" name="Freeform 23"/>
            <p:cNvSpPr>
              <a:spLocks/>
            </p:cNvSpPr>
            <p:nvPr/>
          </p:nvSpPr>
          <p:spPr bwMode="auto">
            <a:xfrm>
              <a:off x="1968500" y="1758950"/>
              <a:ext cx="320675" cy="161925"/>
            </a:xfrm>
            <a:custGeom>
              <a:avLst/>
              <a:gdLst>
                <a:gd name="T0" fmla="*/ 0 w 202"/>
                <a:gd name="T1" fmla="*/ 82 h 102"/>
                <a:gd name="T2" fmla="*/ 4 w 202"/>
                <a:gd name="T3" fmla="*/ 86 h 102"/>
                <a:gd name="T4" fmla="*/ 6 w 202"/>
                <a:gd name="T5" fmla="*/ 98 h 102"/>
                <a:gd name="T6" fmla="*/ 10 w 202"/>
                <a:gd name="T7" fmla="*/ 98 h 102"/>
                <a:gd name="T8" fmla="*/ 22 w 202"/>
                <a:gd name="T9" fmla="*/ 92 h 102"/>
                <a:gd name="T10" fmla="*/ 30 w 202"/>
                <a:gd name="T11" fmla="*/ 94 h 102"/>
                <a:gd name="T12" fmla="*/ 34 w 202"/>
                <a:gd name="T13" fmla="*/ 94 h 102"/>
                <a:gd name="T14" fmla="*/ 44 w 202"/>
                <a:gd name="T15" fmla="*/ 92 h 102"/>
                <a:gd name="T16" fmla="*/ 52 w 202"/>
                <a:gd name="T17" fmla="*/ 80 h 102"/>
                <a:gd name="T18" fmla="*/ 54 w 202"/>
                <a:gd name="T19" fmla="*/ 82 h 102"/>
                <a:gd name="T20" fmla="*/ 62 w 202"/>
                <a:gd name="T21" fmla="*/ 98 h 102"/>
                <a:gd name="T22" fmla="*/ 70 w 202"/>
                <a:gd name="T23" fmla="*/ 102 h 102"/>
                <a:gd name="T24" fmla="*/ 76 w 202"/>
                <a:gd name="T25" fmla="*/ 102 h 102"/>
                <a:gd name="T26" fmla="*/ 82 w 202"/>
                <a:gd name="T27" fmla="*/ 88 h 102"/>
                <a:gd name="T28" fmla="*/ 90 w 202"/>
                <a:gd name="T29" fmla="*/ 80 h 102"/>
                <a:gd name="T30" fmla="*/ 94 w 202"/>
                <a:gd name="T31" fmla="*/ 82 h 102"/>
                <a:gd name="T32" fmla="*/ 102 w 202"/>
                <a:gd name="T33" fmla="*/ 84 h 102"/>
                <a:gd name="T34" fmla="*/ 106 w 202"/>
                <a:gd name="T35" fmla="*/ 82 h 102"/>
                <a:gd name="T36" fmla="*/ 112 w 202"/>
                <a:gd name="T37" fmla="*/ 70 h 102"/>
                <a:gd name="T38" fmla="*/ 116 w 202"/>
                <a:gd name="T39" fmla="*/ 54 h 102"/>
                <a:gd name="T40" fmla="*/ 124 w 202"/>
                <a:gd name="T41" fmla="*/ 46 h 102"/>
                <a:gd name="T42" fmla="*/ 128 w 202"/>
                <a:gd name="T43" fmla="*/ 44 h 102"/>
                <a:gd name="T44" fmla="*/ 134 w 202"/>
                <a:gd name="T45" fmla="*/ 46 h 102"/>
                <a:gd name="T46" fmla="*/ 134 w 202"/>
                <a:gd name="T47" fmla="*/ 60 h 102"/>
                <a:gd name="T48" fmla="*/ 136 w 202"/>
                <a:gd name="T49" fmla="*/ 68 h 102"/>
                <a:gd name="T50" fmla="*/ 140 w 202"/>
                <a:gd name="T51" fmla="*/ 74 h 102"/>
                <a:gd name="T52" fmla="*/ 148 w 202"/>
                <a:gd name="T53" fmla="*/ 76 h 102"/>
                <a:gd name="T54" fmla="*/ 158 w 202"/>
                <a:gd name="T55" fmla="*/ 68 h 102"/>
                <a:gd name="T56" fmla="*/ 162 w 202"/>
                <a:gd name="T57" fmla="*/ 62 h 102"/>
                <a:gd name="T58" fmla="*/ 166 w 202"/>
                <a:gd name="T59" fmla="*/ 58 h 102"/>
                <a:gd name="T60" fmla="*/ 180 w 202"/>
                <a:gd name="T61" fmla="*/ 56 h 102"/>
                <a:gd name="T62" fmla="*/ 184 w 202"/>
                <a:gd name="T63" fmla="*/ 52 h 102"/>
                <a:gd name="T64" fmla="*/ 184 w 202"/>
                <a:gd name="T65" fmla="*/ 46 h 102"/>
                <a:gd name="T66" fmla="*/ 186 w 202"/>
                <a:gd name="T67" fmla="*/ 38 h 102"/>
                <a:gd name="T68" fmla="*/ 184 w 202"/>
                <a:gd name="T69" fmla="*/ 30 h 102"/>
                <a:gd name="T70" fmla="*/ 182 w 202"/>
                <a:gd name="T71" fmla="*/ 26 h 102"/>
                <a:gd name="T72" fmla="*/ 194 w 202"/>
                <a:gd name="T73" fmla="*/ 20 h 102"/>
                <a:gd name="T74" fmla="*/ 200 w 202"/>
                <a:gd name="T75" fmla="*/ 16 h 102"/>
                <a:gd name="T76" fmla="*/ 202 w 202"/>
                <a:gd name="T77" fmla="*/ 14 h 102"/>
                <a:gd name="T78" fmla="*/ 188 w 202"/>
                <a:gd name="T79" fmla="*/ 10 h 102"/>
                <a:gd name="T80" fmla="*/ 178 w 202"/>
                <a:gd name="T81" fmla="*/ 4 h 102"/>
                <a:gd name="T82" fmla="*/ 174 w 202"/>
                <a:gd name="T83" fmla="*/ 2 h 102"/>
                <a:gd name="T84" fmla="*/ 168 w 202"/>
                <a:gd name="T85" fmla="*/ 2 h 102"/>
                <a:gd name="T86" fmla="*/ 162 w 202"/>
                <a:gd name="T87" fmla="*/ 8 h 102"/>
                <a:gd name="T88" fmla="*/ 162 w 202"/>
                <a:gd name="T89" fmla="*/ 16 h 102"/>
                <a:gd name="T90" fmla="*/ 158 w 202"/>
                <a:gd name="T91" fmla="*/ 18 h 102"/>
                <a:gd name="T92" fmla="*/ 126 w 202"/>
                <a:gd name="T93" fmla="*/ 12 h 102"/>
                <a:gd name="T94" fmla="*/ 120 w 202"/>
                <a:gd name="T95" fmla="*/ 10 h 102"/>
                <a:gd name="T96" fmla="*/ 102 w 202"/>
                <a:gd name="T97" fmla="*/ 18 h 102"/>
                <a:gd name="T98" fmla="*/ 76 w 202"/>
                <a:gd name="T99" fmla="*/ 38 h 102"/>
                <a:gd name="T100" fmla="*/ 70 w 202"/>
                <a:gd name="T101" fmla="*/ 40 h 102"/>
                <a:gd name="T102" fmla="*/ 56 w 202"/>
                <a:gd name="T103" fmla="*/ 54 h 102"/>
                <a:gd name="T104" fmla="*/ 44 w 202"/>
                <a:gd name="T105" fmla="*/ 62 h 102"/>
                <a:gd name="T106" fmla="*/ 38 w 202"/>
                <a:gd name="T107" fmla="*/ 62 h 102"/>
                <a:gd name="T108" fmla="*/ 22 w 202"/>
                <a:gd name="T109" fmla="*/ 64 h 102"/>
                <a:gd name="T110" fmla="*/ 0 w 202"/>
                <a:gd name="T111" fmla="*/ 78 h 102"/>
                <a:gd name="T112" fmla="*/ 0 w 202"/>
                <a:gd name="T113" fmla="*/ 8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02">
                  <a:moveTo>
                    <a:pt x="0" y="82"/>
                  </a:moveTo>
                  <a:lnTo>
                    <a:pt x="0" y="82"/>
                  </a:lnTo>
                  <a:lnTo>
                    <a:pt x="4" y="84"/>
                  </a:lnTo>
                  <a:lnTo>
                    <a:pt x="4" y="86"/>
                  </a:lnTo>
                  <a:lnTo>
                    <a:pt x="6" y="92"/>
                  </a:lnTo>
                  <a:lnTo>
                    <a:pt x="6" y="98"/>
                  </a:lnTo>
                  <a:lnTo>
                    <a:pt x="8" y="98"/>
                  </a:lnTo>
                  <a:lnTo>
                    <a:pt x="10" y="98"/>
                  </a:lnTo>
                  <a:lnTo>
                    <a:pt x="10" y="98"/>
                  </a:lnTo>
                  <a:lnTo>
                    <a:pt x="22" y="92"/>
                  </a:lnTo>
                  <a:lnTo>
                    <a:pt x="26" y="92"/>
                  </a:lnTo>
                  <a:lnTo>
                    <a:pt x="30" y="94"/>
                  </a:lnTo>
                  <a:lnTo>
                    <a:pt x="30" y="94"/>
                  </a:lnTo>
                  <a:lnTo>
                    <a:pt x="34" y="94"/>
                  </a:lnTo>
                  <a:lnTo>
                    <a:pt x="38" y="94"/>
                  </a:lnTo>
                  <a:lnTo>
                    <a:pt x="44" y="92"/>
                  </a:lnTo>
                  <a:lnTo>
                    <a:pt x="52" y="80"/>
                  </a:lnTo>
                  <a:lnTo>
                    <a:pt x="52" y="80"/>
                  </a:lnTo>
                  <a:lnTo>
                    <a:pt x="54" y="80"/>
                  </a:lnTo>
                  <a:lnTo>
                    <a:pt x="54" y="82"/>
                  </a:lnTo>
                  <a:lnTo>
                    <a:pt x="58" y="90"/>
                  </a:lnTo>
                  <a:lnTo>
                    <a:pt x="62" y="98"/>
                  </a:lnTo>
                  <a:lnTo>
                    <a:pt x="66" y="102"/>
                  </a:lnTo>
                  <a:lnTo>
                    <a:pt x="70" y="102"/>
                  </a:lnTo>
                  <a:lnTo>
                    <a:pt x="70" y="102"/>
                  </a:lnTo>
                  <a:lnTo>
                    <a:pt x="76" y="102"/>
                  </a:lnTo>
                  <a:lnTo>
                    <a:pt x="78" y="98"/>
                  </a:lnTo>
                  <a:lnTo>
                    <a:pt x="82" y="88"/>
                  </a:lnTo>
                  <a:lnTo>
                    <a:pt x="88" y="82"/>
                  </a:lnTo>
                  <a:lnTo>
                    <a:pt x="90" y="80"/>
                  </a:lnTo>
                  <a:lnTo>
                    <a:pt x="94" y="82"/>
                  </a:lnTo>
                  <a:lnTo>
                    <a:pt x="94" y="82"/>
                  </a:lnTo>
                  <a:lnTo>
                    <a:pt x="98" y="84"/>
                  </a:lnTo>
                  <a:lnTo>
                    <a:pt x="102" y="84"/>
                  </a:lnTo>
                  <a:lnTo>
                    <a:pt x="104" y="84"/>
                  </a:lnTo>
                  <a:lnTo>
                    <a:pt x="106" y="82"/>
                  </a:lnTo>
                  <a:lnTo>
                    <a:pt x="110" y="76"/>
                  </a:lnTo>
                  <a:lnTo>
                    <a:pt x="112" y="70"/>
                  </a:lnTo>
                  <a:lnTo>
                    <a:pt x="112" y="70"/>
                  </a:lnTo>
                  <a:lnTo>
                    <a:pt x="116" y="54"/>
                  </a:lnTo>
                  <a:lnTo>
                    <a:pt x="120" y="48"/>
                  </a:lnTo>
                  <a:lnTo>
                    <a:pt x="124" y="46"/>
                  </a:lnTo>
                  <a:lnTo>
                    <a:pt x="128" y="44"/>
                  </a:lnTo>
                  <a:lnTo>
                    <a:pt x="128" y="44"/>
                  </a:lnTo>
                  <a:lnTo>
                    <a:pt x="132" y="44"/>
                  </a:lnTo>
                  <a:lnTo>
                    <a:pt x="134" y="46"/>
                  </a:lnTo>
                  <a:lnTo>
                    <a:pt x="134" y="52"/>
                  </a:lnTo>
                  <a:lnTo>
                    <a:pt x="134" y="60"/>
                  </a:lnTo>
                  <a:lnTo>
                    <a:pt x="134" y="64"/>
                  </a:lnTo>
                  <a:lnTo>
                    <a:pt x="136" y="68"/>
                  </a:lnTo>
                  <a:lnTo>
                    <a:pt x="136" y="68"/>
                  </a:lnTo>
                  <a:lnTo>
                    <a:pt x="140" y="74"/>
                  </a:lnTo>
                  <a:lnTo>
                    <a:pt x="144" y="76"/>
                  </a:lnTo>
                  <a:lnTo>
                    <a:pt x="148" y="76"/>
                  </a:lnTo>
                  <a:lnTo>
                    <a:pt x="152" y="74"/>
                  </a:lnTo>
                  <a:lnTo>
                    <a:pt x="158" y="68"/>
                  </a:lnTo>
                  <a:lnTo>
                    <a:pt x="162" y="62"/>
                  </a:lnTo>
                  <a:lnTo>
                    <a:pt x="162" y="62"/>
                  </a:lnTo>
                  <a:lnTo>
                    <a:pt x="162" y="60"/>
                  </a:lnTo>
                  <a:lnTo>
                    <a:pt x="166" y="58"/>
                  </a:lnTo>
                  <a:lnTo>
                    <a:pt x="174" y="58"/>
                  </a:lnTo>
                  <a:lnTo>
                    <a:pt x="180" y="56"/>
                  </a:lnTo>
                  <a:lnTo>
                    <a:pt x="182" y="54"/>
                  </a:lnTo>
                  <a:lnTo>
                    <a:pt x="184" y="52"/>
                  </a:lnTo>
                  <a:lnTo>
                    <a:pt x="184" y="52"/>
                  </a:lnTo>
                  <a:lnTo>
                    <a:pt x="184" y="46"/>
                  </a:lnTo>
                  <a:lnTo>
                    <a:pt x="186" y="42"/>
                  </a:lnTo>
                  <a:lnTo>
                    <a:pt x="186" y="38"/>
                  </a:lnTo>
                  <a:lnTo>
                    <a:pt x="184" y="30"/>
                  </a:lnTo>
                  <a:lnTo>
                    <a:pt x="184" y="30"/>
                  </a:lnTo>
                  <a:lnTo>
                    <a:pt x="182" y="28"/>
                  </a:lnTo>
                  <a:lnTo>
                    <a:pt x="182" y="26"/>
                  </a:lnTo>
                  <a:lnTo>
                    <a:pt x="186" y="22"/>
                  </a:lnTo>
                  <a:lnTo>
                    <a:pt x="194" y="20"/>
                  </a:lnTo>
                  <a:lnTo>
                    <a:pt x="200" y="16"/>
                  </a:lnTo>
                  <a:lnTo>
                    <a:pt x="200" y="16"/>
                  </a:lnTo>
                  <a:lnTo>
                    <a:pt x="202" y="14"/>
                  </a:lnTo>
                  <a:lnTo>
                    <a:pt x="202" y="14"/>
                  </a:lnTo>
                  <a:lnTo>
                    <a:pt x="196" y="12"/>
                  </a:lnTo>
                  <a:lnTo>
                    <a:pt x="188" y="10"/>
                  </a:lnTo>
                  <a:lnTo>
                    <a:pt x="184" y="8"/>
                  </a:lnTo>
                  <a:lnTo>
                    <a:pt x="178" y="4"/>
                  </a:lnTo>
                  <a:lnTo>
                    <a:pt x="178" y="4"/>
                  </a:lnTo>
                  <a:lnTo>
                    <a:pt x="174" y="2"/>
                  </a:lnTo>
                  <a:lnTo>
                    <a:pt x="170" y="0"/>
                  </a:lnTo>
                  <a:lnTo>
                    <a:pt x="168" y="2"/>
                  </a:lnTo>
                  <a:lnTo>
                    <a:pt x="166" y="4"/>
                  </a:lnTo>
                  <a:lnTo>
                    <a:pt x="162" y="8"/>
                  </a:lnTo>
                  <a:lnTo>
                    <a:pt x="162" y="16"/>
                  </a:lnTo>
                  <a:lnTo>
                    <a:pt x="162" y="16"/>
                  </a:lnTo>
                  <a:lnTo>
                    <a:pt x="160" y="18"/>
                  </a:lnTo>
                  <a:lnTo>
                    <a:pt x="158" y="18"/>
                  </a:lnTo>
                  <a:lnTo>
                    <a:pt x="148" y="18"/>
                  </a:lnTo>
                  <a:lnTo>
                    <a:pt x="126" y="12"/>
                  </a:lnTo>
                  <a:lnTo>
                    <a:pt x="126" y="12"/>
                  </a:lnTo>
                  <a:lnTo>
                    <a:pt x="120" y="10"/>
                  </a:lnTo>
                  <a:lnTo>
                    <a:pt x="114" y="12"/>
                  </a:lnTo>
                  <a:lnTo>
                    <a:pt x="102" y="18"/>
                  </a:lnTo>
                  <a:lnTo>
                    <a:pt x="90" y="28"/>
                  </a:lnTo>
                  <a:lnTo>
                    <a:pt x="76" y="38"/>
                  </a:lnTo>
                  <a:lnTo>
                    <a:pt x="76" y="38"/>
                  </a:lnTo>
                  <a:lnTo>
                    <a:pt x="70" y="40"/>
                  </a:lnTo>
                  <a:lnTo>
                    <a:pt x="64" y="46"/>
                  </a:lnTo>
                  <a:lnTo>
                    <a:pt x="56" y="54"/>
                  </a:lnTo>
                  <a:lnTo>
                    <a:pt x="48" y="60"/>
                  </a:lnTo>
                  <a:lnTo>
                    <a:pt x="44" y="62"/>
                  </a:lnTo>
                  <a:lnTo>
                    <a:pt x="38" y="62"/>
                  </a:lnTo>
                  <a:lnTo>
                    <a:pt x="38" y="62"/>
                  </a:lnTo>
                  <a:lnTo>
                    <a:pt x="30" y="62"/>
                  </a:lnTo>
                  <a:lnTo>
                    <a:pt x="22" y="64"/>
                  </a:lnTo>
                  <a:lnTo>
                    <a:pt x="8" y="70"/>
                  </a:lnTo>
                  <a:lnTo>
                    <a:pt x="0" y="78"/>
                  </a:lnTo>
                  <a:lnTo>
                    <a:pt x="0" y="80"/>
                  </a:lnTo>
                  <a:lnTo>
                    <a:pt x="0" y="82"/>
                  </a:lnTo>
                  <a:lnTo>
                    <a:pt x="0" y="8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7" name="Freeform 24"/>
            <p:cNvSpPr>
              <a:spLocks/>
            </p:cNvSpPr>
            <p:nvPr/>
          </p:nvSpPr>
          <p:spPr bwMode="auto">
            <a:xfrm>
              <a:off x="1838325" y="2025650"/>
              <a:ext cx="450850" cy="301625"/>
            </a:xfrm>
            <a:custGeom>
              <a:avLst/>
              <a:gdLst>
                <a:gd name="T0" fmla="*/ 38 w 284"/>
                <a:gd name="T1" fmla="*/ 146 h 190"/>
                <a:gd name="T2" fmla="*/ 52 w 284"/>
                <a:gd name="T3" fmla="*/ 154 h 190"/>
                <a:gd name="T4" fmla="*/ 68 w 284"/>
                <a:gd name="T5" fmla="*/ 184 h 190"/>
                <a:gd name="T6" fmla="*/ 76 w 284"/>
                <a:gd name="T7" fmla="*/ 190 h 190"/>
                <a:gd name="T8" fmla="*/ 80 w 284"/>
                <a:gd name="T9" fmla="*/ 188 h 190"/>
                <a:gd name="T10" fmla="*/ 84 w 284"/>
                <a:gd name="T11" fmla="*/ 184 h 190"/>
                <a:gd name="T12" fmla="*/ 90 w 284"/>
                <a:gd name="T13" fmla="*/ 178 h 190"/>
                <a:gd name="T14" fmla="*/ 94 w 284"/>
                <a:gd name="T15" fmla="*/ 178 h 190"/>
                <a:gd name="T16" fmla="*/ 108 w 284"/>
                <a:gd name="T17" fmla="*/ 174 h 190"/>
                <a:gd name="T18" fmla="*/ 122 w 284"/>
                <a:gd name="T19" fmla="*/ 170 h 190"/>
                <a:gd name="T20" fmla="*/ 132 w 284"/>
                <a:gd name="T21" fmla="*/ 170 h 190"/>
                <a:gd name="T22" fmla="*/ 144 w 284"/>
                <a:gd name="T23" fmla="*/ 164 h 190"/>
                <a:gd name="T24" fmla="*/ 148 w 284"/>
                <a:gd name="T25" fmla="*/ 156 h 190"/>
                <a:gd name="T26" fmla="*/ 148 w 284"/>
                <a:gd name="T27" fmla="*/ 150 h 190"/>
                <a:gd name="T28" fmla="*/ 156 w 284"/>
                <a:gd name="T29" fmla="*/ 132 h 190"/>
                <a:gd name="T30" fmla="*/ 174 w 284"/>
                <a:gd name="T31" fmla="*/ 122 h 190"/>
                <a:gd name="T32" fmla="*/ 178 w 284"/>
                <a:gd name="T33" fmla="*/ 120 h 190"/>
                <a:gd name="T34" fmla="*/ 182 w 284"/>
                <a:gd name="T35" fmla="*/ 110 h 190"/>
                <a:gd name="T36" fmla="*/ 186 w 284"/>
                <a:gd name="T37" fmla="*/ 102 h 190"/>
                <a:gd name="T38" fmla="*/ 196 w 284"/>
                <a:gd name="T39" fmla="*/ 96 h 190"/>
                <a:gd name="T40" fmla="*/ 216 w 284"/>
                <a:gd name="T41" fmla="*/ 90 h 190"/>
                <a:gd name="T42" fmla="*/ 268 w 284"/>
                <a:gd name="T43" fmla="*/ 68 h 190"/>
                <a:gd name="T44" fmla="*/ 282 w 284"/>
                <a:gd name="T45" fmla="*/ 60 h 190"/>
                <a:gd name="T46" fmla="*/ 284 w 284"/>
                <a:gd name="T47" fmla="*/ 54 h 190"/>
                <a:gd name="T48" fmla="*/ 248 w 284"/>
                <a:gd name="T49" fmla="*/ 30 h 190"/>
                <a:gd name="T50" fmla="*/ 232 w 284"/>
                <a:gd name="T51" fmla="*/ 22 h 190"/>
                <a:gd name="T52" fmla="*/ 212 w 284"/>
                <a:gd name="T53" fmla="*/ 18 h 190"/>
                <a:gd name="T54" fmla="*/ 200 w 284"/>
                <a:gd name="T55" fmla="*/ 20 h 190"/>
                <a:gd name="T56" fmla="*/ 192 w 284"/>
                <a:gd name="T57" fmla="*/ 24 h 190"/>
                <a:gd name="T58" fmla="*/ 184 w 284"/>
                <a:gd name="T59" fmla="*/ 26 h 190"/>
                <a:gd name="T60" fmla="*/ 182 w 284"/>
                <a:gd name="T61" fmla="*/ 22 h 190"/>
                <a:gd name="T62" fmla="*/ 180 w 284"/>
                <a:gd name="T63" fmla="*/ 16 h 190"/>
                <a:gd name="T64" fmla="*/ 176 w 284"/>
                <a:gd name="T65" fmla="*/ 18 h 190"/>
                <a:gd name="T66" fmla="*/ 162 w 284"/>
                <a:gd name="T67" fmla="*/ 18 h 190"/>
                <a:gd name="T68" fmla="*/ 130 w 284"/>
                <a:gd name="T69" fmla="*/ 8 h 190"/>
                <a:gd name="T70" fmla="*/ 122 w 284"/>
                <a:gd name="T71" fmla="*/ 2 h 190"/>
                <a:gd name="T72" fmla="*/ 108 w 284"/>
                <a:gd name="T73" fmla="*/ 2 h 190"/>
                <a:gd name="T74" fmla="*/ 56 w 284"/>
                <a:gd name="T75" fmla="*/ 12 h 190"/>
                <a:gd name="T76" fmla="*/ 36 w 284"/>
                <a:gd name="T77" fmla="*/ 16 h 190"/>
                <a:gd name="T78" fmla="*/ 30 w 284"/>
                <a:gd name="T79" fmla="*/ 18 h 190"/>
                <a:gd name="T80" fmla="*/ 32 w 284"/>
                <a:gd name="T81" fmla="*/ 24 h 190"/>
                <a:gd name="T82" fmla="*/ 48 w 284"/>
                <a:gd name="T83" fmla="*/ 40 h 190"/>
                <a:gd name="T84" fmla="*/ 50 w 284"/>
                <a:gd name="T85" fmla="*/ 44 h 190"/>
                <a:gd name="T86" fmla="*/ 40 w 284"/>
                <a:gd name="T87" fmla="*/ 62 h 190"/>
                <a:gd name="T88" fmla="*/ 28 w 284"/>
                <a:gd name="T89" fmla="*/ 78 h 190"/>
                <a:gd name="T90" fmla="*/ 28 w 284"/>
                <a:gd name="T91" fmla="*/ 82 h 190"/>
                <a:gd name="T92" fmla="*/ 30 w 284"/>
                <a:gd name="T93" fmla="*/ 88 h 190"/>
                <a:gd name="T94" fmla="*/ 16 w 284"/>
                <a:gd name="T95" fmla="*/ 110 h 190"/>
                <a:gd name="T96" fmla="*/ 4 w 284"/>
                <a:gd name="T97" fmla="*/ 122 h 190"/>
                <a:gd name="T98" fmla="*/ 0 w 284"/>
                <a:gd name="T99" fmla="*/ 134 h 190"/>
                <a:gd name="T100" fmla="*/ 6 w 284"/>
                <a:gd name="T101" fmla="*/ 140 h 190"/>
                <a:gd name="T102" fmla="*/ 38 w 284"/>
                <a:gd name="T103" fmla="*/ 1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4" h="190">
                  <a:moveTo>
                    <a:pt x="38" y="146"/>
                  </a:moveTo>
                  <a:lnTo>
                    <a:pt x="38" y="146"/>
                  </a:lnTo>
                  <a:lnTo>
                    <a:pt x="46" y="150"/>
                  </a:lnTo>
                  <a:lnTo>
                    <a:pt x="52" y="154"/>
                  </a:lnTo>
                  <a:lnTo>
                    <a:pt x="60" y="170"/>
                  </a:lnTo>
                  <a:lnTo>
                    <a:pt x="68" y="184"/>
                  </a:lnTo>
                  <a:lnTo>
                    <a:pt x="72" y="188"/>
                  </a:lnTo>
                  <a:lnTo>
                    <a:pt x="76" y="190"/>
                  </a:lnTo>
                  <a:lnTo>
                    <a:pt x="76" y="190"/>
                  </a:lnTo>
                  <a:lnTo>
                    <a:pt x="80" y="188"/>
                  </a:lnTo>
                  <a:lnTo>
                    <a:pt x="82" y="188"/>
                  </a:lnTo>
                  <a:lnTo>
                    <a:pt x="84" y="184"/>
                  </a:lnTo>
                  <a:lnTo>
                    <a:pt x="86" y="180"/>
                  </a:lnTo>
                  <a:lnTo>
                    <a:pt x="90" y="178"/>
                  </a:lnTo>
                  <a:lnTo>
                    <a:pt x="94" y="178"/>
                  </a:lnTo>
                  <a:lnTo>
                    <a:pt x="94" y="178"/>
                  </a:lnTo>
                  <a:lnTo>
                    <a:pt x="104" y="176"/>
                  </a:lnTo>
                  <a:lnTo>
                    <a:pt x="108" y="174"/>
                  </a:lnTo>
                  <a:lnTo>
                    <a:pt x="114" y="170"/>
                  </a:lnTo>
                  <a:lnTo>
                    <a:pt x="122" y="170"/>
                  </a:lnTo>
                  <a:lnTo>
                    <a:pt x="122" y="170"/>
                  </a:lnTo>
                  <a:lnTo>
                    <a:pt x="132" y="170"/>
                  </a:lnTo>
                  <a:lnTo>
                    <a:pt x="140" y="166"/>
                  </a:lnTo>
                  <a:lnTo>
                    <a:pt x="144" y="164"/>
                  </a:lnTo>
                  <a:lnTo>
                    <a:pt x="146" y="160"/>
                  </a:lnTo>
                  <a:lnTo>
                    <a:pt x="148" y="156"/>
                  </a:lnTo>
                  <a:lnTo>
                    <a:pt x="148" y="150"/>
                  </a:lnTo>
                  <a:lnTo>
                    <a:pt x="148" y="150"/>
                  </a:lnTo>
                  <a:lnTo>
                    <a:pt x="150" y="138"/>
                  </a:lnTo>
                  <a:lnTo>
                    <a:pt x="156" y="132"/>
                  </a:lnTo>
                  <a:lnTo>
                    <a:pt x="164" y="126"/>
                  </a:lnTo>
                  <a:lnTo>
                    <a:pt x="174" y="122"/>
                  </a:lnTo>
                  <a:lnTo>
                    <a:pt x="174" y="122"/>
                  </a:lnTo>
                  <a:lnTo>
                    <a:pt x="178" y="120"/>
                  </a:lnTo>
                  <a:lnTo>
                    <a:pt x="180" y="118"/>
                  </a:lnTo>
                  <a:lnTo>
                    <a:pt x="182" y="110"/>
                  </a:lnTo>
                  <a:lnTo>
                    <a:pt x="184" y="106"/>
                  </a:lnTo>
                  <a:lnTo>
                    <a:pt x="186" y="102"/>
                  </a:lnTo>
                  <a:lnTo>
                    <a:pt x="188" y="98"/>
                  </a:lnTo>
                  <a:lnTo>
                    <a:pt x="196" y="96"/>
                  </a:lnTo>
                  <a:lnTo>
                    <a:pt x="196" y="96"/>
                  </a:lnTo>
                  <a:lnTo>
                    <a:pt x="216" y="90"/>
                  </a:lnTo>
                  <a:lnTo>
                    <a:pt x="242" y="80"/>
                  </a:lnTo>
                  <a:lnTo>
                    <a:pt x="268" y="68"/>
                  </a:lnTo>
                  <a:lnTo>
                    <a:pt x="282" y="60"/>
                  </a:lnTo>
                  <a:lnTo>
                    <a:pt x="282" y="60"/>
                  </a:lnTo>
                  <a:lnTo>
                    <a:pt x="284" y="58"/>
                  </a:lnTo>
                  <a:lnTo>
                    <a:pt x="284" y="54"/>
                  </a:lnTo>
                  <a:lnTo>
                    <a:pt x="278" y="48"/>
                  </a:lnTo>
                  <a:lnTo>
                    <a:pt x="248" y="30"/>
                  </a:lnTo>
                  <a:lnTo>
                    <a:pt x="248" y="30"/>
                  </a:lnTo>
                  <a:lnTo>
                    <a:pt x="232" y="22"/>
                  </a:lnTo>
                  <a:lnTo>
                    <a:pt x="218" y="18"/>
                  </a:lnTo>
                  <a:lnTo>
                    <a:pt x="212" y="18"/>
                  </a:lnTo>
                  <a:lnTo>
                    <a:pt x="206" y="18"/>
                  </a:lnTo>
                  <a:lnTo>
                    <a:pt x="200" y="20"/>
                  </a:lnTo>
                  <a:lnTo>
                    <a:pt x="192" y="24"/>
                  </a:lnTo>
                  <a:lnTo>
                    <a:pt x="192" y="24"/>
                  </a:lnTo>
                  <a:lnTo>
                    <a:pt x="188" y="26"/>
                  </a:lnTo>
                  <a:lnTo>
                    <a:pt x="184" y="26"/>
                  </a:lnTo>
                  <a:lnTo>
                    <a:pt x="184" y="26"/>
                  </a:lnTo>
                  <a:lnTo>
                    <a:pt x="182" y="22"/>
                  </a:lnTo>
                  <a:lnTo>
                    <a:pt x="182" y="18"/>
                  </a:lnTo>
                  <a:lnTo>
                    <a:pt x="180" y="16"/>
                  </a:lnTo>
                  <a:lnTo>
                    <a:pt x="176" y="18"/>
                  </a:lnTo>
                  <a:lnTo>
                    <a:pt x="176" y="18"/>
                  </a:lnTo>
                  <a:lnTo>
                    <a:pt x="170" y="20"/>
                  </a:lnTo>
                  <a:lnTo>
                    <a:pt x="162" y="18"/>
                  </a:lnTo>
                  <a:lnTo>
                    <a:pt x="146" y="14"/>
                  </a:lnTo>
                  <a:lnTo>
                    <a:pt x="130" y="8"/>
                  </a:lnTo>
                  <a:lnTo>
                    <a:pt x="122" y="2"/>
                  </a:lnTo>
                  <a:lnTo>
                    <a:pt x="122" y="2"/>
                  </a:lnTo>
                  <a:lnTo>
                    <a:pt x="118" y="0"/>
                  </a:lnTo>
                  <a:lnTo>
                    <a:pt x="108" y="2"/>
                  </a:lnTo>
                  <a:lnTo>
                    <a:pt x="82" y="6"/>
                  </a:lnTo>
                  <a:lnTo>
                    <a:pt x="56" y="12"/>
                  </a:lnTo>
                  <a:lnTo>
                    <a:pt x="36" y="16"/>
                  </a:lnTo>
                  <a:lnTo>
                    <a:pt x="36" y="16"/>
                  </a:lnTo>
                  <a:lnTo>
                    <a:pt x="32" y="16"/>
                  </a:lnTo>
                  <a:lnTo>
                    <a:pt x="30" y="18"/>
                  </a:lnTo>
                  <a:lnTo>
                    <a:pt x="30" y="22"/>
                  </a:lnTo>
                  <a:lnTo>
                    <a:pt x="32" y="24"/>
                  </a:lnTo>
                  <a:lnTo>
                    <a:pt x="40" y="34"/>
                  </a:lnTo>
                  <a:lnTo>
                    <a:pt x="48" y="40"/>
                  </a:lnTo>
                  <a:lnTo>
                    <a:pt x="48" y="40"/>
                  </a:lnTo>
                  <a:lnTo>
                    <a:pt x="50" y="44"/>
                  </a:lnTo>
                  <a:lnTo>
                    <a:pt x="48" y="50"/>
                  </a:lnTo>
                  <a:lnTo>
                    <a:pt x="40" y="62"/>
                  </a:lnTo>
                  <a:lnTo>
                    <a:pt x="30" y="74"/>
                  </a:lnTo>
                  <a:lnTo>
                    <a:pt x="28" y="78"/>
                  </a:lnTo>
                  <a:lnTo>
                    <a:pt x="28" y="82"/>
                  </a:lnTo>
                  <a:lnTo>
                    <a:pt x="28" y="82"/>
                  </a:lnTo>
                  <a:lnTo>
                    <a:pt x="30" y="84"/>
                  </a:lnTo>
                  <a:lnTo>
                    <a:pt x="30" y="88"/>
                  </a:lnTo>
                  <a:lnTo>
                    <a:pt x="26" y="98"/>
                  </a:lnTo>
                  <a:lnTo>
                    <a:pt x="16" y="110"/>
                  </a:lnTo>
                  <a:lnTo>
                    <a:pt x="4" y="122"/>
                  </a:lnTo>
                  <a:lnTo>
                    <a:pt x="4" y="122"/>
                  </a:lnTo>
                  <a:lnTo>
                    <a:pt x="0" y="130"/>
                  </a:lnTo>
                  <a:lnTo>
                    <a:pt x="0" y="134"/>
                  </a:lnTo>
                  <a:lnTo>
                    <a:pt x="2" y="138"/>
                  </a:lnTo>
                  <a:lnTo>
                    <a:pt x="6" y="140"/>
                  </a:lnTo>
                  <a:lnTo>
                    <a:pt x="22" y="142"/>
                  </a:lnTo>
                  <a:lnTo>
                    <a:pt x="38" y="146"/>
                  </a:lnTo>
                  <a:lnTo>
                    <a:pt x="38" y="14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8" name="Freeform 25"/>
            <p:cNvSpPr>
              <a:spLocks/>
            </p:cNvSpPr>
            <p:nvPr/>
          </p:nvSpPr>
          <p:spPr bwMode="auto">
            <a:xfrm>
              <a:off x="2127250" y="1895475"/>
              <a:ext cx="69850" cy="47625"/>
            </a:xfrm>
            <a:custGeom>
              <a:avLst/>
              <a:gdLst>
                <a:gd name="T0" fmla="*/ 2 w 44"/>
                <a:gd name="T1" fmla="*/ 30 h 30"/>
                <a:gd name="T2" fmla="*/ 2 w 44"/>
                <a:gd name="T3" fmla="*/ 30 h 30"/>
                <a:gd name="T4" fmla="*/ 10 w 44"/>
                <a:gd name="T5" fmla="*/ 30 h 30"/>
                <a:gd name="T6" fmla="*/ 18 w 44"/>
                <a:gd name="T7" fmla="*/ 28 h 30"/>
                <a:gd name="T8" fmla="*/ 24 w 44"/>
                <a:gd name="T9" fmla="*/ 24 h 30"/>
                <a:gd name="T10" fmla="*/ 30 w 44"/>
                <a:gd name="T11" fmla="*/ 20 h 30"/>
                <a:gd name="T12" fmla="*/ 40 w 44"/>
                <a:gd name="T13" fmla="*/ 12 h 30"/>
                <a:gd name="T14" fmla="*/ 42 w 44"/>
                <a:gd name="T15" fmla="*/ 6 h 30"/>
                <a:gd name="T16" fmla="*/ 44 w 44"/>
                <a:gd name="T17" fmla="*/ 2 h 30"/>
                <a:gd name="T18" fmla="*/ 44 w 44"/>
                <a:gd name="T19" fmla="*/ 2 h 30"/>
                <a:gd name="T20" fmla="*/ 42 w 44"/>
                <a:gd name="T21" fmla="*/ 0 h 30"/>
                <a:gd name="T22" fmla="*/ 40 w 44"/>
                <a:gd name="T23" fmla="*/ 0 h 30"/>
                <a:gd name="T24" fmla="*/ 34 w 44"/>
                <a:gd name="T25" fmla="*/ 2 h 30"/>
                <a:gd name="T26" fmla="*/ 18 w 44"/>
                <a:gd name="T27" fmla="*/ 12 h 30"/>
                <a:gd name="T28" fmla="*/ 4 w 44"/>
                <a:gd name="T29" fmla="*/ 24 h 30"/>
                <a:gd name="T30" fmla="*/ 0 w 44"/>
                <a:gd name="T31" fmla="*/ 28 h 30"/>
                <a:gd name="T32" fmla="*/ 0 w 44"/>
                <a:gd name="T33" fmla="*/ 28 h 30"/>
                <a:gd name="T34" fmla="*/ 2 w 44"/>
                <a:gd name="T35" fmla="*/ 30 h 30"/>
                <a:gd name="T36" fmla="*/ 2 w 44"/>
                <a:gd name="T3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30">
                  <a:moveTo>
                    <a:pt x="2" y="30"/>
                  </a:moveTo>
                  <a:lnTo>
                    <a:pt x="2" y="30"/>
                  </a:lnTo>
                  <a:lnTo>
                    <a:pt x="10" y="30"/>
                  </a:lnTo>
                  <a:lnTo>
                    <a:pt x="18" y="28"/>
                  </a:lnTo>
                  <a:lnTo>
                    <a:pt x="24" y="24"/>
                  </a:lnTo>
                  <a:lnTo>
                    <a:pt x="30" y="20"/>
                  </a:lnTo>
                  <a:lnTo>
                    <a:pt x="40" y="12"/>
                  </a:lnTo>
                  <a:lnTo>
                    <a:pt x="42" y="6"/>
                  </a:lnTo>
                  <a:lnTo>
                    <a:pt x="44" y="2"/>
                  </a:lnTo>
                  <a:lnTo>
                    <a:pt x="44" y="2"/>
                  </a:lnTo>
                  <a:lnTo>
                    <a:pt x="42" y="0"/>
                  </a:lnTo>
                  <a:lnTo>
                    <a:pt x="40" y="0"/>
                  </a:lnTo>
                  <a:lnTo>
                    <a:pt x="34" y="2"/>
                  </a:lnTo>
                  <a:lnTo>
                    <a:pt x="18" y="12"/>
                  </a:lnTo>
                  <a:lnTo>
                    <a:pt x="4" y="24"/>
                  </a:lnTo>
                  <a:lnTo>
                    <a:pt x="0" y="28"/>
                  </a:lnTo>
                  <a:lnTo>
                    <a:pt x="0" y="28"/>
                  </a:lnTo>
                  <a:lnTo>
                    <a:pt x="2" y="30"/>
                  </a:lnTo>
                  <a:lnTo>
                    <a:pt x="2" y="3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39" name="Freeform 26"/>
            <p:cNvSpPr>
              <a:spLocks/>
            </p:cNvSpPr>
            <p:nvPr/>
          </p:nvSpPr>
          <p:spPr bwMode="auto">
            <a:xfrm>
              <a:off x="28575" y="3098800"/>
              <a:ext cx="76200" cy="41275"/>
            </a:xfrm>
            <a:custGeom>
              <a:avLst/>
              <a:gdLst>
                <a:gd name="T0" fmla="*/ 24 w 48"/>
                <a:gd name="T1" fmla="*/ 4 h 26"/>
                <a:gd name="T2" fmla="*/ 24 w 48"/>
                <a:gd name="T3" fmla="*/ 4 h 26"/>
                <a:gd name="T4" fmla="*/ 24 w 48"/>
                <a:gd name="T5" fmla="*/ 2 h 26"/>
                <a:gd name="T6" fmla="*/ 20 w 48"/>
                <a:gd name="T7" fmla="*/ 0 h 26"/>
                <a:gd name="T8" fmla="*/ 12 w 48"/>
                <a:gd name="T9" fmla="*/ 2 h 26"/>
                <a:gd name="T10" fmla="*/ 4 w 48"/>
                <a:gd name="T11" fmla="*/ 6 h 26"/>
                <a:gd name="T12" fmla="*/ 0 w 48"/>
                <a:gd name="T13" fmla="*/ 10 h 26"/>
                <a:gd name="T14" fmla="*/ 0 w 48"/>
                <a:gd name="T15" fmla="*/ 14 h 26"/>
                <a:gd name="T16" fmla="*/ 0 w 48"/>
                <a:gd name="T17" fmla="*/ 14 h 26"/>
                <a:gd name="T18" fmla="*/ 2 w 48"/>
                <a:gd name="T19" fmla="*/ 16 h 26"/>
                <a:gd name="T20" fmla="*/ 6 w 48"/>
                <a:gd name="T21" fmla="*/ 20 h 26"/>
                <a:gd name="T22" fmla="*/ 16 w 48"/>
                <a:gd name="T23" fmla="*/ 24 h 26"/>
                <a:gd name="T24" fmla="*/ 28 w 48"/>
                <a:gd name="T25" fmla="*/ 26 h 26"/>
                <a:gd name="T26" fmla="*/ 38 w 48"/>
                <a:gd name="T27" fmla="*/ 24 h 26"/>
                <a:gd name="T28" fmla="*/ 38 w 48"/>
                <a:gd name="T29" fmla="*/ 24 h 26"/>
                <a:gd name="T30" fmla="*/ 44 w 48"/>
                <a:gd name="T31" fmla="*/ 22 h 26"/>
                <a:gd name="T32" fmla="*/ 48 w 48"/>
                <a:gd name="T33" fmla="*/ 16 h 26"/>
                <a:gd name="T34" fmla="*/ 48 w 48"/>
                <a:gd name="T35" fmla="*/ 10 h 26"/>
                <a:gd name="T36" fmla="*/ 44 w 48"/>
                <a:gd name="T37" fmla="*/ 6 h 26"/>
                <a:gd name="T38" fmla="*/ 44 w 48"/>
                <a:gd name="T39" fmla="*/ 6 h 26"/>
                <a:gd name="T40" fmla="*/ 42 w 48"/>
                <a:gd name="T41" fmla="*/ 4 h 26"/>
                <a:gd name="T42" fmla="*/ 38 w 48"/>
                <a:gd name="T43" fmla="*/ 4 h 26"/>
                <a:gd name="T44" fmla="*/ 32 w 48"/>
                <a:gd name="T45" fmla="*/ 6 h 26"/>
                <a:gd name="T46" fmla="*/ 28 w 48"/>
                <a:gd name="T47" fmla="*/ 8 h 26"/>
                <a:gd name="T48" fmla="*/ 26 w 48"/>
                <a:gd name="T49" fmla="*/ 8 h 26"/>
                <a:gd name="T50" fmla="*/ 24 w 48"/>
                <a:gd name="T51" fmla="*/ 4 h 26"/>
                <a:gd name="T52" fmla="*/ 24 w 48"/>
                <a:gd name="T5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26">
                  <a:moveTo>
                    <a:pt x="24" y="4"/>
                  </a:moveTo>
                  <a:lnTo>
                    <a:pt x="24" y="4"/>
                  </a:lnTo>
                  <a:lnTo>
                    <a:pt x="24" y="2"/>
                  </a:lnTo>
                  <a:lnTo>
                    <a:pt x="20" y="0"/>
                  </a:lnTo>
                  <a:lnTo>
                    <a:pt x="12" y="2"/>
                  </a:lnTo>
                  <a:lnTo>
                    <a:pt x="4" y="6"/>
                  </a:lnTo>
                  <a:lnTo>
                    <a:pt x="0" y="10"/>
                  </a:lnTo>
                  <a:lnTo>
                    <a:pt x="0" y="14"/>
                  </a:lnTo>
                  <a:lnTo>
                    <a:pt x="0" y="14"/>
                  </a:lnTo>
                  <a:lnTo>
                    <a:pt x="2" y="16"/>
                  </a:lnTo>
                  <a:lnTo>
                    <a:pt x="6" y="20"/>
                  </a:lnTo>
                  <a:lnTo>
                    <a:pt x="16" y="24"/>
                  </a:lnTo>
                  <a:lnTo>
                    <a:pt x="28" y="26"/>
                  </a:lnTo>
                  <a:lnTo>
                    <a:pt x="38" y="24"/>
                  </a:lnTo>
                  <a:lnTo>
                    <a:pt x="38" y="24"/>
                  </a:lnTo>
                  <a:lnTo>
                    <a:pt x="44" y="22"/>
                  </a:lnTo>
                  <a:lnTo>
                    <a:pt x="48" y="16"/>
                  </a:lnTo>
                  <a:lnTo>
                    <a:pt x="48" y="10"/>
                  </a:lnTo>
                  <a:lnTo>
                    <a:pt x="44" y="6"/>
                  </a:lnTo>
                  <a:lnTo>
                    <a:pt x="44" y="6"/>
                  </a:lnTo>
                  <a:lnTo>
                    <a:pt x="42" y="4"/>
                  </a:lnTo>
                  <a:lnTo>
                    <a:pt x="38" y="4"/>
                  </a:lnTo>
                  <a:lnTo>
                    <a:pt x="32" y="6"/>
                  </a:lnTo>
                  <a:lnTo>
                    <a:pt x="28" y="8"/>
                  </a:lnTo>
                  <a:lnTo>
                    <a:pt x="26" y="8"/>
                  </a:lnTo>
                  <a:lnTo>
                    <a:pt x="24" y="4"/>
                  </a:lnTo>
                  <a:lnTo>
                    <a:pt x="24"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0" name="Freeform 27"/>
            <p:cNvSpPr>
              <a:spLocks/>
            </p:cNvSpPr>
            <p:nvPr/>
          </p:nvSpPr>
          <p:spPr bwMode="auto">
            <a:xfrm>
              <a:off x="11572875" y="1581150"/>
              <a:ext cx="266700" cy="146050"/>
            </a:xfrm>
            <a:custGeom>
              <a:avLst/>
              <a:gdLst>
                <a:gd name="T0" fmla="*/ 2 w 168"/>
                <a:gd name="T1" fmla="*/ 90 h 92"/>
                <a:gd name="T2" fmla="*/ 16 w 168"/>
                <a:gd name="T3" fmla="*/ 92 h 92"/>
                <a:gd name="T4" fmla="*/ 54 w 168"/>
                <a:gd name="T5" fmla="*/ 84 h 92"/>
                <a:gd name="T6" fmla="*/ 74 w 168"/>
                <a:gd name="T7" fmla="*/ 82 h 92"/>
                <a:gd name="T8" fmla="*/ 100 w 168"/>
                <a:gd name="T9" fmla="*/ 80 h 92"/>
                <a:gd name="T10" fmla="*/ 156 w 168"/>
                <a:gd name="T11" fmla="*/ 62 h 92"/>
                <a:gd name="T12" fmla="*/ 168 w 168"/>
                <a:gd name="T13" fmla="*/ 52 h 92"/>
                <a:gd name="T14" fmla="*/ 168 w 168"/>
                <a:gd name="T15" fmla="*/ 48 h 92"/>
                <a:gd name="T16" fmla="*/ 156 w 168"/>
                <a:gd name="T17" fmla="*/ 40 h 92"/>
                <a:gd name="T18" fmla="*/ 138 w 168"/>
                <a:gd name="T19" fmla="*/ 32 h 92"/>
                <a:gd name="T20" fmla="*/ 134 w 168"/>
                <a:gd name="T21" fmla="*/ 28 h 92"/>
                <a:gd name="T22" fmla="*/ 124 w 168"/>
                <a:gd name="T23" fmla="*/ 24 h 92"/>
                <a:gd name="T24" fmla="*/ 112 w 168"/>
                <a:gd name="T25" fmla="*/ 24 h 92"/>
                <a:gd name="T26" fmla="*/ 94 w 168"/>
                <a:gd name="T27" fmla="*/ 36 h 92"/>
                <a:gd name="T28" fmla="*/ 90 w 168"/>
                <a:gd name="T29" fmla="*/ 40 h 92"/>
                <a:gd name="T30" fmla="*/ 88 w 168"/>
                <a:gd name="T31" fmla="*/ 38 h 92"/>
                <a:gd name="T32" fmla="*/ 98 w 168"/>
                <a:gd name="T33" fmla="*/ 22 h 92"/>
                <a:gd name="T34" fmla="*/ 100 w 168"/>
                <a:gd name="T35" fmla="*/ 16 h 92"/>
                <a:gd name="T36" fmla="*/ 100 w 168"/>
                <a:gd name="T37" fmla="*/ 6 h 92"/>
                <a:gd name="T38" fmla="*/ 90 w 168"/>
                <a:gd name="T39" fmla="*/ 2 h 92"/>
                <a:gd name="T40" fmla="*/ 82 w 168"/>
                <a:gd name="T41" fmla="*/ 2 h 92"/>
                <a:gd name="T42" fmla="*/ 82 w 168"/>
                <a:gd name="T43" fmla="*/ 4 h 92"/>
                <a:gd name="T44" fmla="*/ 76 w 168"/>
                <a:gd name="T45" fmla="*/ 8 h 92"/>
                <a:gd name="T46" fmla="*/ 56 w 168"/>
                <a:gd name="T47" fmla="*/ 10 h 92"/>
                <a:gd name="T48" fmla="*/ 52 w 168"/>
                <a:gd name="T49" fmla="*/ 14 h 92"/>
                <a:gd name="T50" fmla="*/ 50 w 168"/>
                <a:gd name="T51" fmla="*/ 20 h 92"/>
                <a:gd name="T52" fmla="*/ 44 w 168"/>
                <a:gd name="T53" fmla="*/ 30 h 92"/>
                <a:gd name="T54" fmla="*/ 42 w 168"/>
                <a:gd name="T55" fmla="*/ 36 h 92"/>
                <a:gd name="T56" fmla="*/ 40 w 168"/>
                <a:gd name="T57" fmla="*/ 40 h 92"/>
                <a:gd name="T58" fmla="*/ 30 w 168"/>
                <a:gd name="T59" fmla="*/ 40 h 92"/>
                <a:gd name="T60" fmla="*/ 24 w 168"/>
                <a:gd name="T61" fmla="*/ 46 h 92"/>
                <a:gd name="T62" fmla="*/ 22 w 168"/>
                <a:gd name="T63" fmla="*/ 52 h 92"/>
                <a:gd name="T64" fmla="*/ 18 w 168"/>
                <a:gd name="T65" fmla="*/ 66 h 92"/>
                <a:gd name="T66" fmla="*/ 0 w 168"/>
                <a:gd name="T67" fmla="*/ 84 h 92"/>
                <a:gd name="T68" fmla="*/ 2 w 168"/>
                <a:gd name="T69"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92">
                  <a:moveTo>
                    <a:pt x="2" y="90"/>
                  </a:moveTo>
                  <a:lnTo>
                    <a:pt x="2" y="90"/>
                  </a:lnTo>
                  <a:lnTo>
                    <a:pt x="8" y="92"/>
                  </a:lnTo>
                  <a:lnTo>
                    <a:pt x="16" y="92"/>
                  </a:lnTo>
                  <a:lnTo>
                    <a:pt x="34" y="88"/>
                  </a:lnTo>
                  <a:lnTo>
                    <a:pt x="54" y="84"/>
                  </a:lnTo>
                  <a:lnTo>
                    <a:pt x="74" y="82"/>
                  </a:lnTo>
                  <a:lnTo>
                    <a:pt x="74" y="82"/>
                  </a:lnTo>
                  <a:lnTo>
                    <a:pt x="86" y="82"/>
                  </a:lnTo>
                  <a:lnTo>
                    <a:pt x="100" y="80"/>
                  </a:lnTo>
                  <a:lnTo>
                    <a:pt x="130" y="72"/>
                  </a:lnTo>
                  <a:lnTo>
                    <a:pt x="156" y="62"/>
                  </a:lnTo>
                  <a:lnTo>
                    <a:pt x="166" y="56"/>
                  </a:lnTo>
                  <a:lnTo>
                    <a:pt x="168" y="52"/>
                  </a:lnTo>
                  <a:lnTo>
                    <a:pt x="168" y="52"/>
                  </a:lnTo>
                  <a:lnTo>
                    <a:pt x="168" y="48"/>
                  </a:lnTo>
                  <a:lnTo>
                    <a:pt x="166" y="44"/>
                  </a:lnTo>
                  <a:lnTo>
                    <a:pt x="156" y="40"/>
                  </a:lnTo>
                  <a:lnTo>
                    <a:pt x="144" y="34"/>
                  </a:lnTo>
                  <a:lnTo>
                    <a:pt x="138" y="32"/>
                  </a:lnTo>
                  <a:lnTo>
                    <a:pt x="134" y="28"/>
                  </a:lnTo>
                  <a:lnTo>
                    <a:pt x="134" y="28"/>
                  </a:lnTo>
                  <a:lnTo>
                    <a:pt x="130" y="24"/>
                  </a:lnTo>
                  <a:lnTo>
                    <a:pt x="124" y="24"/>
                  </a:lnTo>
                  <a:lnTo>
                    <a:pt x="118" y="24"/>
                  </a:lnTo>
                  <a:lnTo>
                    <a:pt x="112" y="24"/>
                  </a:lnTo>
                  <a:lnTo>
                    <a:pt x="102" y="30"/>
                  </a:lnTo>
                  <a:lnTo>
                    <a:pt x="94" y="36"/>
                  </a:lnTo>
                  <a:lnTo>
                    <a:pt x="94" y="36"/>
                  </a:lnTo>
                  <a:lnTo>
                    <a:pt x="90" y="40"/>
                  </a:lnTo>
                  <a:lnTo>
                    <a:pt x="88" y="40"/>
                  </a:lnTo>
                  <a:lnTo>
                    <a:pt x="88" y="38"/>
                  </a:lnTo>
                  <a:lnTo>
                    <a:pt x="90" y="32"/>
                  </a:lnTo>
                  <a:lnTo>
                    <a:pt x="98" y="22"/>
                  </a:lnTo>
                  <a:lnTo>
                    <a:pt x="98" y="22"/>
                  </a:lnTo>
                  <a:lnTo>
                    <a:pt x="100" y="16"/>
                  </a:lnTo>
                  <a:lnTo>
                    <a:pt x="102" y="12"/>
                  </a:lnTo>
                  <a:lnTo>
                    <a:pt x="100" y="6"/>
                  </a:lnTo>
                  <a:lnTo>
                    <a:pt x="96" y="4"/>
                  </a:lnTo>
                  <a:lnTo>
                    <a:pt x="90" y="2"/>
                  </a:lnTo>
                  <a:lnTo>
                    <a:pt x="86" y="0"/>
                  </a:lnTo>
                  <a:lnTo>
                    <a:pt x="82" y="2"/>
                  </a:lnTo>
                  <a:lnTo>
                    <a:pt x="82" y="4"/>
                  </a:lnTo>
                  <a:lnTo>
                    <a:pt x="82" y="4"/>
                  </a:lnTo>
                  <a:lnTo>
                    <a:pt x="80" y="6"/>
                  </a:lnTo>
                  <a:lnTo>
                    <a:pt x="76" y="8"/>
                  </a:lnTo>
                  <a:lnTo>
                    <a:pt x="66" y="10"/>
                  </a:lnTo>
                  <a:lnTo>
                    <a:pt x="56" y="10"/>
                  </a:lnTo>
                  <a:lnTo>
                    <a:pt x="54" y="12"/>
                  </a:lnTo>
                  <a:lnTo>
                    <a:pt x="52" y="14"/>
                  </a:lnTo>
                  <a:lnTo>
                    <a:pt x="52" y="14"/>
                  </a:lnTo>
                  <a:lnTo>
                    <a:pt x="50" y="20"/>
                  </a:lnTo>
                  <a:lnTo>
                    <a:pt x="46" y="26"/>
                  </a:lnTo>
                  <a:lnTo>
                    <a:pt x="44" y="30"/>
                  </a:lnTo>
                  <a:lnTo>
                    <a:pt x="42" y="36"/>
                  </a:lnTo>
                  <a:lnTo>
                    <a:pt x="42" y="36"/>
                  </a:lnTo>
                  <a:lnTo>
                    <a:pt x="42" y="38"/>
                  </a:lnTo>
                  <a:lnTo>
                    <a:pt x="40" y="40"/>
                  </a:lnTo>
                  <a:lnTo>
                    <a:pt x="32" y="40"/>
                  </a:lnTo>
                  <a:lnTo>
                    <a:pt x="30" y="40"/>
                  </a:lnTo>
                  <a:lnTo>
                    <a:pt x="26" y="42"/>
                  </a:lnTo>
                  <a:lnTo>
                    <a:pt x="24" y="46"/>
                  </a:lnTo>
                  <a:lnTo>
                    <a:pt x="22" y="52"/>
                  </a:lnTo>
                  <a:lnTo>
                    <a:pt x="22" y="52"/>
                  </a:lnTo>
                  <a:lnTo>
                    <a:pt x="20" y="58"/>
                  </a:lnTo>
                  <a:lnTo>
                    <a:pt x="18" y="66"/>
                  </a:lnTo>
                  <a:lnTo>
                    <a:pt x="8" y="76"/>
                  </a:lnTo>
                  <a:lnTo>
                    <a:pt x="0" y="84"/>
                  </a:lnTo>
                  <a:lnTo>
                    <a:pt x="0" y="88"/>
                  </a:lnTo>
                  <a:lnTo>
                    <a:pt x="2" y="90"/>
                  </a:lnTo>
                  <a:lnTo>
                    <a:pt x="2" y="9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1" name="Freeform 28"/>
            <p:cNvSpPr>
              <a:spLocks/>
            </p:cNvSpPr>
            <p:nvPr/>
          </p:nvSpPr>
          <p:spPr bwMode="auto">
            <a:xfrm>
              <a:off x="10045700" y="1412875"/>
              <a:ext cx="111125" cy="41275"/>
            </a:xfrm>
            <a:custGeom>
              <a:avLst/>
              <a:gdLst>
                <a:gd name="T0" fmla="*/ 46 w 70"/>
                <a:gd name="T1" fmla="*/ 24 h 26"/>
                <a:gd name="T2" fmla="*/ 46 w 70"/>
                <a:gd name="T3" fmla="*/ 24 h 26"/>
                <a:gd name="T4" fmla="*/ 56 w 70"/>
                <a:gd name="T5" fmla="*/ 22 h 26"/>
                <a:gd name="T6" fmla="*/ 64 w 70"/>
                <a:gd name="T7" fmla="*/ 20 h 26"/>
                <a:gd name="T8" fmla="*/ 68 w 70"/>
                <a:gd name="T9" fmla="*/ 16 h 26"/>
                <a:gd name="T10" fmla="*/ 70 w 70"/>
                <a:gd name="T11" fmla="*/ 12 h 26"/>
                <a:gd name="T12" fmla="*/ 70 w 70"/>
                <a:gd name="T13" fmla="*/ 8 h 26"/>
                <a:gd name="T14" fmla="*/ 68 w 70"/>
                <a:gd name="T15" fmla="*/ 4 h 26"/>
                <a:gd name="T16" fmla="*/ 66 w 70"/>
                <a:gd name="T17" fmla="*/ 2 h 26"/>
                <a:gd name="T18" fmla="*/ 60 w 70"/>
                <a:gd name="T19" fmla="*/ 0 h 26"/>
                <a:gd name="T20" fmla="*/ 60 w 70"/>
                <a:gd name="T21" fmla="*/ 0 h 26"/>
                <a:gd name="T22" fmla="*/ 54 w 70"/>
                <a:gd name="T23" fmla="*/ 0 h 26"/>
                <a:gd name="T24" fmla="*/ 50 w 70"/>
                <a:gd name="T25" fmla="*/ 0 h 26"/>
                <a:gd name="T26" fmla="*/ 44 w 70"/>
                <a:gd name="T27" fmla="*/ 4 h 26"/>
                <a:gd name="T28" fmla="*/ 38 w 70"/>
                <a:gd name="T29" fmla="*/ 8 h 26"/>
                <a:gd name="T30" fmla="*/ 34 w 70"/>
                <a:gd name="T31" fmla="*/ 10 h 26"/>
                <a:gd name="T32" fmla="*/ 34 w 70"/>
                <a:gd name="T33" fmla="*/ 10 h 26"/>
                <a:gd name="T34" fmla="*/ 24 w 70"/>
                <a:gd name="T35" fmla="*/ 10 h 26"/>
                <a:gd name="T36" fmla="*/ 12 w 70"/>
                <a:gd name="T37" fmla="*/ 12 h 26"/>
                <a:gd name="T38" fmla="*/ 2 w 70"/>
                <a:gd name="T39" fmla="*/ 16 h 26"/>
                <a:gd name="T40" fmla="*/ 0 w 70"/>
                <a:gd name="T41" fmla="*/ 18 h 26"/>
                <a:gd name="T42" fmla="*/ 2 w 70"/>
                <a:gd name="T43" fmla="*/ 22 h 26"/>
                <a:gd name="T44" fmla="*/ 2 w 70"/>
                <a:gd name="T45" fmla="*/ 22 h 26"/>
                <a:gd name="T46" fmla="*/ 4 w 70"/>
                <a:gd name="T47" fmla="*/ 24 h 26"/>
                <a:gd name="T48" fmla="*/ 10 w 70"/>
                <a:gd name="T49" fmla="*/ 26 h 26"/>
                <a:gd name="T50" fmla="*/ 20 w 70"/>
                <a:gd name="T51" fmla="*/ 26 h 26"/>
                <a:gd name="T52" fmla="*/ 46 w 70"/>
                <a:gd name="T53" fmla="*/ 24 h 26"/>
                <a:gd name="T54" fmla="*/ 46 w 70"/>
                <a:gd name="T5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26">
                  <a:moveTo>
                    <a:pt x="46" y="24"/>
                  </a:moveTo>
                  <a:lnTo>
                    <a:pt x="46" y="24"/>
                  </a:lnTo>
                  <a:lnTo>
                    <a:pt x="56" y="22"/>
                  </a:lnTo>
                  <a:lnTo>
                    <a:pt x="64" y="20"/>
                  </a:lnTo>
                  <a:lnTo>
                    <a:pt x="68" y="16"/>
                  </a:lnTo>
                  <a:lnTo>
                    <a:pt x="70" y="12"/>
                  </a:lnTo>
                  <a:lnTo>
                    <a:pt x="70" y="8"/>
                  </a:lnTo>
                  <a:lnTo>
                    <a:pt x="68" y="4"/>
                  </a:lnTo>
                  <a:lnTo>
                    <a:pt x="66" y="2"/>
                  </a:lnTo>
                  <a:lnTo>
                    <a:pt x="60" y="0"/>
                  </a:lnTo>
                  <a:lnTo>
                    <a:pt x="60" y="0"/>
                  </a:lnTo>
                  <a:lnTo>
                    <a:pt x="54" y="0"/>
                  </a:lnTo>
                  <a:lnTo>
                    <a:pt x="50" y="0"/>
                  </a:lnTo>
                  <a:lnTo>
                    <a:pt x="44" y="4"/>
                  </a:lnTo>
                  <a:lnTo>
                    <a:pt x="38" y="8"/>
                  </a:lnTo>
                  <a:lnTo>
                    <a:pt x="34" y="10"/>
                  </a:lnTo>
                  <a:lnTo>
                    <a:pt x="34" y="10"/>
                  </a:lnTo>
                  <a:lnTo>
                    <a:pt x="24" y="10"/>
                  </a:lnTo>
                  <a:lnTo>
                    <a:pt x="12" y="12"/>
                  </a:lnTo>
                  <a:lnTo>
                    <a:pt x="2" y="16"/>
                  </a:lnTo>
                  <a:lnTo>
                    <a:pt x="0" y="18"/>
                  </a:lnTo>
                  <a:lnTo>
                    <a:pt x="2" y="22"/>
                  </a:lnTo>
                  <a:lnTo>
                    <a:pt x="2" y="22"/>
                  </a:lnTo>
                  <a:lnTo>
                    <a:pt x="4" y="24"/>
                  </a:lnTo>
                  <a:lnTo>
                    <a:pt x="10" y="26"/>
                  </a:lnTo>
                  <a:lnTo>
                    <a:pt x="20" y="26"/>
                  </a:lnTo>
                  <a:lnTo>
                    <a:pt x="46" y="24"/>
                  </a:lnTo>
                  <a:lnTo>
                    <a:pt x="46" y="2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2" name="Freeform 29"/>
            <p:cNvSpPr>
              <a:spLocks/>
            </p:cNvSpPr>
            <p:nvPr/>
          </p:nvSpPr>
          <p:spPr bwMode="auto">
            <a:xfrm>
              <a:off x="9899650" y="1425575"/>
              <a:ext cx="127000" cy="57150"/>
            </a:xfrm>
            <a:custGeom>
              <a:avLst/>
              <a:gdLst>
                <a:gd name="T0" fmla="*/ 80 w 80"/>
                <a:gd name="T1" fmla="*/ 20 h 36"/>
                <a:gd name="T2" fmla="*/ 80 w 80"/>
                <a:gd name="T3" fmla="*/ 20 h 36"/>
                <a:gd name="T4" fmla="*/ 80 w 80"/>
                <a:gd name="T5" fmla="*/ 18 h 36"/>
                <a:gd name="T6" fmla="*/ 80 w 80"/>
                <a:gd name="T7" fmla="*/ 16 h 36"/>
                <a:gd name="T8" fmla="*/ 76 w 80"/>
                <a:gd name="T9" fmla="*/ 12 h 36"/>
                <a:gd name="T10" fmla="*/ 70 w 80"/>
                <a:gd name="T11" fmla="*/ 10 h 36"/>
                <a:gd name="T12" fmla="*/ 68 w 80"/>
                <a:gd name="T13" fmla="*/ 6 h 36"/>
                <a:gd name="T14" fmla="*/ 68 w 80"/>
                <a:gd name="T15" fmla="*/ 6 h 36"/>
                <a:gd name="T16" fmla="*/ 64 w 80"/>
                <a:gd name="T17" fmla="*/ 2 h 36"/>
                <a:gd name="T18" fmla="*/ 60 w 80"/>
                <a:gd name="T19" fmla="*/ 0 h 36"/>
                <a:gd name="T20" fmla="*/ 44 w 80"/>
                <a:gd name="T21" fmla="*/ 0 h 36"/>
                <a:gd name="T22" fmla="*/ 28 w 80"/>
                <a:gd name="T23" fmla="*/ 0 h 36"/>
                <a:gd name="T24" fmla="*/ 24 w 80"/>
                <a:gd name="T25" fmla="*/ 2 h 36"/>
                <a:gd name="T26" fmla="*/ 24 w 80"/>
                <a:gd name="T27" fmla="*/ 4 h 36"/>
                <a:gd name="T28" fmla="*/ 24 w 80"/>
                <a:gd name="T29" fmla="*/ 4 h 36"/>
                <a:gd name="T30" fmla="*/ 22 w 80"/>
                <a:gd name="T31" fmla="*/ 8 h 36"/>
                <a:gd name="T32" fmla="*/ 20 w 80"/>
                <a:gd name="T33" fmla="*/ 10 h 36"/>
                <a:gd name="T34" fmla="*/ 10 w 80"/>
                <a:gd name="T35" fmla="*/ 16 h 36"/>
                <a:gd name="T36" fmla="*/ 2 w 80"/>
                <a:gd name="T37" fmla="*/ 24 h 36"/>
                <a:gd name="T38" fmla="*/ 0 w 80"/>
                <a:gd name="T39" fmla="*/ 26 h 36"/>
                <a:gd name="T40" fmla="*/ 2 w 80"/>
                <a:gd name="T41" fmla="*/ 30 h 36"/>
                <a:gd name="T42" fmla="*/ 2 w 80"/>
                <a:gd name="T43" fmla="*/ 30 h 36"/>
                <a:gd name="T44" fmla="*/ 10 w 80"/>
                <a:gd name="T45" fmla="*/ 34 h 36"/>
                <a:gd name="T46" fmla="*/ 22 w 80"/>
                <a:gd name="T47" fmla="*/ 36 h 36"/>
                <a:gd name="T48" fmla="*/ 34 w 80"/>
                <a:gd name="T49" fmla="*/ 36 h 36"/>
                <a:gd name="T50" fmla="*/ 46 w 80"/>
                <a:gd name="T51" fmla="*/ 34 h 36"/>
                <a:gd name="T52" fmla="*/ 68 w 80"/>
                <a:gd name="T53" fmla="*/ 26 h 36"/>
                <a:gd name="T54" fmla="*/ 76 w 80"/>
                <a:gd name="T55" fmla="*/ 22 h 36"/>
                <a:gd name="T56" fmla="*/ 80 w 80"/>
                <a:gd name="T57" fmla="*/ 20 h 36"/>
                <a:gd name="T58" fmla="*/ 80 w 80"/>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36">
                  <a:moveTo>
                    <a:pt x="80" y="20"/>
                  </a:moveTo>
                  <a:lnTo>
                    <a:pt x="80" y="20"/>
                  </a:lnTo>
                  <a:lnTo>
                    <a:pt x="80" y="18"/>
                  </a:lnTo>
                  <a:lnTo>
                    <a:pt x="80" y="16"/>
                  </a:lnTo>
                  <a:lnTo>
                    <a:pt x="76" y="12"/>
                  </a:lnTo>
                  <a:lnTo>
                    <a:pt x="70" y="10"/>
                  </a:lnTo>
                  <a:lnTo>
                    <a:pt x="68" y="6"/>
                  </a:lnTo>
                  <a:lnTo>
                    <a:pt x="68" y="6"/>
                  </a:lnTo>
                  <a:lnTo>
                    <a:pt x="64" y="2"/>
                  </a:lnTo>
                  <a:lnTo>
                    <a:pt x="60" y="0"/>
                  </a:lnTo>
                  <a:lnTo>
                    <a:pt x="44" y="0"/>
                  </a:lnTo>
                  <a:lnTo>
                    <a:pt x="28" y="0"/>
                  </a:lnTo>
                  <a:lnTo>
                    <a:pt x="24" y="2"/>
                  </a:lnTo>
                  <a:lnTo>
                    <a:pt x="24" y="4"/>
                  </a:lnTo>
                  <a:lnTo>
                    <a:pt x="24" y="4"/>
                  </a:lnTo>
                  <a:lnTo>
                    <a:pt x="22" y="8"/>
                  </a:lnTo>
                  <a:lnTo>
                    <a:pt x="20" y="10"/>
                  </a:lnTo>
                  <a:lnTo>
                    <a:pt x="10" y="16"/>
                  </a:lnTo>
                  <a:lnTo>
                    <a:pt x="2" y="24"/>
                  </a:lnTo>
                  <a:lnTo>
                    <a:pt x="0" y="26"/>
                  </a:lnTo>
                  <a:lnTo>
                    <a:pt x="2" y="30"/>
                  </a:lnTo>
                  <a:lnTo>
                    <a:pt x="2" y="30"/>
                  </a:lnTo>
                  <a:lnTo>
                    <a:pt x="10" y="34"/>
                  </a:lnTo>
                  <a:lnTo>
                    <a:pt x="22" y="36"/>
                  </a:lnTo>
                  <a:lnTo>
                    <a:pt x="34" y="36"/>
                  </a:lnTo>
                  <a:lnTo>
                    <a:pt x="46" y="34"/>
                  </a:lnTo>
                  <a:lnTo>
                    <a:pt x="68" y="26"/>
                  </a:lnTo>
                  <a:lnTo>
                    <a:pt x="76" y="22"/>
                  </a:lnTo>
                  <a:lnTo>
                    <a:pt x="80" y="20"/>
                  </a:lnTo>
                  <a:lnTo>
                    <a:pt x="80" y="2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3" name="Freeform 30"/>
            <p:cNvSpPr>
              <a:spLocks/>
            </p:cNvSpPr>
            <p:nvPr/>
          </p:nvSpPr>
          <p:spPr bwMode="auto">
            <a:xfrm>
              <a:off x="9744075" y="1476375"/>
              <a:ext cx="146050" cy="47625"/>
            </a:xfrm>
            <a:custGeom>
              <a:avLst/>
              <a:gdLst>
                <a:gd name="T0" fmla="*/ 40 w 92"/>
                <a:gd name="T1" fmla="*/ 4 h 30"/>
                <a:gd name="T2" fmla="*/ 40 w 92"/>
                <a:gd name="T3" fmla="*/ 4 h 30"/>
                <a:gd name="T4" fmla="*/ 40 w 92"/>
                <a:gd name="T5" fmla="*/ 6 h 30"/>
                <a:gd name="T6" fmla="*/ 36 w 92"/>
                <a:gd name="T7" fmla="*/ 10 h 30"/>
                <a:gd name="T8" fmla="*/ 20 w 92"/>
                <a:gd name="T9" fmla="*/ 10 h 30"/>
                <a:gd name="T10" fmla="*/ 20 w 92"/>
                <a:gd name="T11" fmla="*/ 10 h 30"/>
                <a:gd name="T12" fmla="*/ 8 w 92"/>
                <a:gd name="T13" fmla="*/ 12 h 30"/>
                <a:gd name="T14" fmla="*/ 2 w 92"/>
                <a:gd name="T15" fmla="*/ 16 h 30"/>
                <a:gd name="T16" fmla="*/ 0 w 92"/>
                <a:gd name="T17" fmla="*/ 18 h 30"/>
                <a:gd name="T18" fmla="*/ 0 w 92"/>
                <a:gd name="T19" fmla="*/ 20 h 30"/>
                <a:gd name="T20" fmla="*/ 0 w 92"/>
                <a:gd name="T21" fmla="*/ 24 h 30"/>
                <a:gd name="T22" fmla="*/ 4 w 92"/>
                <a:gd name="T23" fmla="*/ 26 h 30"/>
                <a:gd name="T24" fmla="*/ 4 w 92"/>
                <a:gd name="T25" fmla="*/ 26 h 30"/>
                <a:gd name="T26" fmla="*/ 8 w 92"/>
                <a:gd name="T27" fmla="*/ 28 h 30"/>
                <a:gd name="T28" fmla="*/ 16 w 92"/>
                <a:gd name="T29" fmla="*/ 30 h 30"/>
                <a:gd name="T30" fmla="*/ 34 w 92"/>
                <a:gd name="T31" fmla="*/ 30 h 30"/>
                <a:gd name="T32" fmla="*/ 52 w 92"/>
                <a:gd name="T33" fmla="*/ 28 h 30"/>
                <a:gd name="T34" fmla="*/ 58 w 92"/>
                <a:gd name="T35" fmla="*/ 24 h 30"/>
                <a:gd name="T36" fmla="*/ 62 w 92"/>
                <a:gd name="T37" fmla="*/ 22 h 30"/>
                <a:gd name="T38" fmla="*/ 62 w 92"/>
                <a:gd name="T39" fmla="*/ 22 h 30"/>
                <a:gd name="T40" fmla="*/ 66 w 92"/>
                <a:gd name="T41" fmla="*/ 18 h 30"/>
                <a:gd name="T42" fmla="*/ 70 w 92"/>
                <a:gd name="T43" fmla="*/ 18 h 30"/>
                <a:gd name="T44" fmla="*/ 78 w 92"/>
                <a:gd name="T45" fmla="*/ 16 h 30"/>
                <a:gd name="T46" fmla="*/ 88 w 92"/>
                <a:gd name="T47" fmla="*/ 14 h 30"/>
                <a:gd name="T48" fmla="*/ 90 w 92"/>
                <a:gd name="T49" fmla="*/ 14 h 30"/>
                <a:gd name="T50" fmla="*/ 92 w 92"/>
                <a:gd name="T51" fmla="*/ 10 h 30"/>
                <a:gd name="T52" fmla="*/ 92 w 92"/>
                <a:gd name="T53" fmla="*/ 10 h 30"/>
                <a:gd name="T54" fmla="*/ 92 w 92"/>
                <a:gd name="T55" fmla="*/ 8 h 30"/>
                <a:gd name="T56" fmla="*/ 90 w 92"/>
                <a:gd name="T57" fmla="*/ 6 h 30"/>
                <a:gd name="T58" fmla="*/ 84 w 92"/>
                <a:gd name="T59" fmla="*/ 4 h 30"/>
                <a:gd name="T60" fmla="*/ 66 w 92"/>
                <a:gd name="T61" fmla="*/ 0 h 30"/>
                <a:gd name="T62" fmla="*/ 48 w 92"/>
                <a:gd name="T63" fmla="*/ 0 h 30"/>
                <a:gd name="T64" fmla="*/ 42 w 92"/>
                <a:gd name="T65" fmla="*/ 2 h 30"/>
                <a:gd name="T66" fmla="*/ 40 w 92"/>
                <a:gd name="T67" fmla="*/ 4 h 30"/>
                <a:gd name="T68" fmla="*/ 40 w 92"/>
                <a:gd name="T6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 h="30">
                  <a:moveTo>
                    <a:pt x="40" y="4"/>
                  </a:moveTo>
                  <a:lnTo>
                    <a:pt x="40" y="4"/>
                  </a:lnTo>
                  <a:lnTo>
                    <a:pt x="40" y="6"/>
                  </a:lnTo>
                  <a:lnTo>
                    <a:pt x="36" y="10"/>
                  </a:lnTo>
                  <a:lnTo>
                    <a:pt x="20" y="10"/>
                  </a:lnTo>
                  <a:lnTo>
                    <a:pt x="20" y="10"/>
                  </a:lnTo>
                  <a:lnTo>
                    <a:pt x="8" y="12"/>
                  </a:lnTo>
                  <a:lnTo>
                    <a:pt x="2" y="16"/>
                  </a:lnTo>
                  <a:lnTo>
                    <a:pt x="0" y="18"/>
                  </a:lnTo>
                  <a:lnTo>
                    <a:pt x="0" y="20"/>
                  </a:lnTo>
                  <a:lnTo>
                    <a:pt x="0" y="24"/>
                  </a:lnTo>
                  <a:lnTo>
                    <a:pt x="4" y="26"/>
                  </a:lnTo>
                  <a:lnTo>
                    <a:pt x="4" y="26"/>
                  </a:lnTo>
                  <a:lnTo>
                    <a:pt x="8" y="28"/>
                  </a:lnTo>
                  <a:lnTo>
                    <a:pt x="16" y="30"/>
                  </a:lnTo>
                  <a:lnTo>
                    <a:pt x="34" y="30"/>
                  </a:lnTo>
                  <a:lnTo>
                    <a:pt x="52" y="28"/>
                  </a:lnTo>
                  <a:lnTo>
                    <a:pt x="58" y="24"/>
                  </a:lnTo>
                  <a:lnTo>
                    <a:pt x="62" y="22"/>
                  </a:lnTo>
                  <a:lnTo>
                    <a:pt x="62" y="22"/>
                  </a:lnTo>
                  <a:lnTo>
                    <a:pt x="66" y="18"/>
                  </a:lnTo>
                  <a:lnTo>
                    <a:pt x="70" y="18"/>
                  </a:lnTo>
                  <a:lnTo>
                    <a:pt x="78" y="16"/>
                  </a:lnTo>
                  <a:lnTo>
                    <a:pt x="88" y="14"/>
                  </a:lnTo>
                  <a:lnTo>
                    <a:pt x="90" y="14"/>
                  </a:lnTo>
                  <a:lnTo>
                    <a:pt x="92" y="10"/>
                  </a:lnTo>
                  <a:lnTo>
                    <a:pt x="92" y="10"/>
                  </a:lnTo>
                  <a:lnTo>
                    <a:pt x="92" y="8"/>
                  </a:lnTo>
                  <a:lnTo>
                    <a:pt x="90" y="6"/>
                  </a:lnTo>
                  <a:lnTo>
                    <a:pt x="84" y="4"/>
                  </a:lnTo>
                  <a:lnTo>
                    <a:pt x="66" y="0"/>
                  </a:lnTo>
                  <a:lnTo>
                    <a:pt x="48" y="0"/>
                  </a:lnTo>
                  <a:lnTo>
                    <a:pt x="42" y="2"/>
                  </a:lnTo>
                  <a:lnTo>
                    <a:pt x="40" y="4"/>
                  </a:lnTo>
                  <a:lnTo>
                    <a:pt x="40"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4" name="Freeform 31"/>
            <p:cNvSpPr>
              <a:spLocks/>
            </p:cNvSpPr>
            <p:nvPr/>
          </p:nvSpPr>
          <p:spPr bwMode="auto">
            <a:xfrm>
              <a:off x="10356850" y="2127250"/>
              <a:ext cx="76200" cy="34925"/>
            </a:xfrm>
            <a:custGeom>
              <a:avLst/>
              <a:gdLst>
                <a:gd name="T0" fmla="*/ 6 w 48"/>
                <a:gd name="T1" fmla="*/ 22 h 22"/>
                <a:gd name="T2" fmla="*/ 6 w 48"/>
                <a:gd name="T3" fmla="*/ 22 h 22"/>
                <a:gd name="T4" fmla="*/ 16 w 48"/>
                <a:gd name="T5" fmla="*/ 22 h 22"/>
                <a:gd name="T6" fmla="*/ 30 w 48"/>
                <a:gd name="T7" fmla="*/ 20 h 22"/>
                <a:gd name="T8" fmla="*/ 42 w 48"/>
                <a:gd name="T9" fmla="*/ 16 h 22"/>
                <a:gd name="T10" fmla="*/ 48 w 48"/>
                <a:gd name="T11" fmla="*/ 12 h 22"/>
                <a:gd name="T12" fmla="*/ 48 w 48"/>
                <a:gd name="T13" fmla="*/ 12 h 22"/>
                <a:gd name="T14" fmla="*/ 48 w 48"/>
                <a:gd name="T15" fmla="*/ 10 h 22"/>
                <a:gd name="T16" fmla="*/ 46 w 48"/>
                <a:gd name="T17" fmla="*/ 8 h 22"/>
                <a:gd name="T18" fmla="*/ 40 w 48"/>
                <a:gd name="T19" fmla="*/ 4 h 22"/>
                <a:gd name="T20" fmla="*/ 30 w 48"/>
                <a:gd name="T21" fmla="*/ 2 h 22"/>
                <a:gd name="T22" fmla="*/ 18 w 48"/>
                <a:gd name="T23" fmla="*/ 0 h 22"/>
                <a:gd name="T24" fmla="*/ 18 w 48"/>
                <a:gd name="T25" fmla="*/ 0 h 22"/>
                <a:gd name="T26" fmla="*/ 12 w 48"/>
                <a:gd name="T27" fmla="*/ 0 h 22"/>
                <a:gd name="T28" fmla="*/ 6 w 48"/>
                <a:gd name="T29" fmla="*/ 4 h 22"/>
                <a:gd name="T30" fmla="*/ 4 w 48"/>
                <a:gd name="T31" fmla="*/ 6 h 22"/>
                <a:gd name="T32" fmla="*/ 2 w 48"/>
                <a:gd name="T33" fmla="*/ 10 h 22"/>
                <a:gd name="T34" fmla="*/ 0 w 48"/>
                <a:gd name="T35" fmla="*/ 14 h 22"/>
                <a:gd name="T36" fmla="*/ 2 w 48"/>
                <a:gd name="T37" fmla="*/ 18 h 22"/>
                <a:gd name="T38" fmla="*/ 2 w 48"/>
                <a:gd name="T39" fmla="*/ 20 h 22"/>
                <a:gd name="T40" fmla="*/ 6 w 48"/>
                <a:gd name="T41" fmla="*/ 22 h 22"/>
                <a:gd name="T42" fmla="*/ 6 w 48"/>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22">
                  <a:moveTo>
                    <a:pt x="6" y="22"/>
                  </a:moveTo>
                  <a:lnTo>
                    <a:pt x="6" y="22"/>
                  </a:lnTo>
                  <a:lnTo>
                    <a:pt x="16" y="22"/>
                  </a:lnTo>
                  <a:lnTo>
                    <a:pt x="30" y="20"/>
                  </a:lnTo>
                  <a:lnTo>
                    <a:pt x="42" y="16"/>
                  </a:lnTo>
                  <a:lnTo>
                    <a:pt x="48" y="12"/>
                  </a:lnTo>
                  <a:lnTo>
                    <a:pt x="48" y="12"/>
                  </a:lnTo>
                  <a:lnTo>
                    <a:pt x="48" y="10"/>
                  </a:lnTo>
                  <a:lnTo>
                    <a:pt x="46" y="8"/>
                  </a:lnTo>
                  <a:lnTo>
                    <a:pt x="40" y="4"/>
                  </a:lnTo>
                  <a:lnTo>
                    <a:pt x="30" y="2"/>
                  </a:lnTo>
                  <a:lnTo>
                    <a:pt x="18" y="0"/>
                  </a:lnTo>
                  <a:lnTo>
                    <a:pt x="18" y="0"/>
                  </a:lnTo>
                  <a:lnTo>
                    <a:pt x="12" y="0"/>
                  </a:lnTo>
                  <a:lnTo>
                    <a:pt x="6" y="4"/>
                  </a:lnTo>
                  <a:lnTo>
                    <a:pt x="4" y="6"/>
                  </a:lnTo>
                  <a:lnTo>
                    <a:pt x="2" y="10"/>
                  </a:lnTo>
                  <a:lnTo>
                    <a:pt x="0" y="14"/>
                  </a:lnTo>
                  <a:lnTo>
                    <a:pt x="2" y="18"/>
                  </a:lnTo>
                  <a:lnTo>
                    <a:pt x="2" y="20"/>
                  </a:lnTo>
                  <a:lnTo>
                    <a:pt x="6" y="22"/>
                  </a:lnTo>
                  <a:lnTo>
                    <a:pt x="6" y="2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5" name="Freeform 32"/>
            <p:cNvSpPr>
              <a:spLocks/>
            </p:cNvSpPr>
            <p:nvPr/>
          </p:nvSpPr>
          <p:spPr bwMode="auto">
            <a:xfrm>
              <a:off x="9534525" y="1822450"/>
              <a:ext cx="777875" cy="536575"/>
            </a:xfrm>
            <a:custGeom>
              <a:avLst/>
              <a:gdLst>
                <a:gd name="T0" fmla="*/ 58 w 490"/>
                <a:gd name="T1" fmla="*/ 214 h 338"/>
                <a:gd name="T2" fmla="*/ 38 w 490"/>
                <a:gd name="T3" fmla="*/ 218 h 338"/>
                <a:gd name="T4" fmla="*/ 50 w 490"/>
                <a:gd name="T5" fmla="*/ 234 h 338"/>
                <a:gd name="T6" fmla="*/ 48 w 490"/>
                <a:gd name="T7" fmla="*/ 240 h 338"/>
                <a:gd name="T8" fmla="*/ 34 w 490"/>
                <a:gd name="T9" fmla="*/ 252 h 338"/>
                <a:gd name="T10" fmla="*/ 18 w 490"/>
                <a:gd name="T11" fmla="*/ 260 h 338"/>
                <a:gd name="T12" fmla="*/ 0 w 490"/>
                <a:gd name="T13" fmla="*/ 270 h 338"/>
                <a:gd name="T14" fmla="*/ 4 w 490"/>
                <a:gd name="T15" fmla="*/ 282 h 338"/>
                <a:gd name="T16" fmla="*/ 28 w 490"/>
                <a:gd name="T17" fmla="*/ 286 h 338"/>
                <a:gd name="T18" fmla="*/ 30 w 490"/>
                <a:gd name="T19" fmla="*/ 300 h 338"/>
                <a:gd name="T20" fmla="*/ 40 w 490"/>
                <a:gd name="T21" fmla="*/ 310 h 338"/>
                <a:gd name="T22" fmla="*/ 44 w 490"/>
                <a:gd name="T23" fmla="*/ 298 h 338"/>
                <a:gd name="T24" fmla="*/ 50 w 490"/>
                <a:gd name="T25" fmla="*/ 294 h 338"/>
                <a:gd name="T26" fmla="*/ 68 w 490"/>
                <a:gd name="T27" fmla="*/ 308 h 338"/>
                <a:gd name="T28" fmla="*/ 64 w 490"/>
                <a:gd name="T29" fmla="*/ 320 h 338"/>
                <a:gd name="T30" fmla="*/ 100 w 490"/>
                <a:gd name="T31" fmla="*/ 332 h 338"/>
                <a:gd name="T32" fmla="*/ 168 w 490"/>
                <a:gd name="T33" fmla="*/ 336 h 338"/>
                <a:gd name="T34" fmla="*/ 170 w 490"/>
                <a:gd name="T35" fmla="*/ 330 h 338"/>
                <a:gd name="T36" fmla="*/ 134 w 490"/>
                <a:gd name="T37" fmla="*/ 300 h 338"/>
                <a:gd name="T38" fmla="*/ 116 w 490"/>
                <a:gd name="T39" fmla="*/ 268 h 338"/>
                <a:gd name="T40" fmla="*/ 124 w 490"/>
                <a:gd name="T41" fmla="*/ 240 h 338"/>
                <a:gd name="T42" fmla="*/ 134 w 490"/>
                <a:gd name="T43" fmla="*/ 226 h 338"/>
                <a:gd name="T44" fmla="*/ 146 w 490"/>
                <a:gd name="T45" fmla="*/ 208 h 338"/>
                <a:gd name="T46" fmla="*/ 162 w 490"/>
                <a:gd name="T47" fmla="*/ 184 h 338"/>
                <a:gd name="T48" fmla="*/ 174 w 490"/>
                <a:gd name="T49" fmla="*/ 180 h 338"/>
                <a:gd name="T50" fmla="*/ 180 w 490"/>
                <a:gd name="T51" fmla="*/ 164 h 338"/>
                <a:gd name="T52" fmla="*/ 194 w 490"/>
                <a:gd name="T53" fmla="*/ 158 h 338"/>
                <a:gd name="T54" fmla="*/ 202 w 490"/>
                <a:gd name="T55" fmla="*/ 136 h 338"/>
                <a:gd name="T56" fmla="*/ 220 w 490"/>
                <a:gd name="T57" fmla="*/ 132 h 338"/>
                <a:gd name="T58" fmla="*/ 232 w 490"/>
                <a:gd name="T59" fmla="*/ 124 h 338"/>
                <a:gd name="T60" fmla="*/ 260 w 490"/>
                <a:gd name="T61" fmla="*/ 114 h 338"/>
                <a:gd name="T62" fmla="*/ 282 w 490"/>
                <a:gd name="T63" fmla="*/ 96 h 338"/>
                <a:gd name="T64" fmla="*/ 414 w 490"/>
                <a:gd name="T65" fmla="*/ 52 h 338"/>
                <a:gd name="T66" fmla="*/ 476 w 490"/>
                <a:gd name="T67" fmla="*/ 30 h 338"/>
                <a:gd name="T68" fmla="*/ 486 w 490"/>
                <a:gd name="T69" fmla="*/ 4 h 338"/>
                <a:gd name="T70" fmla="*/ 454 w 490"/>
                <a:gd name="T71" fmla="*/ 0 h 338"/>
                <a:gd name="T72" fmla="*/ 402 w 490"/>
                <a:gd name="T73" fmla="*/ 20 h 338"/>
                <a:gd name="T74" fmla="*/ 368 w 490"/>
                <a:gd name="T75" fmla="*/ 28 h 338"/>
                <a:gd name="T76" fmla="*/ 330 w 490"/>
                <a:gd name="T77" fmla="*/ 40 h 338"/>
                <a:gd name="T78" fmla="*/ 302 w 490"/>
                <a:gd name="T79" fmla="*/ 36 h 338"/>
                <a:gd name="T80" fmla="*/ 272 w 490"/>
                <a:gd name="T81" fmla="*/ 42 h 338"/>
                <a:gd name="T82" fmla="*/ 254 w 490"/>
                <a:gd name="T83" fmla="*/ 46 h 338"/>
                <a:gd name="T84" fmla="*/ 228 w 490"/>
                <a:gd name="T85" fmla="*/ 56 h 338"/>
                <a:gd name="T86" fmla="*/ 194 w 490"/>
                <a:gd name="T87" fmla="*/ 70 h 338"/>
                <a:gd name="T88" fmla="*/ 182 w 490"/>
                <a:gd name="T89" fmla="*/ 76 h 338"/>
                <a:gd name="T90" fmla="*/ 172 w 490"/>
                <a:gd name="T91" fmla="*/ 84 h 338"/>
                <a:gd name="T92" fmla="*/ 156 w 490"/>
                <a:gd name="T93" fmla="*/ 94 h 338"/>
                <a:gd name="T94" fmla="*/ 146 w 490"/>
                <a:gd name="T95" fmla="*/ 90 h 338"/>
                <a:gd name="T96" fmla="*/ 138 w 490"/>
                <a:gd name="T97" fmla="*/ 98 h 338"/>
                <a:gd name="T98" fmla="*/ 142 w 490"/>
                <a:gd name="T99" fmla="*/ 110 h 338"/>
                <a:gd name="T100" fmla="*/ 128 w 490"/>
                <a:gd name="T101" fmla="*/ 124 h 338"/>
                <a:gd name="T102" fmla="*/ 128 w 490"/>
                <a:gd name="T103" fmla="*/ 130 h 338"/>
                <a:gd name="T104" fmla="*/ 118 w 490"/>
                <a:gd name="T105" fmla="*/ 142 h 338"/>
                <a:gd name="T106" fmla="*/ 118 w 490"/>
                <a:gd name="T107" fmla="*/ 150 h 338"/>
                <a:gd name="T108" fmla="*/ 92 w 490"/>
                <a:gd name="T109" fmla="*/ 158 h 338"/>
                <a:gd name="T110" fmla="*/ 84 w 490"/>
                <a:gd name="T111" fmla="*/ 174 h 338"/>
                <a:gd name="T112" fmla="*/ 98 w 490"/>
                <a:gd name="T113" fmla="*/ 178 h 338"/>
                <a:gd name="T114" fmla="*/ 86 w 490"/>
                <a:gd name="T115" fmla="*/ 192 h 338"/>
                <a:gd name="T116" fmla="*/ 74 w 490"/>
                <a:gd name="T117" fmla="*/ 200 h 338"/>
                <a:gd name="T118" fmla="*/ 62 w 490"/>
                <a:gd name="T119" fmla="*/ 2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0" h="338">
                  <a:moveTo>
                    <a:pt x="62" y="204"/>
                  </a:moveTo>
                  <a:lnTo>
                    <a:pt x="62" y="204"/>
                  </a:lnTo>
                  <a:lnTo>
                    <a:pt x="60" y="210"/>
                  </a:lnTo>
                  <a:lnTo>
                    <a:pt x="58" y="214"/>
                  </a:lnTo>
                  <a:lnTo>
                    <a:pt x="52" y="216"/>
                  </a:lnTo>
                  <a:lnTo>
                    <a:pt x="42" y="218"/>
                  </a:lnTo>
                  <a:lnTo>
                    <a:pt x="42" y="218"/>
                  </a:lnTo>
                  <a:lnTo>
                    <a:pt x="38" y="218"/>
                  </a:lnTo>
                  <a:lnTo>
                    <a:pt x="36" y="220"/>
                  </a:lnTo>
                  <a:lnTo>
                    <a:pt x="40" y="224"/>
                  </a:lnTo>
                  <a:lnTo>
                    <a:pt x="46" y="230"/>
                  </a:lnTo>
                  <a:lnTo>
                    <a:pt x="50" y="234"/>
                  </a:lnTo>
                  <a:lnTo>
                    <a:pt x="50" y="236"/>
                  </a:lnTo>
                  <a:lnTo>
                    <a:pt x="50" y="236"/>
                  </a:lnTo>
                  <a:lnTo>
                    <a:pt x="50" y="240"/>
                  </a:lnTo>
                  <a:lnTo>
                    <a:pt x="48" y="240"/>
                  </a:lnTo>
                  <a:lnTo>
                    <a:pt x="44" y="242"/>
                  </a:lnTo>
                  <a:lnTo>
                    <a:pt x="38" y="246"/>
                  </a:lnTo>
                  <a:lnTo>
                    <a:pt x="36" y="248"/>
                  </a:lnTo>
                  <a:lnTo>
                    <a:pt x="34" y="252"/>
                  </a:lnTo>
                  <a:lnTo>
                    <a:pt x="34" y="252"/>
                  </a:lnTo>
                  <a:lnTo>
                    <a:pt x="34" y="256"/>
                  </a:lnTo>
                  <a:lnTo>
                    <a:pt x="30" y="258"/>
                  </a:lnTo>
                  <a:lnTo>
                    <a:pt x="18" y="260"/>
                  </a:lnTo>
                  <a:lnTo>
                    <a:pt x="14" y="260"/>
                  </a:lnTo>
                  <a:lnTo>
                    <a:pt x="8" y="262"/>
                  </a:lnTo>
                  <a:lnTo>
                    <a:pt x="4" y="264"/>
                  </a:lnTo>
                  <a:lnTo>
                    <a:pt x="0" y="270"/>
                  </a:lnTo>
                  <a:lnTo>
                    <a:pt x="0" y="270"/>
                  </a:lnTo>
                  <a:lnTo>
                    <a:pt x="0" y="276"/>
                  </a:lnTo>
                  <a:lnTo>
                    <a:pt x="2" y="280"/>
                  </a:lnTo>
                  <a:lnTo>
                    <a:pt x="4" y="282"/>
                  </a:lnTo>
                  <a:lnTo>
                    <a:pt x="8" y="284"/>
                  </a:lnTo>
                  <a:lnTo>
                    <a:pt x="18" y="286"/>
                  </a:lnTo>
                  <a:lnTo>
                    <a:pt x="28" y="286"/>
                  </a:lnTo>
                  <a:lnTo>
                    <a:pt x="28" y="286"/>
                  </a:lnTo>
                  <a:lnTo>
                    <a:pt x="32" y="288"/>
                  </a:lnTo>
                  <a:lnTo>
                    <a:pt x="32" y="288"/>
                  </a:lnTo>
                  <a:lnTo>
                    <a:pt x="32" y="294"/>
                  </a:lnTo>
                  <a:lnTo>
                    <a:pt x="30" y="300"/>
                  </a:lnTo>
                  <a:lnTo>
                    <a:pt x="30" y="304"/>
                  </a:lnTo>
                  <a:lnTo>
                    <a:pt x="32" y="306"/>
                  </a:lnTo>
                  <a:lnTo>
                    <a:pt x="32" y="306"/>
                  </a:lnTo>
                  <a:lnTo>
                    <a:pt x="40" y="310"/>
                  </a:lnTo>
                  <a:lnTo>
                    <a:pt x="44" y="310"/>
                  </a:lnTo>
                  <a:lnTo>
                    <a:pt x="46" y="308"/>
                  </a:lnTo>
                  <a:lnTo>
                    <a:pt x="46" y="306"/>
                  </a:lnTo>
                  <a:lnTo>
                    <a:pt x="44" y="298"/>
                  </a:lnTo>
                  <a:lnTo>
                    <a:pt x="44" y="298"/>
                  </a:lnTo>
                  <a:lnTo>
                    <a:pt x="44" y="294"/>
                  </a:lnTo>
                  <a:lnTo>
                    <a:pt x="46" y="292"/>
                  </a:lnTo>
                  <a:lnTo>
                    <a:pt x="50" y="294"/>
                  </a:lnTo>
                  <a:lnTo>
                    <a:pt x="56" y="296"/>
                  </a:lnTo>
                  <a:lnTo>
                    <a:pt x="62" y="300"/>
                  </a:lnTo>
                  <a:lnTo>
                    <a:pt x="66" y="304"/>
                  </a:lnTo>
                  <a:lnTo>
                    <a:pt x="68" y="308"/>
                  </a:lnTo>
                  <a:lnTo>
                    <a:pt x="66" y="312"/>
                  </a:lnTo>
                  <a:lnTo>
                    <a:pt x="66" y="312"/>
                  </a:lnTo>
                  <a:lnTo>
                    <a:pt x="62" y="316"/>
                  </a:lnTo>
                  <a:lnTo>
                    <a:pt x="64" y="320"/>
                  </a:lnTo>
                  <a:lnTo>
                    <a:pt x="66" y="324"/>
                  </a:lnTo>
                  <a:lnTo>
                    <a:pt x="72" y="326"/>
                  </a:lnTo>
                  <a:lnTo>
                    <a:pt x="86" y="330"/>
                  </a:lnTo>
                  <a:lnTo>
                    <a:pt x="100" y="332"/>
                  </a:lnTo>
                  <a:lnTo>
                    <a:pt x="100" y="332"/>
                  </a:lnTo>
                  <a:lnTo>
                    <a:pt x="140" y="338"/>
                  </a:lnTo>
                  <a:lnTo>
                    <a:pt x="162" y="338"/>
                  </a:lnTo>
                  <a:lnTo>
                    <a:pt x="168" y="336"/>
                  </a:lnTo>
                  <a:lnTo>
                    <a:pt x="170" y="334"/>
                  </a:lnTo>
                  <a:lnTo>
                    <a:pt x="170" y="332"/>
                  </a:lnTo>
                  <a:lnTo>
                    <a:pt x="170" y="332"/>
                  </a:lnTo>
                  <a:lnTo>
                    <a:pt x="170" y="330"/>
                  </a:lnTo>
                  <a:lnTo>
                    <a:pt x="168" y="326"/>
                  </a:lnTo>
                  <a:lnTo>
                    <a:pt x="158" y="320"/>
                  </a:lnTo>
                  <a:lnTo>
                    <a:pt x="146" y="310"/>
                  </a:lnTo>
                  <a:lnTo>
                    <a:pt x="134" y="300"/>
                  </a:lnTo>
                  <a:lnTo>
                    <a:pt x="134" y="300"/>
                  </a:lnTo>
                  <a:lnTo>
                    <a:pt x="122" y="284"/>
                  </a:lnTo>
                  <a:lnTo>
                    <a:pt x="118" y="276"/>
                  </a:lnTo>
                  <a:lnTo>
                    <a:pt x="116" y="268"/>
                  </a:lnTo>
                  <a:lnTo>
                    <a:pt x="114" y="260"/>
                  </a:lnTo>
                  <a:lnTo>
                    <a:pt x="116" y="252"/>
                  </a:lnTo>
                  <a:lnTo>
                    <a:pt x="118" y="246"/>
                  </a:lnTo>
                  <a:lnTo>
                    <a:pt x="124" y="240"/>
                  </a:lnTo>
                  <a:lnTo>
                    <a:pt x="124" y="240"/>
                  </a:lnTo>
                  <a:lnTo>
                    <a:pt x="130" y="236"/>
                  </a:lnTo>
                  <a:lnTo>
                    <a:pt x="132" y="232"/>
                  </a:lnTo>
                  <a:lnTo>
                    <a:pt x="134" y="226"/>
                  </a:lnTo>
                  <a:lnTo>
                    <a:pt x="136" y="218"/>
                  </a:lnTo>
                  <a:lnTo>
                    <a:pt x="140" y="214"/>
                  </a:lnTo>
                  <a:lnTo>
                    <a:pt x="146" y="208"/>
                  </a:lnTo>
                  <a:lnTo>
                    <a:pt x="146" y="208"/>
                  </a:lnTo>
                  <a:lnTo>
                    <a:pt x="152" y="204"/>
                  </a:lnTo>
                  <a:lnTo>
                    <a:pt x="156" y="200"/>
                  </a:lnTo>
                  <a:lnTo>
                    <a:pt x="160" y="190"/>
                  </a:lnTo>
                  <a:lnTo>
                    <a:pt x="162" y="184"/>
                  </a:lnTo>
                  <a:lnTo>
                    <a:pt x="166" y="182"/>
                  </a:lnTo>
                  <a:lnTo>
                    <a:pt x="170" y="180"/>
                  </a:lnTo>
                  <a:lnTo>
                    <a:pt x="170" y="180"/>
                  </a:lnTo>
                  <a:lnTo>
                    <a:pt x="174" y="180"/>
                  </a:lnTo>
                  <a:lnTo>
                    <a:pt x="176" y="178"/>
                  </a:lnTo>
                  <a:lnTo>
                    <a:pt x="178" y="172"/>
                  </a:lnTo>
                  <a:lnTo>
                    <a:pt x="178" y="166"/>
                  </a:lnTo>
                  <a:lnTo>
                    <a:pt x="180" y="164"/>
                  </a:lnTo>
                  <a:lnTo>
                    <a:pt x="184" y="162"/>
                  </a:lnTo>
                  <a:lnTo>
                    <a:pt x="184" y="162"/>
                  </a:lnTo>
                  <a:lnTo>
                    <a:pt x="190" y="160"/>
                  </a:lnTo>
                  <a:lnTo>
                    <a:pt x="194" y="158"/>
                  </a:lnTo>
                  <a:lnTo>
                    <a:pt x="200" y="150"/>
                  </a:lnTo>
                  <a:lnTo>
                    <a:pt x="202" y="142"/>
                  </a:lnTo>
                  <a:lnTo>
                    <a:pt x="202" y="136"/>
                  </a:lnTo>
                  <a:lnTo>
                    <a:pt x="202" y="136"/>
                  </a:lnTo>
                  <a:lnTo>
                    <a:pt x="202" y="134"/>
                  </a:lnTo>
                  <a:lnTo>
                    <a:pt x="204" y="132"/>
                  </a:lnTo>
                  <a:lnTo>
                    <a:pt x="210" y="132"/>
                  </a:lnTo>
                  <a:lnTo>
                    <a:pt x="220" y="132"/>
                  </a:lnTo>
                  <a:lnTo>
                    <a:pt x="224" y="130"/>
                  </a:lnTo>
                  <a:lnTo>
                    <a:pt x="228" y="126"/>
                  </a:lnTo>
                  <a:lnTo>
                    <a:pt x="228" y="126"/>
                  </a:lnTo>
                  <a:lnTo>
                    <a:pt x="232" y="124"/>
                  </a:lnTo>
                  <a:lnTo>
                    <a:pt x="236" y="122"/>
                  </a:lnTo>
                  <a:lnTo>
                    <a:pt x="246" y="120"/>
                  </a:lnTo>
                  <a:lnTo>
                    <a:pt x="256" y="116"/>
                  </a:lnTo>
                  <a:lnTo>
                    <a:pt x="260" y="114"/>
                  </a:lnTo>
                  <a:lnTo>
                    <a:pt x="264" y="110"/>
                  </a:lnTo>
                  <a:lnTo>
                    <a:pt x="264" y="110"/>
                  </a:lnTo>
                  <a:lnTo>
                    <a:pt x="270" y="104"/>
                  </a:lnTo>
                  <a:lnTo>
                    <a:pt x="282" y="96"/>
                  </a:lnTo>
                  <a:lnTo>
                    <a:pt x="322" y="80"/>
                  </a:lnTo>
                  <a:lnTo>
                    <a:pt x="370" y="64"/>
                  </a:lnTo>
                  <a:lnTo>
                    <a:pt x="414" y="52"/>
                  </a:lnTo>
                  <a:lnTo>
                    <a:pt x="414" y="52"/>
                  </a:lnTo>
                  <a:lnTo>
                    <a:pt x="434" y="48"/>
                  </a:lnTo>
                  <a:lnTo>
                    <a:pt x="450" y="42"/>
                  </a:lnTo>
                  <a:lnTo>
                    <a:pt x="466" y="36"/>
                  </a:lnTo>
                  <a:lnTo>
                    <a:pt x="476" y="30"/>
                  </a:lnTo>
                  <a:lnTo>
                    <a:pt x="484" y="22"/>
                  </a:lnTo>
                  <a:lnTo>
                    <a:pt x="490" y="16"/>
                  </a:lnTo>
                  <a:lnTo>
                    <a:pt x="490" y="10"/>
                  </a:lnTo>
                  <a:lnTo>
                    <a:pt x="486" y="4"/>
                  </a:lnTo>
                  <a:lnTo>
                    <a:pt x="486" y="4"/>
                  </a:lnTo>
                  <a:lnTo>
                    <a:pt x="476" y="0"/>
                  </a:lnTo>
                  <a:lnTo>
                    <a:pt x="466" y="0"/>
                  </a:lnTo>
                  <a:lnTo>
                    <a:pt x="454" y="0"/>
                  </a:lnTo>
                  <a:lnTo>
                    <a:pt x="442" y="2"/>
                  </a:lnTo>
                  <a:lnTo>
                    <a:pt x="418" y="12"/>
                  </a:lnTo>
                  <a:lnTo>
                    <a:pt x="402" y="20"/>
                  </a:lnTo>
                  <a:lnTo>
                    <a:pt x="402" y="20"/>
                  </a:lnTo>
                  <a:lnTo>
                    <a:pt x="396" y="24"/>
                  </a:lnTo>
                  <a:lnTo>
                    <a:pt x="390" y="26"/>
                  </a:lnTo>
                  <a:lnTo>
                    <a:pt x="380" y="26"/>
                  </a:lnTo>
                  <a:lnTo>
                    <a:pt x="368" y="28"/>
                  </a:lnTo>
                  <a:lnTo>
                    <a:pt x="356" y="30"/>
                  </a:lnTo>
                  <a:lnTo>
                    <a:pt x="356" y="30"/>
                  </a:lnTo>
                  <a:lnTo>
                    <a:pt x="346" y="36"/>
                  </a:lnTo>
                  <a:lnTo>
                    <a:pt x="330" y="40"/>
                  </a:lnTo>
                  <a:lnTo>
                    <a:pt x="316" y="40"/>
                  </a:lnTo>
                  <a:lnTo>
                    <a:pt x="308" y="38"/>
                  </a:lnTo>
                  <a:lnTo>
                    <a:pt x="302" y="36"/>
                  </a:lnTo>
                  <a:lnTo>
                    <a:pt x="302" y="36"/>
                  </a:lnTo>
                  <a:lnTo>
                    <a:pt x="298" y="34"/>
                  </a:lnTo>
                  <a:lnTo>
                    <a:pt x="292" y="34"/>
                  </a:lnTo>
                  <a:lnTo>
                    <a:pt x="282" y="38"/>
                  </a:lnTo>
                  <a:lnTo>
                    <a:pt x="272" y="42"/>
                  </a:lnTo>
                  <a:lnTo>
                    <a:pt x="266" y="44"/>
                  </a:lnTo>
                  <a:lnTo>
                    <a:pt x="262" y="46"/>
                  </a:lnTo>
                  <a:lnTo>
                    <a:pt x="262" y="46"/>
                  </a:lnTo>
                  <a:lnTo>
                    <a:pt x="254" y="46"/>
                  </a:lnTo>
                  <a:lnTo>
                    <a:pt x="246" y="50"/>
                  </a:lnTo>
                  <a:lnTo>
                    <a:pt x="238" y="54"/>
                  </a:lnTo>
                  <a:lnTo>
                    <a:pt x="228" y="56"/>
                  </a:lnTo>
                  <a:lnTo>
                    <a:pt x="228" y="56"/>
                  </a:lnTo>
                  <a:lnTo>
                    <a:pt x="218" y="56"/>
                  </a:lnTo>
                  <a:lnTo>
                    <a:pt x="208" y="60"/>
                  </a:lnTo>
                  <a:lnTo>
                    <a:pt x="198" y="66"/>
                  </a:lnTo>
                  <a:lnTo>
                    <a:pt x="194" y="70"/>
                  </a:lnTo>
                  <a:lnTo>
                    <a:pt x="194" y="70"/>
                  </a:lnTo>
                  <a:lnTo>
                    <a:pt x="192" y="72"/>
                  </a:lnTo>
                  <a:lnTo>
                    <a:pt x="190" y="74"/>
                  </a:lnTo>
                  <a:lnTo>
                    <a:pt x="182" y="76"/>
                  </a:lnTo>
                  <a:lnTo>
                    <a:pt x="176" y="78"/>
                  </a:lnTo>
                  <a:lnTo>
                    <a:pt x="174" y="80"/>
                  </a:lnTo>
                  <a:lnTo>
                    <a:pt x="172" y="84"/>
                  </a:lnTo>
                  <a:lnTo>
                    <a:pt x="172" y="84"/>
                  </a:lnTo>
                  <a:lnTo>
                    <a:pt x="172" y="86"/>
                  </a:lnTo>
                  <a:lnTo>
                    <a:pt x="170" y="88"/>
                  </a:lnTo>
                  <a:lnTo>
                    <a:pt x="164" y="94"/>
                  </a:lnTo>
                  <a:lnTo>
                    <a:pt x="156" y="94"/>
                  </a:lnTo>
                  <a:lnTo>
                    <a:pt x="152" y="94"/>
                  </a:lnTo>
                  <a:lnTo>
                    <a:pt x="150" y="92"/>
                  </a:lnTo>
                  <a:lnTo>
                    <a:pt x="150" y="92"/>
                  </a:lnTo>
                  <a:lnTo>
                    <a:pt x="146" y="90"/>
                  </a:lnTo>
                  <a:lnTo>
                    <a:pt x="144" y="90"/>
                  </a:lnTo>
                  <a:lnTo>
                    <a:pt x="140" y="92"/>
                  </a:lnTo>
                  <a:lnTo>
                    <a:pt x="138" y="94"/>
                  </a:lnTo>
                  <a:lnTo>
                    <a:pt x="138" y="98"/>
                  </a:lnTo>
                  <a:lnTo>
                    <a:pt x="138" y="102"/>
                  </a:lnTo>
                  <a:lnTo>
                    <a:pt x="140" y="106"/>
                  </a:lnTo>
                  <a:lnTo>
                    <a:pt x="142" y="110"/>
                  </a:lnTo>
                  <a:lnTo>
                    <a:pt x="142" y="110"/>
                  </a:lnTo>
                  <a:lnTo>
                    <a:pt x="144" y="114"/>
                  </a:lnTo>
                  <a:lnTo>
                    <a:pt x="144" y="116"/>
                  </a:lnTo>
                  <a:lnTo>
                    <a:pt x="138" y="120"/>
                  </a:lnTo>
                  <a:lnTo>
                    <a:pt x="128" y="124"/>
                  </a:lnTo>
                  <a:lnTo>
                    <a:pt x="126" y="126"/>
                  </a:lnTo>
                  <a:lnTo>
                    <a:pt x="128" y="128"/>
                  </a:lnTo>
                  <a:lnTo>
                    <a:pt x="128" y="128"/>
                  </a:lnTo>
                  <a:lnTo>
                    <a:pt x="128" y="130"/>
                  </a:lnTo>
                  <a:lnTo>
                    <a:pt x="128" y="132"/>
                  </a:lnTo>
                  <a:lnTo>
                    <a:pt x="124" y="136"/>
                  </a:lnTo>
                  <a:lnTo>
                    <a:pt x="120" y="140"/>
                  </a:lnTo>
                  <a:lnTo>
                    <a:pt x="118" y="142"/>
                  </a:lnTo>
                  <a:lnTo>
                    <a:pt x="120" y="146"/>
                  </a:lnTo>
                  <a:lnTo>
                    <a:pt x="120" y="146"/>
                  </a:lnTo>
                  <a:lnTo>
                    <a:pt x="120" y="148"/>
                  </a:lnTo>
                  <a:lnTo>
                    <a:pt x="118" y="150"/>
                  </a:lnTo>
                  <a:lnTo>
                    <a:pt x="114" y="154"/>
                  </a:lnTo>
                  <a:lnTo>
                    <a:pt x="96" y="158"/>
                  </a:lnTo>
                  <a:lnTo>
                    <a:pt x="96" y="158"/>
                  </a:lnTo>
                  <a:lnTo>
                    <a:pt x="92" y="158"/>
                  </a:lnTo>
                  <a:lnTo>
                    <a:pt x="88" y="162"/>
                  </a:lnTo>
                  <a:lnTo>
                    <a:pt x="84" y="168"/>
                  </a:lnTo>
                  <a:lnTo>
                    <a:pt x="84" y="170"/>
                  </a:lnTo>
                  <a:lnTo>
                    <a:pt x="84" y="174"/>
                  </a:lnTo>
                  <a:lnTo>
                    <a:pt x="88" y="176"/>
                  </a:lnTo>
                  <a:lnTo>
                    <a:pt x="92" y="176"/>
                  </a:lnTo>
                  <a:lnTo>
                    <a:pt x="92" y="176"/>
                  </a:lnTo>
                  <a:lnTo>
                    <a:pt x="98" y="178"/>
                  </a:lnTo>
                  <a:lnTo>
                    <a:pt x="94" y="180"/>
                  </a:lnTo>
                  <a:lnTo>
                    <a:pt x="88" y="184"/>
                  </a:lnTo>
                  <a:lnTo>
                    <a:pt x="86" y="188"/>
                  </a:lnTo>
                  <a:lnTo>
                    <a:pt x="86" y="192"/>
                  </a:lnTo>
                  <a:lnTo>
                    <a:pt x="86" y="192"/>
                  </a:lnTo>
                  <a:lnTo>
                    <a:pt x="84" y="196"/>
                  </a:lnTo>
                  <a:lnTo>
                    <a:pt x="82" y="198"/>
                  </a:lnTo>
                  <a:lnTo>
                    <a:pt x="74" y="200"/>
                  </a:lnTo>
                  <a:lnTo>
                    <a:pt x="64" y="200"/>
                  </a:lnTo>
                  <a:lnTo>
                    <a:pt x="62" y="202"/>
                  </a:lnTo>
                  <a:lnTo>
                    <a:pt x="62" y="204"/>
                  </a:lnTo>
                  <a:lnTo>
                    <a:pt x="62" y="20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6" name="Freeform 33"/>
            <p:cNvSpPr>
              <a:spLocks/>
            </p:cNvSpPr>
            <p:nvPr/>
          </p:nvSpPr>
          <p:spPr bwMode="auto">
            <a:xfrm>
              <a:off x="9671050" y="1406525"/>
              <a:ext cx="152400" cy="57150"/>
            </a:xfrm>
            <a:custGeom>
              <a:avLst/>
              <a:gdLst>
                <a:gd name="T0" fmla="*/ 96 w 96"/>
                <a:gd name="T1" fmla="*/ 18 h 36"/>
                <a:gd name="T2" fmla="*/ 96 w 96"/>
                <a:gd name="T3" fmla="*/ 18 h 36"/>
                <a:gd name="T4" fmla="*/ 94 w 96"/>
                <a:gd name="T5" fmla="*/ 14 h 36"/>
                <a:gd name="T6" fmla="*/ 92 w 96"/>
                <a:gd name="T7" fmla="*/ 12 h 36"/>
                <a:gd name="T8" fmla="*/ 88 w 96"/>
                <a:gd name="T9" fmla="*/ 10 h 36"/>
                <a:gd name="T10" fmla="*/ 80 w 96"/>
                <a:gd name="T11" fmla="*/ 10 h 36"/>
                <a:gd name="T12" fmla="*/ 66 w 96"/>
                <a:gd name="T13" fmla="*/ 10 h 36"/>
                <a:gd name="T14" fmla="*/ 56 w 96"/>
                <a:gd name="T15" fmla="*/ 10 h 36"/>
                <a:gd name="T16" fmla="*/ 48 w 96"/>
                <a:gd name="T17" fmla="*/ 6 h 36"/>
                <a:gd name="T18" fmla="*/ 48 w 96"/>
                <a:gd name="T19" fmla="*/ 6 h 36"/>
                <a:gd name="T20" fmla="*/ 34 w 96"/>
                <a:gd name="T21" fmla="*/ 2 h 36"/>
                <a:gd name="T22" fmla="*/ 26 w 96"/>
                <a:gd name="T23" fmla="*/ 0 h 36"/>
                <a:gd name="T24" fmla="*/ 24 w 96"/>
                <a:gd name="T25" fmla="*/ 2 h 36"/>
                <a:gd name="T26" fmla="*/ 24 w 96"/>
                <a:gd name="T27" fmla="*/ 4 h 36"/>
                <a:gd name="T28" fmla="*/ 30 w 96"/>
                <a:gd name="T29" fmla="*/ 10 h 36"/>
                <a:gd name="T30" fmla="*/ 30 w 96"/>
                <a:gd name="T31" fmla="*/ 10 h 36"/>
                <a:gd name="T32" fmla="*/ 30 w 96"/>
                <a:gd name="T33" fmla="*/ 12 h 36"/>
                <a:gd name="T34" fmla="*/ 26 w 96"/>
                <a:gd name="T35" fmla="*/ 14 h 36"/>
                <a:gd name="T36" fmla="*/ 14 w 96"/>
                <a:gd name="T37" fmla="*/ 18 h 36"/>
                <a:gd name="T38" fmla="*/ 2 w 96"/>
                <a:gd name="T39" fmla="*/ 22 h 36"/>
                <a:gd name="T40" fmla="*/ 0 w 96"/>
                <a:gd name="T41" fmla="*/ 26 h 36"/>
                <a:gd name="T42" fmla="*/ 0 w 96"/>
                <a:gd name="T43" fmla="*/ 28 h 36"/>
                <a:gd name="T44" fmla="*/ 0 w 96"/>
                <a:gd name="T45" fmla="*/ 28 h 36"/>
                <a:gd name="T46" fmla="*/ 8 w 96"/>
                <a:gd name="T47" fmla="*/ 32 h 36"/>
                <a:gd name="T48" fmla="*/ 22 w 96"/>
                <a:gd name="T49" fmla="*/ 36 h 36"/>
                <a:gd name="T50" fmla="*/ 36 w 96"/>
                <a:gd name="T51" fmla="*/ 36 h 36"/>
                <a:gd name="T52" fmla="*/ 52 w 96"/>
                <a:gd name="T53" fmla="*/ 36 h 36"/>
                <a:gd name="T54" fmla="*/ 68 w 96"/>
                <a:gd name="T55" fmla="*/ 34 h 36"/>
                <a:gd name="T56" fmla="*/ 82 w 96"/>
                <a:gd name="T57" fmla="*/ 30 h 36"/>
                <a:gd name="T58" fmla="*/ 92 w 96"/>
                <a:gd name="T59" fmla="*/ 24 h 36"/>
                <a:gd name="T60" fmla="*/ 94 w 96"/>
                <a:gd name="T61" fmla="*/ 22 h 36"/>
                <a:gd name="T62" fmla="*/ 96 w 96"/>
                <a:gd name="T63" fmla="*/ 18 h 36"/>
                <a:gd name="T64" fmla="*/ 96 w 96"/>
                <a:gd name="T6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36">
                  <a:moveTo>
                    <a:pt x="96" y="18"/>
                  </a:moveTo>
                  <a:lnTo>
                    <a:pt x="96" y="18"/>
                  </a:lnTo>
                  <a:lnTo>
                    <a:pt x="94" y="14"/>
                  </a:lnTo>
                  <a:lnTo>
                    <a:pt x="92" y="12"/>
                  </a:lnTo>
                  <a:lnTo>
                    <a:pt x="88" y="10"/>
                  </a:lnTo>
                  <a:lnTo>
                    <a:pt x="80" y="10"/>
                  </a:lnTo>
                  <a:lnTo>
                    <a:pt x="66" y="10"/>
                  </a:lnTo>
                  <a:lnTo>
                    <a:pt x="56" y="10"/>
                  </a:lnTo>
                  <a:lnTo>
                    <a:pt x="48" y="6"/>
                  </a:lnTo>
                  <a:lnTo>
                    <a:pt x="48" y="6"/>
                  </a:lnTo>
                  <a:lnTo>
                    <a:pt x="34" y="2"/>
                  </a:lnTo>
                  <a:lnTo>
                    <a:pt x="26" y="0"/>
                  </a:lnTo>
                  <a:lnTo>
                    <a:pt x="24" y="2"/>
                  </a:lnTo>
                  <a:lnTo>
                    <a:pt x="24" y="4"/>
                  </a:lnTo>
                  <a:lnTo>
                    <a:pt x="30" y="10"/>
                  </a:lnTo>
                  <a:lnTo>
                    <a:pt x="30" y="10"/>
                  </a:lnTo>
                  <a:lnTo>
                    <a:pt x="30" y="12"/>
                  </a:lnTo>
                  <a:lnTo>
                    <a:pt x="26" y="14"/>
                  </a:lnTo>
                  <a:lnTo>
                    <a:pt x="14" y="18"/>
                  </a:lnTo>
                  <a:lnTo>
                    <a:pt x="2" y="22"/>
                  </a:lnTo>
                  <a:lnTo>
                    <a:pt x="0" y="26"/>
                  </a:lnTo>
                  <a:lnTo>
                    <a:pt x="0" y="28"/>
                  </a:lnTo>
                  <a:lnTo>
                    <a:pt x="0" y="28"/>
                  </a:lnTo>
                  <a:lnTo>
                    <a:pt x="8" y="32"/>
                  </a:lnTo>
                  <a:lnTo>
                    <a:pt x="22" y="36"/>
                  </a:lnTo>
                  <a:lnTo>
                    <a:pt x="36" y="36"/>
                  </a:lnTo>
                  <a:lnTo>
                    <a:pt x="52" y="36"/>
                  </a:lnTo>
                  <a:lnTo>
                    <a:pt x="68" y="34"/>
                  </a:lnTo>
                  <a:lnTo>
                    <a:pt x="82" y="30"/>
                  </a:lnTo>
                  <a:lnTo>
                    <a:pt x="92" y="24"/>
                  </a:lnTo>
                  <a:lnTo>
                    <a:pt x="94" y="22"/>
                  </a:lnTo>
                  <a:lnTo>
                    <a:pt x="96" y="18"/>
                  </a:lnTo>
                  <a:lnTo>
                    <a:pt x="96" y="1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7" name="Freeform 34"/>
            <p:cNvSpPr>
              <a:spLocks/>
            </p:cNvSpPr>
            <p:nvPr/>
          </p:nvSpPr>
          <p:spPr bwMode="auto">
            <a:xfrm>
              <a:off x="9585325" y="1489075"/>
              <a:ext cx="57150" cy="22225"/>
            </a:xfrm>
            <a:custGeom>
              <a:avLst/>
              <a:gdLst>
                <a:gd name="T0" fmla="*/ 36 w 36"/>
                <a:gd name="T1" fmla="*/ 6 h 14"/>
                <a:gd name="T2" fmla="*/ 36 w 36"/>
                <a:gd name="T3" fmla="*/ 6 h 14"/>
                <a:gd name="T4" fmla="*/ 34 w 36"/>
                <a:gd name="T5" fmla="*/ 2 h 14"/>
                <a:gd name="T6" fmla="*/ 30 w 36"/>
                <a:gd name="T7" fmla="*/ 0 h 14"/>
                <a:gd name="T8" fmla="*/ 22 w 36"/>
                <a:gd name="T9" fmla="*/ 0 h 14"/>
                <a:gd name="T10" fmla="*/ 16 w 36"/>
                <a:gd name="T11" fmla="*/ 2 h 14"/>
                <a:gd name="T12" fmla="*/ 4 w 36"/>
                <a:gd name="T13" fmla="*/ 6 h 14"/>
                <a:gd name="T14" fmla="*/ 0 w 36"/>
                <a:gd name="T15" fmla="*/ 8 h 14"/>
                <a:gd name="T16" fmla="*/ 2 w 36"/>
                <a:gd name="T17" fmla="*/ 10 h 14"/>
                <a:gd name="T18" fmla="*/ 2 w 36"/>
                <a:gd name="T19" fmla="*/ 10 h 14"/>
                <a:gd name="T20" fmla="*/ 10 w 36"/>
                <a:gd name="T21" fmla="*/ 12 h 14"/>
                <a:gd name="T22" fmla="*/ 22 w 36"/>
                <a:gd name="T23" fmla="*/ 14 h 14"/>
                <a:gd name="T24" fmla="*/ 26 w 36"/>
                <a:gd name="T25" fmla="*/ 14 h 14"/>
                <a:gd name="T26" fmla="*/ 32 w 36"/>
                <a:gd name="T27" fmla="*/ 12 h 14"/>
                <a:gd name="T28" fmla="*/ 34 w 36"/>
                <a:gd name="T29" fmla="*/ 10 h 14"/>
                <a:gd name="T30" fmla="*/ 36 w 36"/>
                <a:gd name="T31" fmla="*/ 6 h 14"/>
                <a:gd name="T32" fmla="*/ 36 w 36"/>
                <a:gd name="T3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4">
                  <a:moveTo>
                    <a:pt x="36" y="6"/>
                  </a:moveTo>
                  <a:lnTo>
                    <a:pt x="36" y="6"/>
                  </a:lnTo>
                  <a:lnTo>
                    <a:pt x="34" y="2"/>
                  </a:lnTo>
                  <a:lnTo>
                    <a:pt x="30" y="0"/>
                  </a:lnTo>
                  <a:lnTo>
                    <a:pt x="22" y="0"/>
                  </a:lnTo>
                  <a:lnTo>
                    <a:pt x="16" y="2"/>
                  </a:lnTo>
                  <a:lnTo>
                    <a:pt x="4" y="6"/>
                  </a:lnTo>
                  <a:lnTo>
                    <a:pt x="0" y="8"/>
                  </a:lnTo>
                  <a:lnTo>
                    <a:pt x="2" y="10"/>
                  </a:lnTo>
                  <a:lnTo>
                    <a:pt x="2" y="10"/>
                  </a:lnTo>
                  <a:lnTo>
                    <a:pt x="10" y="12"/>
                  </a:lnTo>
                  <a:lnTo>
                    <a:pt x="22" y="14"/>
                  </a:lnTo>
                  <a:lnTo>
                    <a:pt x="26" y="14"/>
                  </a:lnTo>
                  <a:lnTo>
                    <a:pt x="32" y="12"/>
                  </a:lnTo>
                  <a:lnTo>
                    <a:pt x="34" y="10"/>
                  </a:lnTo>
                  <a:lnTo>
                    <a:pt x="36" y="6"/>
                  </a:lnTo>
                  <a:lnTo>
                    <a:pt x="36" y="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8" name="Freeform 35"/>
            <p:cNvSpPr>
              <a:spLocks/>
            </p:cNvSpPr>
            <p:nvPr/>
          </p:nvSpPr>
          <p:spPr bwMode="auto">
            <a:xfrm>
              <a:off x="9744075" y="1377950"/>
              <a:ext cx="136525" cy="34925"/>
            </a:xfrm>
            <a:custGeom>
              <a:avLst/>
              <a:gdLst>
                <a:gd name="T0" fmla="*/ 36 w 86"/>
                <a:gd name="T1" fmla="*/ 22 h 22"/>
                <a:gd name="T2" fmla="*/ 36 w 86"/>
                <a:gd name="T3" fmla="*/ 22 h 22"/>
                <a:gd name="T4" fmla="*/ 42 w 86"/>
                <a:gd name="T5" fmla="*/ 22 h 22"/>
                <a:gd name="T6" fmla="*/ 46 w 86"/>
                <a:gd name="T7" fmla="*/ 20 h 22"/>
                <a:gd name="T8" fmla="*/ 52 w 86"/>
                <a:gd name="T9" fmla="*/ 16 h 22"/>
                <a:gd name="T10" fmla="*/ 56 w 86"/>
                <a:gd name="T11" fmla="*/ 12 h 22"/>
                <a:gd name="T12" fmla="*/ 58 w 86"/>
                <a:gd name="T13" fmla="*/ 12 h 22"/>
                <a:gd name="T14" fmla="*/ 62 w 86"/>
                <a:gd name="T15" fmla="*/ 12 h 22"/>
                <a:gd name="T16" fmla="*/ 62 w 86"/>
                <a:gd name="T17" fmla="*/ 12 h 22"/>
                <a:gd name="T18" fmla="*/ 72 w 86"/>
                <a:gd name="T19" fmla="*/ 12 h 22"/>
                <a:gd name="T20" fmla="*/ 82 w 86"/>
                <a:gd name="T21" fmla="*/ 12 h 22"/>
                <a:gd name="T22" fmla="*/ 86 w 86"/>
                <a:gd name="T23" fmla="*/ 8 h 22"/>
                <a:gd name="T24" fmla="*/ 86 w 86"/>
                <a:gd name="T25" fmla="*/ 6 h 22"/>
                <a:gd name="T26" fmla="*/ 86 w 86"/>
                <a:gd name="T27" fmla="*/ 4 h 22"/>
                <a:gd name="T28" fmla="*/ 86 w 86"/>
                <a:gd name="T29" fmla="*/ 4 h 22"/>
                <a:gd name="T30" fmla="*/ 82 w 86"/>
                <a:gd name="T31" fmla="*/ 2 h 22"/>
                <a:gd name="T32" fmla="*/ 74 w 86"/>
                <a:gd name="T33" fmla="*/ 0 h 22"/>
                <a:gd name="T34" fmla="*/ 58 w 86"/>
                <a:gd name="T35" fmla="*/ 0 h 22"/>
                <a:gd name="T36" fmla="*/ 42 w 86"/>
                <a:gd name="T37" fmla="*/ 2 h 22"/>
                <a:gd name="T38" fmla="*/ 38 w 86"/>
                <a:gd name="T39" fmla="*/ 4 h 22"/>
                <a:gd name="T40" fmla="*/ 38 w 86"/>
                <a:gd name="T41" fmla="*/ 6 h 22"/>
                <a:gd name="T42" fmla="*/ 38 w 86"/>
                <a:gd name="T43" fmla="*/ 6 h 22"/>
                <a:gd name="T44" fmla="*/ 36 w 86"/>
                <a:gd name="T45" fmla="*/ 8 h 22"/>
                <a:gd name="T46" fmla="*/ 34 w 86"/>
                <a:gd name="T47" fmla="*/ 8 h 22"/>
                <a:gd name="T48" fmla="*/ 20 w 86"/>
                <a:gd name="T49" fmla="*/ 10 h 22"/>
                <a:gd name="T50" fmla="*/ 6 w 86"/>
                <a:gd name="T51" fmla="*/ 10 h 22"/>
                <a:gd name="T52" fmla="*/ 0 w 86"/>
                <a:gd name="T53" fmla="*/ 12 h 22"/>
                <a:gd name="T54" fmla="*/ 0 w 86"/>
                <a:gd name="T55" fmla="*/ 12 h 22"/>
                <a:gd name="T56" fmla="*/ 4 w 86"/>
                <a:gd name="T57" fmla="*/ 16 h 22"/>
                <a:gd name="T58" fmla="*/ 12 w 86"/>
                <a:gd name="T59" fmla="*/ 18 h 22"/>
                <a:gd name="T60" fmla="*/ 22 w 86"/>
                <a:gd name="T61" fmla="*/ 20 h 22"/>
                <a:gd name="T62" fmla="*/ 36 w 86"/>
                <a:gd name="T63" fmla="*/ 22 h 22"/>
                <a:gd name="T64" fmla="*/ 36 w 86"/>
                <a:gd name="T6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 h="22">
                  <a:moveTo>
                    <a:pt x="36" y="22"/>
                  </a:moveTo>
                  <a:lnTo>
                    <a:pt x="36" y="22"/>
                  </a:lnTo>
                  <a:lnTo>
                    <a:pt x="42" y="22"/>
                  </a:lnTo>
                  <a:lnTo>
                    <a:pt x="46" y="20"/>
                  </a:lnTo>
                  <a:lnTo>
                    <a:pt x="52" y="16"/>
                  </a:lnTo>
                  <a:lnTo>
                    <a:pt x="56" y="12"/>
                  </a:lnTo>
                  <a:lnTo>
                    <a:pt x="58" y="12"/>
                  </a:lnTo>
                  <a:lnTo>
                    <a:pt x="62" y="12"/>
                  </a:lnTo>
                  <a:lnTo>
                    <a:pt x="62" y="12"/>
                  </a:lnTo>
                  <a:lnTo>
                    <a:pt x="72" y="12"/>
                  </a:lnTo>
                  <a:lnTo>
                    <a:pt x="82" y="12"/>
                  </a:lnTo>
                  <a:lnTo>
                    <a:pt x="86" y="8"/>
                  </a:lnTo>
                  <a:lnTo>
                    <a:pt x="86" y="6"/>
                  </a:lnTo>
                  <a:lnTo>
                    <a:pt x="86" y="4"/>
                  </a:lnTo>
                  <a:lnTo>
                    <a:pt x="86" y="4"/>
                  </a:lnTo>
                  <a:lnTo>
                    <a:pt x="82" y="2"/>
                  </a:lnTo>
                  <a:lnTo>
                    <a:pt x="74" y="0"/>
                  </a:lnTo>
                  <a:lnTo>
                    <a:pt x="58" y="0"/>
                  </a:lnTo>
                  <a:lnTo>
                    <a:pt x="42" y="2"/>
                  </a:lnTo>
                  <a:lnTo>
                    <a:pt x="38" y="4"/>
                  </a:lnTo>
                  <a:lnTo>
                    <a:pt x="38" y="6"/>
                  </a:lnTo>
                  <a:lnTo>
                    <a:pt x="38" y="6"/>
                  </a:lnTo>
                  <a:lnTo>
                    <a:pt x="36" y="8"/>
                  </a:lnTo>
                  <a:lnTo>
                    <a:pt x="34" y="8"/>
                  </a:lnTo>
                  <a:lnTo>
                    <a:pt x="20" y="10"/>
                  </a:lnTo>
                  <a:lnTo>
                    <a:pt x="6" y="10"/>
                  </a:lnTo>
                  <a:lnTo>
                    <a:pt x="0" y="12"/>
                  </a:lnTo>
                  <a:lnTo>
                    <a:pt x="0" y="12"/>
                  </a:lnTo>
                  <a:lnTo>
                    <a:pt x="4" y="16"/>
                  </a:lnTo>
                  <a:lnTo>
                    <a:pt x="12" y="18"/>
                  </a:lnTo>
                  <a:lnTo>
                    <a:pt x="22" y="20"/>
                  </a:lnTo>
                  <a:lnTo>
                    <a:pt x="36" y="22"/>
                  </a:lnTo>
                  <a:lnTo>
                    <a:pt x="36" y="2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49" name="Freeform 36"/>
            <p:cNvSpPr>
              <a:spLocks/>
            </p:cNvSpPr>
            <p:nvPr/>
          </p:nvSpPr>
          <p:spPr bwMode="auto">
            <a:xfrm>
              <a:off x="13366750" y="2098675"/>
              <a:ext cx="136525" cy="53975"/>
            </a:xfrm>
            <a:custGeom>
              <a:avLst/>
              <a:gdLst>
                <a:gd name="T0" fmla="*/ 80 w 86"/>
                <a:gd name="T1" fmla="*/ 34 h 34"/>
                <a:gd name="T2" fmla="*/ 80 w 86"/>
                <a:gd name="T3" fmla="*/ 34 h 34"/>
                <a:gd name="T4" fmla="*/ 84 w 86"/>
                <a:gd name="T5" fmla="*/ 32 h 34"/>
                <a:gd name="T6" fmla="*/ 86 w 86"/>
                <a:gd name="T7" fmla="*/ 28 h 34"/>
                <a:gd name="T8" fmla="*/ 82 w 86"/>
                <a:gd name="T9" fmla="*/ 22 h 34"/>
                <a:gd name="T10" fmla="*/ 78 w 86"/>
                <a:gd name="T11" fmla="*/ 16 h 34"/>
                <a:gd name="T12" fmla="*/ 72 w 86"/>
                <a:gd name="T13" fmla="*/ 12 h 34"/>
                <a:gd name="T14" fmla="*/ 64 w 86"/>
                <a:gd name="T15" fmla="*/ 6 h 34"/>
                <a:gd name="T16" fmla="*/ 54 w 86"/>
                <a:gd name="T17" fmla="*/ 2 h 34"/>
                <a:gd name="T18" fmla="*/ 46 w 86"/>
                <a:gd name="T19" fmla="*/ 0 h 34"/>
                <a:gd name="T20" fmla="*/ 46 w 86"/>
                <a:gd name="T21" fmla="*/ 0 h 34"/>
                <a:gd name="T22" fmla="*/ 36 w 86"/>
                <a:gd name="T23" fmla="*/ 0 h 34"/>
                <a:gd name="T24" fmla="*/ 28 w 86"/>
                <a:gd name="T25" fmla="*/ 0 h 34"/>
                <a:gd name="T26" fmla="*/ 20 w 86"/>
                <a:gd name="T27" fmla="*/ 4 h 34"/>
                <a:gd name="T28" fmla="*/ 12 w 86"/>
                <a:gd name="T29" fmla="*/ 6 h 34"/>
                <a:gd name="T30" fmla="*/ 2 w 86"/>
                <a:gd name="T31" fmla="*/ 14 h 34"/>
                <a:gd name="T32" fmla="*/ 0 w 86"/>
                <a:gd name="T33" fmla="*/ 18 h 34"/>
                <a:gd name="T34" fmla="*/ 0 w 86"/>
                <a:gd name="T35" fmla="*/ 20 h 34"/>
                <a:gd name="T36" fmla="*/ 0 w 86"/>
                <a:gd name="T37" fmla="*/ 20 h 34"/>
                <a:gd name="T38" fmla="*/ 6 w 86"/>
                <a:gd name="T39" fmla="*/ 24 h 34"/>
                <a:gd name="T40" fmla="*/ 14 w 86"/>
                <a:gd name="T41" fmla="*/ 28 h 34"/>
                <a:gd name="T42" fmla="*/ 38 w 86"/>
                <a:gd name="T43" fmla="*/ 32 h 34"/>
                <a:gd name="T44" fmla="*/ 64 w 86"/>
                <a:gd name="T45" fmla="*/ 34 h 34"/>
                <a:gd name="T46" fmla="*/ 80 w 86"/>
                <a:gd name="T47" fmla="*/ 34 h 34"/>
                <a:gd name="T48" fmla="*/ 80 w 86"/>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6" h="34">
                  <a:moveTo>
                    <a:pt x="80" y="34"/>
                  </a:moveTo>
                  <a:lnTo>
                    <a:pt x="80" y="34"/>
                  </a:lnTo>
                  <a:lnTo>
                    <a:pt x="84" y="32"/>
                  </a:lnTo>
                  <a:lnTo>
                    <a:pt x="86" y="28"/>
                  </a:lnTo>
                  <a:lnTo>
                    <a:pt x="82" y="22"/>
                  </a:lnTo>
                  <a:lnTo>
                    <a:pt x="78" y="16"/>
                  </a:lnTo>
                  <a:lnTo>
                    <a:pt x="72" y="12"/>
                  </a:lnTo>
                  <a:lnTo>
                    <a:pt x="64" y="6"/>
                  </a:lnTo>
                  <a:lnTo>
                    <a:pt x="54" y="2"/>
                  </a:lnTo>
                  <a:lnTo>
                    <a:pt x="46" y="0"/>
                  </a:lnTo>
                  <a:lnTo>
                    <a:pt x="46" y="0"/>
                  </a:lnTo>
                  <a:lnTo>
                    <a:pt x="36" y="0"/>
                  </a:lnTo>
                  <a:lnTo>
                    <a:pt x="28" y="0"/>
                  </a:lnTo>
                  <a:lnTo>
                    <a:pt x="20" y="4"/>
                  </a:lnTo>
                  <a:lnTo>
                    <a:pt x="12" y="6"/>
                  </a:lnTo>
                  <a:lnTo>
                    <a:pt x="2" y="14"/>
                  </a:lnTo>
                  <a:lnTo>
                    <a:pt x="0" y="18"/>
                  </a:lnTo>
                  <a:lnTo>
                    <a:pt x="0" y="20"/>
                  </a:lnTo>
                  <a:lnTo>
                    <a:pt x="0" y="20"/>
                  </a:lnTo>
                  <a:lnTo>
                    <a:pt x="6" y="24"/>
                  </a:lnTo>
                  <a:lnTo>
                    <a:pt x="14" y="28"/>
                  </a:lnTo>
                  <a:lnTo>
                    <a:pt x="38" y="32"/>
                  </a:lnTo>
                  <a:lnTo>
                    <a:pt x="64" y="34"/>
                  </a:lnTo>
                  <a:lnTo>
                    <a:pt x="80" y="34"/>
                  </a:lnTo>
                  <a:lnTo>
                    <a:pt x="80" y="3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0" name="Freeform 37"/>
            <p:cNvSpPr>
              <a:spLocks/>
            </p:cNvSpPr>
            <p:nvPr/>
          </p:nvSpPr>
          <p:spPr bwMode="auto">
            <a:xfrm>
              <a:off x="13217525" y="1885950"/>
              <a:ext cx="346075" cy="133350"/>
            </a:xfrm>
            <a:custGeom>
              <a:avLst/>
              <a:gdLst>
                <a:gd name="T0" fmla="*/ 6 w 218"/>
                <a:gd name="T1" fmla="*/ 64 h 84"/>
                <a:gd name="T2" fmla="*/ 20 w 218"/>
                <a:gd name="T3" fmla="*/ 72 h 84"/>
                <a:gd name="T4" fmla="*/ 28 w 218"/>
                <a:gd name="T5" fmla="*/ 82 h 84"/>
                <a:gd name="T6" fmla="*/ 36 w 218"/>
                <a:gd name="T7" fmla="*/ 84 h 84"/>
                <a:gd name="T8" fmla="*/ 68 w 218"/>
                <a:gd name="T9" fmla="*/ 76 h 84"/>
                <a:gd name="T10" fmla="*/ 72 w 218"/>
                <a:gd name="T11" fmla="*/ 76 h 84"/>
                <a:gd name="T12" fmla="*/ 80 w 218"/>
                <a:gd name="T13" fmla="*/ 80 h 84"/>
                <a:gd name="T14" fmla="*/ 86 w 218"/>
                <a:gd name="T15" fmla="*/ 84 h 84"/>
                <a:gd name="T16" fmla="*/ 94 w 218"/>
                <a:gd name="T17" fmla="*/ 80 h 84"/>
                <a:gd name="T18" fmla="*/ 106 w 218"/>
                <a:gd name="T19" fmla="*/ 76 h 84"/>
                <a:gd name="T20" fmla="*/ 142 w 218"/>
                <a:gd name="T21" fmla="*/ 76 h 84"/>
                <a:gd name="T22" fmla="*/ 148 w 218"/>
                <a:gd name="T23" fmla="*/ 74 h 84"/>
                <a:gd name="T24" fmla="*/ 150 w 218"/>
                <a:gd name="T25" fmla="*/ 68 h 84"/>
                <a:gd name="T26" fmla="*/ 142 w 218"/>
                <a:gd name="T27" fmla="*/ 54 h 84"/>
                <a:gd name="T28" fmla="*/ 140 w 218"/>
                <a:gd name="T29" fmla="*/ 44 h 84"/>
                <a:gd name="T30" fmla="*/ 142 w 218"/>
                <a:gd name="T31" fmla="*/ 42 h 84"/>
                <a:gd name="T32" fmla="*/ 150 w 218"/>
                <a:gd name="T33" fmla="*/ 40 h 84"/>
                <a:gd name="T34" fmla="*/ 156 w 218"/>
                <a:gd name="T35" fmla="*/ 46 h 84"/>
                <a:gd name="T36" fmla="*/ 154 w 218"/>
                <a:gd name="T37" fmla="*/ 48 h 84"/>
                <a:gd name="T38" fmla="*/ 154 w 218"/>
                <a:gd name="T39" fmla="*/ 56 h 84"/>
                <a:gd name="T40" fmla="*/ 160 w 218"/>
                <a:gd name="T41" fmla="*/ 66 h 84"/>
                <a:gd name="T42" fmla="*/ 172 w 218"/>
                <a:gd name="T43" fmla="*/ 72 h 84"/>
                <a:gd name="T44" fmla="*/ 190 w 218"/>
                <a:gd name="T45" fmla="*/ 74 h 84"/>
                <a:gd name="T46" fmla="*/ 198 w 218"/>
                <a:gd name="T47" fmla="*/ 72 h 84"/>
                <a:gd name="T48" fmla="*/ 204 w 218"/>
                <a:gd name="T49" fmla="*/ 68 h 84"/>
                <a:gd name="T50" fmla="*/ 204 w 218"/>
                <a:gd name="T51" fmla="*/ 56 h 84"/>
                <a:gd name="T52" fmla="*/ 210 w 218"/>
                <a:gd name="T53" fmla="*/ 50 h 84"/>
                <a:gd name="T54" fmla="*/ 216 w 218"/>
                <a:gd name="T55" fmla="*/ 46 h 84"/>
                <a:gd name="T56" fmla="*/ 218 w 218"/>
                <a:gd name="T57" fmla="*/ 40 h 84"/>
                <a:gd name="T58" fmla="*/ 202 w 218"/>
                <a:gd name="T59" fmla="*/ 28 h 84"/>
                <a:gd name="T60" fmla="*/ 196 w 218"/>
                <a:gd name="T61" fmla="*/ 24 h 84"/>
                <a:gd name="T62" fmla="*/ 172 w 218"/>
                <a:gd name="T63" fmla="*/ 20 h 84"/>
                <a:gd name="T64" fmla="*/ 150 w 218"/>
                <a:gd name="T65" fmla="*/ 18 h 84"/>
                <a:gd name="T66" fmla="*/ 144 w 218"/>
                <a:gd name="T67" fmla="*/ 16 h 84"/>
                <a:gd name="T68" fmla="*/ 118 w 218"/>
                <a:gd name="T69" fmla="*/ 12 h 84"/>
                <a:gd name="T70" fmla="*/ 108 w 218"/>
                <a:gd name="T71" fmla="*/ 16 h 84"/>
                <a:gd name="T72" fmla="*/ 104 w 218"/>
                <a:gd name="T73" fmla="*/ 26 h 84"/>
                <a:gd name="T74" fmla="*/ 104 w 218"/>
                <a:gd name="T75" fmla="*/ 30 h 84"/>
                <a:gd name="T76" fmla="*/ 92 w 218"/>
                <a:gd name="T77" fmla="*/ 26 h 84"/>
                <a:gd name="T78" fmla="*/ 68 w 218"/>
                <a:gd name="T79" fmla="*/ 10 h 84"/>
                <a:gd name="T80" fmla="*/ 52 w 218"/>
                <a:gd name="T81" fmla="*/ 0 h 84"/>
                <a:gd name="T82" fmla="*/ 48 w 218"/>
                <a:gd name="T83" fmla="*/ 0 h 84"/>
                <a:gd name="T84" fmla="*/ 34 w 218"/>
                <a:gd name="T85" fmla="*/ 6 h 84"/>
                <a:gd name="T86" fmla="*/ 12 w 218"/>
                <a:gd name="T87" fmla="*/ 26 h 84"/>
                <a:gd name="T88" fmla="*/ 0 w 218"/>
                <a:gd name="T89" fmla="*/ 48 h 84"/>
                <a:gd name="T90" fmla="*/ 0 w 218"/>
                <a:gd name="T91" fmla="*/ 58 h 84"/>
                <a:gd name="T92" fmla="*/ 6 w 218"/>
                <a:gd name="T93"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8" h="84">
                  <a:moveTo>
                    <a:pt x="6" y="64"/>
                  </a:moveTo>
                  <a:lnTo>
                    <a:pt x="6" y="64"/>
                  </a:lnTo>
                  <a:lnTo>
                    <a:pt x="14" y="68"/>
                  </a:lnTo>
                  <a:lnTo>
                    <a:pt x="20" y="72"/>
                  </a:lnTo>
                  <a:lnTo>
                    <a:pt x="28" y="82"/>
                  </a:lnTo>
                  <a:lnTo>
                    <a:pt x="28" y="82"/>
                  </a:lnTo>
                  <a:lnTo>
                    <a:pt x="32" y="84"/>
                  </a:lnTo>
                  <a:lnTo>
                    <a:pt x="36" y="84"/>
                  </a:lnTo>
                  <a:lnTo>
                    <a:pt x="48" y="82"/>
                  </a:lnTo>
                  <a:lnTo>
                    <a:pt x="68" y="76"/>
                  </a:lnTo>
                  <a:lnTo>
                    <a:pt x="68" y="76"/>
                  </a:lnTo>
                  <a:lnTo>
                    <a:pt x="72" y="76"/>
                  </a:lnTo>
                  <a:lnTo>
                    <a:pt x="74" y="76"/>
                  </a:lnTo>
                  <a:lnTo>
                    <a:pt x="80" y="80"/>
                  </a:lnTo>
                  <a:lnTo>
                    <a:pt x="82" y="82"/>
                  </a:lnTo>
                  <a:lnTo>
                    <a:pt x="86" y="84"/>
                  </a:lnTo>
                  <a:lnTo>
                    <a:pt x="90" y="82"/>
                  </a:lnTo>
                  <a:lnTo>
                    <a:pt x="94" y="80"/>
                  </a:lnTo>
                  <a:lnTo>
                    <a:pt x="94" y="80"/>
                  </a:lnTo>
                  <a:lnTo>
                    <a:pt x="106" y="76"/>
                  </a:lnTo>
                  <a:lnTo>
                    <a:pt x="118" y="74"/>
                  </a:lnTo>
                  <a:lnTo>
                    <a:pt x="142" y="76"/>
                  </a:lnTo>
                  <a:lnTo>
                    <a:pt x="142" y="76"/>
                  </a:lnTo>
                  <a:lnTo>
                    <a:pt x="148" y="74"/>
                  </a:lnTo>
                  <a:lnTo>
                    <a:pt x="150" y="72"/>
                  </a:lnTo>
                  <a:lnTo>
                    <a:pt x="150" y="68"/>
                  </a:lnTo>
                  <a:lnTo>
                    <a:pt x="148" y="64"/>
                  </a:lnTo>
                  <a:lnTo>
                    <a:pt x="142" y="54"/>
                  </a:lnTo>
                  <a:lnTo>
                    <a:pt x="140" y="48"/>
                  </a:lnTo>
                  <a:lnTo>
                    <a:pt x="140" y="44"/>
                  </a:lnTo>
                  <a:lnTo>
                    <a:pt x="140" y="44"/>
                  </a:lnTo>
                  <a:lnTo>
                    <a:pt x="142" y="42"/>
                  </a:lnTo>
                  <a:lnTo>
                    <a:pt x="144" y="40"/>
                  </a:lnTo>
                  <a:lnTo>
                    <a:pt x="150" y="40"/>
                  </a:lnTo>
                  <a:lnTo>
                    <a:pt x="156" y="44"/>
                  </a:lnTo>
                  <a:lnTo>
                    <a:pt x="156" y="46"/>
                  </a:lnTo>
                  <a:lnTo>
                    <a:pt x="154" y="48"/>
                  </a:lnTo>
                  <a:lnTo>
                    <a:pt x="154" y="48"/>
                  </a:lnTo>
                  <a:lnTo>
                    <a:pt x="154" y="52"/>
                  </a:lnTo>
                  <a:lnTo>
                    <a:pt x="154" y="56"/>
                  </a:lnTo>
                  <a:lnTo>
                    <a:pt x="156" y="60"/>
                  </a:lnTo>
                  <a:lnTo>
                    <a:pt x="160" y="66"/>
                  </a:lnTo>
                  <a:lnTo>
                    <a:pt x="166" y="68"/>
                  </a:lnTo>
                  <a:lnTo>
                    <a:pt x="172" y="72"/>
                  </a:lnTo>
                  <a:lnTo>
                    <a:pt x="182" y="74"/>
                  </a:lnTo>
                  <a:lnTo>
                    <a:pt x="190" y="74"/>
                  </a:lnTo>
                  <a:lnTo>
                    <a:pt x="190" y="74"/>
                  </a:lnTo>
                  <a:lnTo>
                    <a:pt x="198" y="72"/>
                  </a:lnTo>
                  <a:lnTo>
                    <a:pt x="202" y="70"/>
                  </a:lnTo>
                  <a:lnTo>
                    <a:pt x="204" y="68"/>
                  </a:lnTo>
                  <a:lnTo>
                    <a:pt x="204" y="64"/>
                  </a:lnTo>
                  <a:lnTo>
                    <a:pt x="204" y="56"/>
                  </a:lnTo>
                  <a:lnTo>
                    <a:pt x="206" y="54"/>
                  </a:lnTo>
                  <a:lnTo>
                    <a:pt x="210" y="50"/>
                  </a:lnTo>
                  <a:lnTo>
                    <a:pt x="210" y="50"/>
                  </a:lnTo>
                  <a:lnTo>
                    <a:pt x="216" y="46"/>
                  </a:lnTo>
                  <a:lnTo>
                    <a:pt x="218" y="44"/>
                  </a:lnTo>
                  <a:lnTo>
                    <a:pt x="218" y="40"/>
                  </a:lnTo>
                  <a:lnTo>
                    <a:pt x="214" y="34"/>
                  </a:lnTo>
                  <a:lnTo>
                    <a:pt x="202" y="28"/>
                  </a:lnTo>
                  <a:lnTo>
                    <a:pt x="202" y="28"/>
                  </a:lnTo>
                  <a:lnTo>
                    <a:pt x="196" y="24"/>
                  </a:lnTo>
                  <a:lnTo>
                    <a:pt x="188" y="22"/>
                  </a:lnTo>
                  <a:lnTo>
                    <a:pt x="172" y="20"/>
                  </a:lnTo>
                  <a:lnTo>
                    <a:pt x="156" y="20"/>
                  </a:lnTo>
                  <a:lnTo>
                    <a:pt x="150" y="18"/>
                  </a:lnTo>
                  <a:lnTo>
                    <a:pt x="144" y="16"/>
                  </a:lnTo>
                  <a:lnTo>
                    <a:pt x="144" y="16"/>
                  </a:lnTo>
                  <a:lnTo>
                    <a:pt x="130" y="12"/>
                  </a:lnTo>
                  <a:lnTo>
                    <a:pt x="118" y="12"/>
                  </a:lnTo>
                  <a:lnTo>
                    <a:pt x="112" y="12"/>
                  </a:lnTo>
                  <a:lnTo>
                    <a:pt x="108" y="16"/>
                  </a:lnTo>
                  <a:lnTo>
                    <a:pt x="106" y="20"/>
                  </a:lnTo>
                  <a:lnTo>
                    <a:pt x="104" y="26"/>
                  </a:lnTo>
                  <a:lnTo>
                    <a:pt x="104" y="26"/>
                  </a:lnTo>
                  <a:lnTo>
                    <a:pt x="104" y="30"/>
                  </a:lnTo>
                  <a:lnTo>
                    <a:pt x="98" y="30"/>
                  </a:lnTo>
                  <a:lnTo>
                    <a:pt x="92" y="26"/>
                  </a:lnTo>
                  <a:lnTo>
                    <a:pt x="86" y="22"/>
                  </a:lnTo>
                  <a:lnTo>
                    <a:pt x="68" y="10"/>
                  </a:lnTo>
                  <a:lnTo>
                    <a:pt x="60" y="4"/>
                  </a:lnTo>
                  <a:lnTo>
                    <a:pt x="52" y="0"/>
                  </a:lnTo>
                  <a:lnTo>
                    <a:pt x="52" y="0"/>
                  </a:lnTo>
                  <a:lnTo>
                    <a:pt x="48" y="0"/>
                  </a:lnTo>
                  <a:lnTo>
                    <a:pt x="44" y="2"/>
                  </a:lnTo>
                  <a:lnTo>
                    <a:pt x="34" y="6"/>
                  </a:lnTo>
                  <a:lnTo>
                    <a:pt x="24" y="14"/>
                  </a:lnTo>
                  <a:lnTo>
                    <a:pt x="12" y="26"/>
                  </a:lnTo>
                  <a:lnTo>
                    <a:pt x="4" y="36"/>
                  </a:lnTo>
                  <a:lnTo>
                    <a:pt x="0" y="48"/>
                  </a:lnTo>
                  <a:lnTo>
                    <a:pt x="0" y="52"/>
                  </a:lnTo>
                  <a:lnTo>
                    <a:pt x="0" y="58"/>
                  </a:lnTo>
                  <a:lnTo>
                    <a:pt x="2" y="62"/>
                  </a:lnTo>
                  <a:lnTo>
                    <a:pt x="6" y="64"/>
                  </a:lnTo>
                  <a:lnTo>
                    <a:pt x="6" y="6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1" name="Freeform 38"/>
            <p:cNvSpPr>
              <a:spLocks/>
            </p:cNvSpPr>
            <p:nvPr/>
          </p:nvSpPr>
          <p:spPr bwMode="auto">
            <a:xfrm>
              <a:off x="13611225" y="1952625"/>
              <a:ext cx="212725" cy="69850"/>
            </a:xfrm>
            <a:custGeom>
              <a:avLst/>
              <a:gdLst>
                <a:gd name="T0" fmla="*/ 2 w 134"/>
                <a:gd name="T1" fmla="*/ 22 h 44"/>
                <a:gd name="T2" fmla="*/ 2 w 134"/>
                <a:gd name="T3" fmla="*/ 22 h 44"/>
                <a:gd name="T4" fmla="*/ 10 w 134"/>
                <a:gd name="T5" fmla="*/ 22 h 44"/>
                <a:gd name="T6" fmla="*/ 16 w 134"/>
                <a:gd name="T7" fmla="*/ 26 h 44"/>
                <a:gd name="T8" fmla="*/ 30 w 134"/>
                <a:gd name="T9" fmla="*/ 32 h 44"/>
                <a:gd name="T10" fmla="*/ 46 w 134"/>
                <a:gd name="T11" fmla="*/ 40 h 44"/>
                <a:gd name="T12" fmla="*/ 56 w 134"/>
                <a:gd name="T13" fmla="*/ 42 h 44"/>
                <a:gd name="T14" fmla="*/ 68 w 134"/>
                <a:gd name="T15" fmla="*/ 44 h 44"/>
                <a:gd name="T16" fmla="*/ 68 w 134"/>
                <a:gd name="T17" fmla="*/ 44 h 44"/>
                <a:gd name="T18" fmla="*/ 94 w 134"/>
                <a:gd name="T19" fmla="*/ 44 h 44"/>
                <a:gd name="T20" fmla="*/ 116 w 134"/>
                <a:gd name="T21" fmla="*/ 42 h 44"/>
                <a:gd name="T22" fmla="*/ 128 w 134"/>
                <a:gd name="T23" fmla="*/ 36 h 44"/>
                <a:gd name="T24" fmla="*/ 132 w 134"/>
                <a:gd name="T25" fmla="*/ 34 h 44"/>
                <a:gd name="T26" fmla="*/ 134 w 134"/>
                <a:gd name="T27" fmla="*/ 32 h 44"/>
                <a:gd name="T28" fmla="*/ 134 w 134"/>
                <a:gd name="T29" fmla="*/ 32 h 44"/>
                <a:gd name="T30" fmla="*/ 132 w 134"/>
                <a:gd name="T31" fmla="*/ 28 h 44"/>
                <a:gd name="T32" fmla="*/ 128 w 134"/>
                <a:gd name="T33" fmla="*/ 24 h 44"/>
                <a:gd name="T34" fmla="*/ 116 w 134"/>
                <a:gd name="T35" fmla="*/ 18 h 44"/>
                <a:gd name="T36" fmla="*/ 102 w 134"/>
                <a:gd name="T37" fmla="*/ 16 h 44"/>
                <a:gd name="T38" fmla="*/ 94 w 134"/>
                <a:gd name="T39" fmla="*/ 16 h 44"/>
                <a:gd name="T40" fmla="*/ 90 w 134"/>
                <a:gd name="T41" fmla="*/ 18 h 44"/>
                <a:gd name="T42" fmla="*/ 90 w 134"/>
                <a:gd name="T43" fmla="*/ 18 h 44"/>
                <a:gd name="T44" fmla="*/ 86 w 134"/>
                <a:gd name="T45" fmla="*/ 18 h 44"/>
                <a:gd name="T46" fmla="*/ 82 w 134"/>
                <a:gd name="T47" fmla="*/ 18 h 44"/>
                <a:gd name="T48" fmla="*/ 74 w 134"/>
                <a:gd name="T49" fmla="*/ 16 h 44"/>
                <a:gd name="T50" fmla="*/ 68 w 134"/>
                <a:gd name="T51" fmla="*/ 12 h 44"/>
                <a:gd name="T52" fmla="*/ 62 w 134"/>
                <a:gd name="T53" fmla="*/ 10 h 44"/>
                <a:gd name="T54" fmla="*/ 58 w 134"/>
                <a:gd name="T55" fmla="*/ 10 h 44"/>
                <a:gd name="T56" fmla="*/ 58 w 134"/>
                <a:gd name="T57" fmla="*/ 10 h 44"/>
                <a:gd name="T58" fmla="*/ 48 w 134"/>
                <a:gd name="T59" fmla="*/ 12 h 44"/>
                <a:gd name="T60" fmla="*/ 38 w 134"/>
                <a:gd name="T61" fmla="*/ 12 h 44"/>
                <a:gd name="T62" fmla="*/ 28 w 134"/>
                <a:gd name="T63" fmla="*/ 10 h 44"/>
                <a:gd name="T64" fmla="*/ 24 w 134"/>
                <a:gd name="T65" fmla="*/ 6 h 44"/>
                <a:gd name="T66" fmla="*/ 22 w 134"/>
                <a:gd name="T67" fmla="*/ 2 h 44"/>
                <a:gd name="T68" fmla="*/ 22 w 134"/>
                <a:gd name="T69" fmla="*/ 2 h 44"/>
                <a:gd name="T70" fmla="*/ 18 w 134"/>
                <a:gd name="T71" fmla="*/ 0 h 44"/>
                <a:gd name="T72" fmla="*/ 14 w 134"/>
                <a:gd name="T73" fmla="*/ 0 h 44"/>
                <a:gd name="T74" fmla="*/ 10 w 134"/>
                <a:gd name="T75" fmla="*/ 4 h 44"/>
                <a:gd name="T76" fmla="*/ 6 w 134"/>
                <a:gd name="T77" fmla="*/ 8 h 44"/>
                <a:gd name="T78" fmla="*/ 0 w 134"/>
                <a:gd name="T79" fmla="*/ 16 h 44"/>
                <a:gd name="T80" fmla="*/ 0 w 134"/>
                <a:gd name="T81" fmla="*/ 20 h 44"/>
                <a:gd name="T82" fmla="*/ 2 w 134"/>
                <a:gd name="T83" fmla="*/ 22 h 44"/>
                <a:gd name="T84" fmla="*/ 2 w 134"/>
                <a:gd name="T8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 h="44">
                  <a:moveTo>
                    <a:pt x="2" y="22"/>
                  </a:moveTo>
                  <a:lnTo>
                    <a:pt x="2" y="22"/>
                  </a:lnTo>
                  <a:lnTo>
                    <a:pt x="10" y="22"/>
                  </a:lnTo>
                  <a:lnTo>
                    <a:pt x="16" y="26"/>
                  </a:lnTo>
                  <a:lnTo>
                    <a:pt x="30" y="32"/>
                  </a:lnTo>
                  <a:lnTo>
                    <a:pt x="46" y="40"/>
                  </a:lnTo>
                  <a:lnTo>
                    <a:pt x="56" y="42"/>
                  </a:lnTo>
                  <a:lnTo>
                    <a:pt x="68" y="44"/>
                  </a:lnTo>
                  <a:lnTo>
                    <a:pt x="68" y="44"/>
                  </a:lnTo>
                  <a:lnTo>
                    <a:pt x="94" y="44"/>
                  </a:lnTo>
                  <a:lnTo>
                    <a:pt x="116" y="42"/>
                  </a:lnTo>
                  <a:lnTo>
                    <a:pt x="128" y="36"/>
                  </a:lnTo>
                  <a:lnTo>
                    <a:pt x="132" y="34"/>
                  </a:lnTo>
                  <a:lnTo>
                    <a:pt x="134" y="32"/>
                  </a:lnTo>
                  <a:lnTo>
                    <a:pt x="134" y="32"/>
                  </a:lnTo>
                  <a:lnTo>
                    <a:pt x="132" y="28"/>
                  </a:lnTo>
                  <a:lnTo>
                    <a:pt x="128" y="24"/>
                  </a:lnTo>
                  <a:lnTo>
                    <a:pt x="116" y="18"/>
                  </a:lnTo>
                  <a:lnTo>
                    <a:pt x="102" y="16"/>
                  </a:lnTo>
                  <a:lnTo>
                    <a:pt x="94" y="16"/>
                  </a:lnTo>
                  <a:lnTo>
                    <a:pt x="90" y="18"/>
                  </a:lnTo>
                  <a:lnTo>
                    <a:pt x="90" y="18"/>
                  </a:lnTo>
                  <a:lnTo>
                    <a:pt x="86" y="18"/>
                  </a:lnTo>
                  <a:lnTo>
                    <a:pt x="82" y="18"/>
                  </a:lnTo>
                  <a:lnTo>
                    <a:pt x="74" y="16"/>
                  </a:lnTo>
                  <a:lnTo>
                    <a:pt x="68" y="12"/>
                  </a:lnTo>
                  <a:lnTo>
                    <a:pt x="62" y="10"/>
                  </a:lnTo>
                  <a:lnTo>
                    <a:pt x="58" y="10"/>
                  </a:lnTo>
                  <a:lnTo>
                    <a:pt x="58" y="10"/>
                  </a:lnTo>
                  <a:lnTo>
                    <a:pt x="48" y="12"/>
                  </a:lnTo>
                  <a:lnTo>
                    <a:pt x="38" y="12"/>
                  </a:lnTo>
                  <a:lnTo>
                    <a:pt x="28" y="10"/>
                  </a:lnTo>
                  <a:lnTo>
                    <a:pt x="24" y="6"/>
                  </a:lnTo>
                  <a:lnTo>
                    <a:pt x="22" y="2"/>
                  </a:lnTo>
                  <a:lnTo>
                    <a:pt x="22" y="2"/>
                  </a:lnTo>
                  <a:lnTo>
                    <a:pt x="18" y="0"/>
                  </a:lnTo>
                  <a:lnTo>
                    <a:pt x="14" y="0"/>
                  </a:lnTo>
                  <a:lnTo>
                    <a:pt x="10" y="4"/>
                  </a:lnTo>
                  <a:lnTo>
                    <a:pt x="6" y="8"/>
                  </a:lnTo>
                  <a:lnTo>
                    <a:pt x="0" y="16"/>
                  </a:lnTo>
                  <a:lnTo>
                    <a:pt x="0" y="20"/>
                  </a:lnTo>
                  <a:lnTo>
                    <a:pt x="2" y="22"/>
                  </a:lnTo>
                  <a:lnTo>
                    <a:pt x="2" y="2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2" name="Freeform 39"/>
            <p:cNvSpPr>
              <a:spLocks/>
            </p:cNvSpPr>
            <p:nvPr/>
          </p:nvSpPr>
          <p:spPr bwMode="auto">
            <a:xfrm>
              <a:off x="15036800" y="2295525"/>
              <a:ext cx="168275" cy="53975"/>
            </a:xfrm>
            <a:custGeom>
              <a:avLst/>
              <a:gdLst>
                <a:gd name="T0" fmla="*/ 4 w 106"/>
                <a:gd name="T1" fmla="*/ 32 h 34"/>
                <a:gd name="T2" fmla="*/ 4 w 106"/>
                <a:gd name="T3" fmla="*/ 32 h 34"/>
                <a:gd name="T4" fmla="*/ 10 w 106"/>
                <a:gd name="T5" fmla="*/ 32 h 34"/>
                <a:gd name="T6" fmla="*/ 16 w 106"/>
                <a:gd name="T7" fmla="*/ 34 h 34"/>
                <a:gd name="T8" fmla="*/ 24 w 106"/>
                <a:gd name="T9" fmla="*/ 30 h 34"/>
                <a:gd name="T10" fmla="*/ 34 w 106"/>
                <a:gd name="T11" fmla="*/ 28 h 34"/>
                <a:gd name="T12" fmla="*/ 38 w 106"/>
                <a:gd name="T13" fmla="*/ 28 h 34"/>
                <a:gd name="T14" fmla="*/ 42 w 106"/>
                <a:gd name="T15" fmla="*/ 30 h 34"/>
                <a:gd name="T16" fmla="*/ 42 w 106"/>
                <a:gd name="T17" fmla="*/ 30 h 34"/>
                <a:gd name="T18" fmla="*/ 48 w 106"/>
                <a:gd name="T19" fmla="*/ 32 h 34"/>
                <a:gd name="T20" fmla="*/ 56 w 106"/>
                <a:gd name="T21" fmla="*/ 34 h 34"/>
                <a:gd name="T22" fmla="*/ 72 w 106"/>
                <a:gd name="T23" fmla="*/ 32 h 34"/>
                <a:gd name="T24" fmla="*/ 100 w 106"/>
                <a:gd name="T25" fmla="*/ 24 h 34"/>
                <a:gd name="T26" fmla="*/ 100 w 106"/>
                <a:gd name="T27" fmla="*/ 24 h 34"/>
                <a:gd name="T28" fmla="*/ 104 w 106"/>
                <a:gd name="T29" fmla="*/ 22 h 34"/>
                <a:gd name="T30" fmla="*/ 106 w 106"/>
                <a:gd name="T31" fmla="*/ 20 h 34"/>
                <a:gd name="T32" fmla="*/ 106 w 106"/>
                <a:gd name="T33" fmla="*/ 16 h 34"/>
                <a:gd name="T34" fmla="*/ 104 w 106"/>
                <a:gd name="T35" fmla="*/ 14 h 34"/>
                <a:gd name="T36" fmla="*/ 98 w 106"/>
                <a:gd name="T37" fmla="*/ 10 h 34"/>
                <a:gd name="T38" fmla="*/ 92 w 106"/>
                <a:gd name="T39" fmla="*/ 6 h 34"/>
                <a:gd name="T40" fmla="*/ 82 w 106"/>
                <a:gd name="T41" fmla="*/ 2 h 34"/>
                <a:gd name="T42" fmla="*/ 70 w 106"/>
                <a:gd name="T43" fmla="*/ 0 h 34"/>
                <a:gd name="T44" fmla="*/ 70 w 106"/>
                <a:gd name="T45" fmla="*/ 0 h 34"/>
                <a:gd name="T46" fmla="*/ 56 w 106"/>
                <a:gd name="T47" fmla="*/ 0 h 34"/>
                <a:gd name="T48" fmla="*/ 42 w 106"/>
                <a:gd name="T49" fmla="*/ 2 h 34"/>
                <a:gd name="T50" fmla="*/ 28 w 106"/>
                <a:gd name="T51" fmla="*/ 6 h 34"/>
                <a:gd name="T52" fmla="*/ 18 w 106"/>
                <a:gd name="T53" fmla="*/ 10 h 34"/>
                <a:gd name="T54" fmla="*/ 8 w 106"/>
                <a:gd name="T55" fmla="*/ 16 h 34"/>
                <a:gd name="T56" fmla="*/ 2 w 106"/>
                <a:gd name="T57" fmla="*/ 22 h 34"/>
                <a:gd name="T58" fmla="*/ 0 w 106"/>
                <a:gd name="T59" fmla="*/ 28 h 34"/>
                <a:gd name="T60" fmla="*/ 2 w 106"/>
                <a:gd name="T61" fmla="*/ 30 h 34"/>
                <a:gd name="T62" fmla="*/ 4 w 106"/>
                <a:gd name="T63" fmla="*/ 32 h 34"/>
                <a:gd name="T64" fmla="*/ 4 w 106"/>
                <a:gd name="T65"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34">
                  <a:moveTo>
                    <a:pt x="4" y="32"/>
                  </a:moveTo>
                  <a:lnTo>
                    <a:pt x="4" y="32"/>
                  </a:lnTo>
                  <a:lnTo>
                    <a:pt x="10" y="32"/>
                  </a:lnTo>
                  <a:lnTo>
                    <a:pt x="16" y="34"/>
                  </a:lnTo>
                  <a:lnTo>
                    <a:pt x="24" y="30"/>
                  </a:lnTo>
                  <a:lnTo>
                    <a:pt x="34" y="28"/>
                  </a:lnTo>
                  <a:lnTo>
                    <a:pt x="38" y="28"/>
                  </a:lnTo>
                  <a:lnTo>
                    <a:pt x="42" y="30"/>
                  </a:lnTo>
                  <a:lnTo>
                    <a:pt x="42" y="30"/>
                  </a:lnTo>
                  <a:lnTo>
                    <a:pt x="48" y="32"/>
                  </a:lnTo>
                  <a:lnTo>
                    <a:pt x="56" y="34"/>
                  </a:lnTo>
                  <a:lnTo>
                    <a:pt x="72" y="32"/>
                  </a:lnTo>
                  <a:lnTo>
                    <a:pt x="100" y="24"/>
                  </a:lnTo>
                  <a:lnTo>
                    <a:pt x="100" y="24"/>
                  </a:lnTo>
                  <a:lnTo>
                    <a:pt x="104" y="22"/>
                  </a:lnTo>
                  <a:lnTo>
                    <a:pt x="106" y="20"/>
                  </a:lnTo>
                  <a:lnTo>
                    <a:pt x="106" y="16"/>
                  </a:lnTo>
                  <a:lnTo>
                    <a:pt x="104" y="14"/>
                  </a:lnTo>
                  <a:lnTo>
                    <a:pt x="98" y="10"/>
                  </a:lnTo>
                  <a:lnTo>
                    <a:pt x="92" y="6"/>
                  </a:lnTo>
                  <a:lnTo>
                    <a:pt x="82" y="2"/>
                  </a:lnTo>
                  <a:lnTo>
                    <a:pt x="70" y="0"/>
                  </a:lnTo>
                  <a:lnTo>
                    <a:pt x="70" y="0"/>
                  </a:lnTo>
                  <a:lnTo>
                    <a:pt x="56" y="0"/>
                  </a:lnTo>
                  <a:lnTo>
                    <a:pt x="42" y="2"/>
                  </a:lnTo>
                  <a:lnTo>
                    <a:pt x="28" y="6"/>
                  </a:lnTo>
                  <a:lnTo>
                    <a:pt x="18" y="10"/>
                  </a:lnTo>
                  <a:lnTo>
                    <a:pt x="8" y="16"/>
                  </a:lnTo>
                  <a:lnTo>
                    <a:pt x="2" y="22"/>
                  </a:lnTo>
                  <a:lnTo>
                    <a:pt x="0" y="28"/>
                  </a:lnTo>
                  <a:lnTo>
                    <a:pt x="2" y="30"/>
                  </a:lnTo>
                  <a:lnTo>
                    <a:pt x="4" y="32"/>
                  </a:lnTo>
                  <a:lnTo>
                    <a:pt x="4" y="3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3" name="Freeform 40"/>
            <p:cNvSpPr>
              <a:spLocks/>
            </p:cNvSpPr>
            <p:nvPr/>
          </p:nvSpPr>
          <p:spPr bwMode="auto">
            <a:xfrm>
              <a:off x="11264900" y="1397000"/>
              <a:ext cx="241300" cy="168275"/>
            </a:xfrm>
            <a:custGeom>
              <a:avLst/>
              <a:gdLst>
                <a:gd name="T0" fmla="*/ 30 w 152"/>
                <a:gd name="T1" fmla="*/ 70 h 106"/>
                <a:gd name="T2" fmla="*/ 38 w 152"/>
                <a:gd name="T3" fmla="*/ 76 h 106"/>
                <a:gd name="T4" fmla="*/ 32 w 152"/>
                <a:gd name="T5" fmla="*/ 80 h 106"/>
                <a:gd name="T6" fmla="*/ 22 w 152"/>
                <a:gd name="T7" fmla="*/ 80 h 106"/>
                <a:gd name="T8" fmla="*/ 4 w 152"/>
                <a:gd name="T9" fmla="*/ 84 h 106"/>
                <a:gd name="T10" fmla="*/ 0 w 152"/>
                <a:gd name="T11" fmla="*/ 88 h 106"/>
                <a:gd name="T12" fmla="*/ 4 w 152"/>
                <a:gd name="T13" fmla="*/ 90 h 106"/>
                <a:gd name="T14" fmla="*/ 12 w 152"/>
                <a:gd name="T15" fmla="*/ 98 h 106"/>
                <a:gd name="T16" fmla="*/ 28 w 152"/>
                <a:gd name="T17" fmla="*/ 106 h 106"/>
                <a:gd name="T18" fmla="*/ 34 w 152"/>
                <a:gd name="T19" fmla="*/ 106 h 106"/>
                <a:gd name="T20" fmla="*/ 50 w 152"/>
                <a:gd name="T21" fmla="*/ 102 h 106"/>
                <a:gd name="T22" fmla="*/ 60 w 152"/>
                <a:gd name="T23" fmla="*/ 90 h 106"/>
                <a:gd name="T24" fmla="*/ 60 w 152"/>
                <a:gd name="T25" fmla="*/ 86 h 106"/>
                <a:gd name="T26" fmla="*/ 68 w 152"/>
                <a:gd name="T27" fmla="*/ 80 h 106"/>
                <a:gd name="T28" fmla="*/ 134 w 152"/>
                <a:gd name="T29" fmla="*/ 64 h 106"/>
                <a:gd name="T30" fmla="*/ 140 w 152"/>
                <a:gd name="T31" fmla="*/ 62 h 106"/>
                <a:gd name="T32" fmla="*/ 138 w 152"/>
                <a:gd name="T33" fmla="*/ 52 h 106"/>
                <a:gd name="T34" fmla="*/ 136 w 152"/>
                <a:gd name="T35" fmla="*/ 46 h 106"/>
                <a:gd name="T36" fmla="*/ 142 w 152"/>
                <a:gd name="T37" fmla="*/ 42 h 106"/>
                <a:gd name="T38" fmla="*/ 150 w 152"/>
                <a:gd name="T39" fmla="*/ 40 h 106"/>
                <a:gd name="T40" fmla="*/ 152 w 152"/>
                <a:gd name="T41" fmla="*/ 36 h 106"/>
                <a:gd name="T42" fmla="*/ 130 w 152"/>
                <a:gd name="T43" fmla="*/ 28 h 106"/>
                <a:gd name="T44" fmla="*/ 124 w 152"/>
                <a:gd name="T45" fmla="*/ 28 h 106"/>
                <a:gd name="T46" fmla="*/ 116 w 152"/>
                <a:gd name="T47" fmla="*/ 20 h 106"/>
                <a:gd name="T48" fmla="*/ 114 w 152"/>
                <a:gd name="T49" fmla="*/ 8 h 106"/>
                <a:gd name="T50" fmla="*/ 110 w 152"/>
                <a:gd name="T51" fmla="*/ 0 h 106"/>
                <a:gd name="T52" fmla="*/ 108 w 152"/>
                <a:gd name="T53" fmla="*/ 0 h 106"/>
                <a:gd name="T54" fmla="*/ 98 w 152"/>
                <a:gd name="T55" fmla="*/ 4 h 106"/>
                <a:gd name="T56" fmla="*/ 72 w 152"/>
                <a:gd name="T57" fmla="*/ 14 h 106"/>
                <a:gd name="T58" fmla="*/ 52 w 152"/>
                <a:gd name="T59" fmla="*/ 18 h 106"/>
                <a:gd name="T60" fmla="*/ 38 w 152"/>
                <a:gd name="T61" fmla="*/ 26 h 106"/>
                <a:gd name="T62" fmla="*/ 38 w 152"/>
                <a:gd name="T63" fmla="*/ 30 h 106"/>
                <a:gd name="T64" fmla="*/ 40 w 152"/>
                <a:gd name="T65" fmla="*/ 32 h 106"/>
                <a:gd name="T66" fmla="*/ 46 w 152"/>
                <a:gd name="T67" fmla="*/ 38 h 106"/>
                <a:gd name="T68" fmla="*/ 44 w 152"/>
                <a:gd name="T69" fmla="*/ 44 h 106"/>
                <a:gd name="T70" fmla="*/ 32 w 152"/>
                <a:gd name="T71" fmla="*/ 52 h 106"/>
                <a:gd name="T72" fmla="*/ 28 w 152"/>
                <a:gd name="T73" fmla="*/ 52 h 106"/>
                <a:gd name="T74" fmla="*/ 22 w 152"/>
                <a:gd name="T75" fmla="*/ 54 h 106"/>
                <a:gd name="T76" fmla="*/ 18 w 152"/>
                <a:gd name="T77" fmla="*/ 58 h 106"/>
                <a:gd name="T78" fmla="*/ 22 w 152"/>
                <a:gd name="T79" fmla="*/ 64 h 106"/>
                <a:gd name="T80" fmla="*/ 30 w 152"/>
                <a:gd name="T81" fmla="*/ 7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2" h="106">
                  <a:moveTo>
                    <a:pt x="30" y="70"/>
                  </a:moveTo>
                  <a:lnTo>
                    <a:pt x="30" y="70"/>
                  </a:lnTo>
                  <a:lnTo>
                    <a:pt x="38" y="74"/>
                  </a:lnTo>
                  <a:lnTo>
                    <a:pt x="38" y="76"/>
                  </a:lnTo>
                  <a:lnTo>
                    <a:pt x="38" y="78"/>
                  </a:lnTo>
                  <a:lnTo>
                    <a:pt x="32" y="80"/>
                  </a:lnTo>
                  <a:lnTo>
                    <a:pt x="22" y="80"/>
                  </a:lnTo>
                  <a:lnTo>
                    <a:pt x="22" y="80"/>
                  </a:lnTo>
                  <a:lnTo>
                    <a:pt x="12" y="82"/>
                  </a:lnTo>
                  <a:lnTo>
                    <a:pt x="4" y="84"/>
                  </a:lnTo>
                  <a:lnTo>
                    <a:pt x="0" y="86"/>
                  </a:lnTo>
                  <a:lnTo>
                    <a:pt x="0" y="88"/>
                  </a:lnTo>
                  <a:lnTo>
                    <a:pt x="4" y="90"/>
                  </a:lnTo>
                  <a:lnTo>
                    <a:pt x="4" y="90"/>
                  </a:lnTo>
                  <a:lnTo>
                    <a:pt x="8" y="94"/>
                  </a:lnTo>
                  <a:lnTo>
                    <a:pt x="12" y="98"/>
                  </a:lnTo>
                  <a:lnTo>
                    <a:pt x="18" y="102"/>
                  </a:lnTo>
                  <a:lnTo>
                    <a:pt x="28" y="106"/>
                  </a:lnTo>
                  <a:lnTo>
                    <a:pt x="28" y="106"/>
                  </a:lnTo>
                  <a:lnTo>
                    <a:pt x="34" y="106"/>
                  </a:lnTo>
                  <a:lnTo>
                    <a:pt x="40" y="106"/>
                  </a:lnTo>
                  <a:lnTo>
                    <a:pt x="50" y="102"/>
                  </a:lnTo>
                  <a:lnTo>
                    <a:pt x="58" y="94"/>
                  </a:lnTo>
                  <a:lnTo>
                    <a:pt x="60" y="90"/>
                  </a:lnTo>
                  <a:lnTo>
                    <a:pt x="60" y="86"/>
                  </a:lnTo>
                  <a:lnTo>
                    <a:pt x="60" y="86"/>
                  </a:lnTo>
                  <a:lnTo>
                    <a:pt x="62" y="84"/>
                  </a:lnTo>
                  <a:lnTo>
                    <a:pt x="68" y="80"/>
                  </a:lnTo>
                  <a:lnTo>
                    <a:pt x="90" y="74"/>
                  </a:lnTo>
                  <a:lnTo>
                    <a:pt x="134" y="64"/>
                  </a:lnTo>
                  <a:lnTo>
                    <a:pt x="134" y="64"/>
                  </a:lnTo>
                  <a:lnTo>
                    <a:pt x="140" y="62"/>
                  </a:lnTo>
                  <a:lnTo>
                    <a:pt x="140" y="60"/>
                  </a:lnTo>
                  <a:lnTo>
                    <a:pt x="138" y="52"/>
                  </a:lnTo>
                  <a:lnTo>
                    <a:pt x="136" y="48"/>
                  </a:lnTo>
                  <a:lnTo>
                    <a:pt x="136" y="46"/>
                  </a:lnTo>
                  <a:lnTo>
                    <a:pt x="138" y="44"/>
                  </a:lnTo>
                  <a:lnTo>
                    <a:pt x="142" y="42"/>
                  </a:lnTo>
                  <a:lnTo>
                    <a:pt x="142" y="42"/>
                  </a:lnTo>
                  <a:lnTo>
                    <a:pt x="150" y="40"/>
                  </a:lnTo>
                  <a:lnTo>
                    <a:pt x="152" y="38"/>
                  </a:lnTo>
                  <a:lnTo>
                    <a:pt x="152" y="36"/>
                  </a:lnTo>
                  <a:lnTo>
                    <a:pt x="144" y="32"/>
                  </a:lnTo>
                  <a:lnTo>
                    <a:pt x="130" y="28"/>
                  </a:lnTo>
                  <a:lnTo>
                    <a:pt x="130" y="28"/>
                  </a:lnTo>
                  <a:lnTo>
                    <a:pt x="124" y="28"/>
                  </a:lnTo>
                  <a:lnTo>
                    <a:pt x="120" y="24"/>
                  </a:lnTo>
                  <a:lnTo>
                    <a:pt x="116" y="20"/>
                  </a:lnTo>
                  <a:lnTo>
                    <a:pt x="116" y="16"/>
                  </a:lnTo>
                  <a:lnTo>
                    <a:pt x="114" y="8"/>
                  </a:lnTo>
                  <a:lnTo>
                    <a:pt x="112" y="4"/>
                  </a:lnTo>
                  <a:lnTo>
                    <a:pt x="110" y="0"/>
                  </a:lnTo>
                  <a:lnTo>
                    <a:pt x="110" y="0"/>
                  </a:lnTo>
                  <a:lnTo>
                    <a:pt x="108" y="0"/>
                  </a:lnTo>
                  <a:lnTo>
                    <a:pt x="106" y="0"/>
                  </a:lnTo>
                  <a:lnTo>
                    <a:pt x="98" y="4"/>
                  </a:lnTo>
                  <a:lnTo>
                    <a:pt x="88" y="8"/>
                  </a:lnTo>
                  <a:lnTo>
                    <a:pt x="72" y="14"/>
                  </a:lnTo>
                  <a:lnTo>
                    <a:pt x="72" y="14"/>
                  </a:lnTo>
                  <a:lnTo>
                    <a:pt x="52" y="18"/>
                  </a:lnTo>
                  <a:lnTo>
                    <a:pt x="42" y="24"/>
                  </a:lnTo>
                  <a:lnTo>
                    <a:pt x="38" y="26"/>
                  </a:lnTo>
                  <a:lnTo>
                    <a:pt x="36" y="28"/>
                  </a:lnTo>
                  <a:lnTo>
                    <a:pt x="38" y="30"/>
                  </a:lnTo>
                  <a:lnTo>
                    <a:pt x="40" y="32"/>
                  </a:lnTo>
                  <a:lnTo>
                    <a:pt x="40" y="32"/>
                  </a:lnTo>
                  <a:lnTo>
                    <a:pt x="44" y="36"/>
                  </a:lnTo>
                  <a:lnTo>
                    <a:pt x="46" y="38"/>
                  </a:lnTo>
                  <a:lnTo>
                    <a:pt x="44" y="42"/>
                  </a:lnTo>
                  <a:lnTo>
                    <a:pt x="44" y="44"/>
                  </a:lnTo>
                  <a:lnTo>
                    <a:pt x="38" y="50"/>
                  </a:lnTo>
                  <a:lnTo>
                    <a:pt x="32" y="52"/>
                  </a:lnTo>
                  <a:lnTo>
                    <a:pt x="28" y="52"/>
                  </a:lnTo>
                  <a:lnTo>
                    <a:pt x="28" y="52"/>
                  </a:lnTo>
                  <a:lnTo>
                    <a:pt x="24" y="52"/>
                  </a:lnTo>
                  <a:lnTo>
                    <a:pt x="22" y="54"/>
                  </a:lnTo>
                  <a:lnTo>
                    <a:pt x="20" y="56"/>
                  </a:lnTo>
                  <a:lnTo>
                    <a:pt x="18" y="58"/>
                  </a:lnTo>
                  <a:lnTo>
                    <a:pt x="20" y="62"/>
                  </a:lnTo>
                  <a:lnTo>
                    <a:pt x="22" y="64"/>
                  </a:lnTo>
                  <a:lnTo>
                    <a:pt x="24" y="68"/>
                  </a:lnTo>
                  <a:lnTo>
                    <a:pt x="30" y="70"/>
                  </a:lnTo>
                  <a:lnTo>
                    <a:pt x="30" y="7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4" name="Freeform 41"/>
            <p:cNvSpPr>
              <a:spLocks/>
            </p:cNvSpPr>
            <p:nvPr/>
          </p:nvSpPr>
          <p:spPr bwMode="auto">
            <a:xfrm>
              <a:off x="13344525" y="2060575"/>
              <a:ext cx="47625" cy="25400"/>
            </a:xfrm>
            <a:custGeom>
              <a:avLst/>
              <a:gdLst>
                <a:gd name="T0" fmla="*/ 30 w 30"/>
                <a:gd name="T1" fmla="*/ 4 h 16"/>
                <a:gd name="T2" fmla="*/ 30 w 30"/>
                <a:gd name="T3" fmla="*/ 4 h 16"/>
                <a:gd name="T4" fmla="*/ 28 w 30"/>
                <a:gd name="T5" fmla="*/ 0 h 16"/>
                <a:gd name="T6" fmla="*/ 24 w 30"/>
                <a:gd name="T7" fmla="*/ 0 h 16"/>
                <a:gd name="T8" fmla="*/ 18 w 30"/>
                <a:gd name="T9" fmla="*/ 0 h 16"/>
                <a:gd name="T10" fmla="*/ 10 w 30"/>
                <a:gd name="T11" fmla="*/ 2 h 16"/>
                <a:gd name="T12" fmla="*/ 4 w 30"/>
                <a:gd name="T13" fmla="*/ 6 h 16"/>
                <a:gd name="T14" fmla="*/ 2 w 30"/>
                <a:gd name="T15" fmla="*/ 8 h 16"/>
                <a:gd name="T16" fmla="*/ 0 w 30"/>
                <a:gd name="T17" fmla="*/ 12 h 16"/>
                <a:gd name="T18" fmla="*/ 4 w 30"/>
                <a:gd name="T19" fmla="*/ 14 h 16"/>
                <a:gd name="T20" fmla="*/ 4 w 30"/>
                <a:gd name="T21" fmla="*/ 14 h 16"/>
                <a:gd name="T22" fmla="*/ 12 w 30"/>
                <a:gd name="T23" fmla="*/ 16 h 16"/>
                <a:gd name="T24" fmla="*/ 22 w 30"/>
                <a:gd name="T25" fmla="*/ 16 h 16"/>
                <a:gd name="T26" fmla="*/ 28 w 30"/>
                <a:gd name="T27" fmla="*/ 12 h 16"/>
                <a:gd name="T28" fmla="*/ 30 w 30"/>
                <a:gd name="T29" fmla="*/ 8 h 16"/>
                <a:gd name="T30" fmla="*/ 30 w 30"/>
                <a:gd name="T31" fmla="*/ 4 h 16"/>
                <a:gd name="T32" fmla="*/ 30 w 30"/>
                <a:gd name="T3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16">
                  <a:moveTo>
                    <a:pt x="30" y="4"/>
                  </a:moveTo>
                  <a:lnTo>
                    <a:pt x="30" y="4"/>
                  </a:lnTo>
                  <a:lnTo>
                    <a:pt x="28" y="0"/>
                  </a:lnTo>
                  <a:lnTo>
                    <a:pt x="24" y="0"/>
                  </a:lnTo>
                  <a:lnTo>
                    <a:pt x="18" y="0"/>
                  </a:lnTo>
                  <a:lnTo>
                    <a:pt x="10" y="2"/>
                  </a:lnTo>
                  <a:lnTo>
                    <a:pt x="4" y="6"/>
                  </a:lnTo>
                  <a:lnTo>
                    <a:pt x="2" y="8"/>
                  </a:lnTo>
                  <a:lnTo>
                    <a:pt x="0" y="12"/>
                  </a:lnTo>
                  <a:lnTo>
                    <a:pt x="4" y="14"/>
                  </a:lnTo>
                  <a:lnTo>
                    <a:pt x="4" y="14"/>
                  </a:lnTo>
                  <a:lnTo>
                    <a:pt x="12" y="16"/>
                  </a:lnTo>
                  <a:lnTo>
                    <a:pt x="22" y="16"/>
                  </a:lnTo>
                  <a:lnTo>
                    <a:pt x="28" y="12"/>
                  </a:lnTo>
                  <a:lnTo>
                    <a:pt x="30" y="8"/>
                  </a:lnTo>
                  <a:lnTo>
                    <a:pt x="30" y="4"/>
                  </a:lnTo>
                  <a:lnTo>
                    <a:pt x="30"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5" name="Freeform 42"/>
            <p:cNvSpPr>
              <a:spLocks/>
            </p:cNvSpPr>
            <p:nvPr/>
          </p:nvSpPr>
          <p:spPr bwMode="auto">
            <a:xfrm>
              <a:off x="11217275" y="1406525"/>
              <a:ext cx="60325" cy="25400"/>
            </a:xfrm>
            <a:custGeom>
              <a:avLst/>
              <a:gdLst>
                <a:gd name="T0" fmla="*/ 38 w 38"/>
                <a:gd name="T1" fmla="*/ 6 h 16"/>
                <a:gd name="T2" fmla="*/ 38 w 38"/>
                <a:gd name="T3" fmla="*/ 6 h 16"/>
                <a:gd name="T4" fmla="*/ 38 w 38"/>
                <a:gd name="T5" fmla="*/ 4 h 16"/>
                <a:gd name="T6" fmla="*/ 38 w 38"/>
                <a:gd name="T7" fmla="*/ 4 h 16"/>
                <a:gd name="T8" fmla="*/ 32 w 38"/>
                <a:gd name="T9" fmla="*/ 0 h 16"/>
                <a:gd name="T10" fmla="*/ 24 w 38"/>
                <a:gd name="T11" fmla="*/ 0 h 16"/>
                <a:gd name="T12" fmla="*/ 16 w 38"/>
                <a:gd name="T13" fmla="*/ 0 h 16"/>
                <a:gd name="T14" fmla="*/ 8 w 38"/>
                <a:gd name="T15" fmla="*/ 2 h 16"/>
                <a:gd name="T16" fmla="*/ 2 w 38"/>
                <a:gd name="T17" fmla="*/ 4 h 16"/>
                <a:gd name="T18" fmla="*/ 0 w 38"/>
                <a:gd name="T19" fmla="*/ 8 h 16"/>
                <a:gd name="T20" fmla="*/ 2 w 38"/>
                <a:gd name="T21" fmla="*/ 12 h 16"/>
                <a:gd name="T22" fmla="*/ 2 w 38"/>
                <a:gd name="T23" fmla="*/ 12 h 16"/>
                <a:gd name="T24" fmla="*/ 10 w 38"/>
                <a:gd name="T25" fmla="*/ 14 h 16"/>
                <a:gd name="T26" fmla="*/ 20 w 38"/>
                <a:gd name="T27" fmla="*/ 16 h 16"/>
                <a:gd name="T28" fmla="*/ 32 w 38"/>
                <a:gd name="T29" fmla="*/ 14 h 16"/>
                <a:gd name="T30" fmla="*/ 36 w 38"/>
                <a:gd name="T31" fmla="*/ 10 h 16"/>
                <a:gd name="T32" fmla="*/ 38 w 38"/>
                <a:gd name="T33" fmla="*/ 6 h 16"/>
                <a:gd name="T34" fmla="*/ 38 w 38"/>
                <a:gd name="T3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16">
                  <a:moveTo>
                    <a:pt x="38" y="6"/>
                  </a:moveTo>
                  <a:lnTo>
                    <a:pt x="38" y="6"/>
                  </a:lnTo>
                  <a:lnTo>
                    <a:pt x="38" y="4"/>
                  </a:lnTo>
                  <a:lnTo>
                    <a:pt x="38" y="4"/>
                  </a:lnTo>
                  <a:lnTo>
                    <a:pt x="32" y="0"/>
                  </a:lnTo>
                  <a:lnTo>
                    <a:pt x="24" y="0"/>
                  </a:lnTo>
                  <a:lnTo>
                    <a:pt x="16" y="0"/>
                  </a:lnTo>
                  <a:lnTo>
                    <a:pt x="8" y="2"/>
                  </a:lnTo>
                  <a:lnTo>
                    <a:pt x="2" y="4"/>
                  </a:lnTo>
                  <a:lnTo>
                    <a:pt x="0" y="8"/>
                  </a:lnTo>
                  <a:lnTo>
                    <a:pt x="2" y="12"/>
                  </a:lnTo>
                  <a:lnTo>
                    <a:pt x="2" y="12"/>
                  </a:lnTo>
                  <a:lnTo>
                    <a:pt x="10" y="14"/>
                  </a:lnTo>
                  <a:lnTo>
                    <a:pt x="20" y="16"/>
                  </a:lnTo>
                  <a:lnTo>
                    <a:pt x="32" y="14"/>
                  </a:lnTo>
                  <a:lnTo>
                    <a:pt x="36" y="10"/>
                  </a:lnTo>
                  <a:lnTo>
                    <a:pt x="38" y="6"/>
                  </a:lnTo>
                  <a:lnTo>
                    <a:pt x="38" y="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6" name="Freeform 43"/>
            <p:cNvSpPr>
              <a:spLocks/>
            </p:cNvSpPr>
            <p:nvPr/>
          </p:nvSpPr>
          <p:spPr bwMode="auto">
            <a:xfrm>
              <a:off x="11347450" y="1514475"/>
              <a:ext cx="250825" cy="133350"/>
            </a:xfrm>
            <a:custGeom>
              <a:avLst/>
              <a:gdLst>
                <a:gd name="T0" fmla="*/ 20 w 158"/>
                <a:gd name="T1" fmla="*/ 18 h 84"/>
                <a:gd name="T2" fmla="*/ 16 w 158"/>
                <a:gd name="T3" fmla="*/ 26 h 84"/>
                <a:gd name="T4" fmla="*/ 2 w 158"/>
                <a:gd name="T5" fmla="*/ 38 h 84"/>
                <a:gd name="T6" fmla="*/ 2 w 158"/>
                <a:gd name="T7" fmla="*/ 42 h 84"/>
                <a:gd name="T8" fmla="*/ 6 w 158"/>
                <a:gd name="T9" fmla="*/ 46 h 84"/>
                <a:gd name="T10" fmla="*/ 22 w 158"/>
                <a:gd name="T11" fmla="*/ 48 h 84"/>
                <a:gd name="T12" fmla="*/ 24 w 158"/>
                <a:gd name="T13" fmla="*/ 50 h 84"/>
                <a:gd name="T14" fmla="*/ 32 w 158"/>
                <a:gd name="T15" fmla="*/ 60 h 84"/>
                <a:gd name="T16" fmla="*/ 44 w 158"/>
                <a:gd name="T17" fmla="*/ 68 h 84"/>
                <a:gd name="T18" fmla="*/ 48 w 158"/>
                <a:gd name="T19" fmla="*/ 66 h 84"/>
                <a:gd name="T20" fmla="*/ 64 w 158"/>
                <a:gd name="T21" fmla="*/ 68 h 84"/>
                <a:gd name="T22" fmla="*/ 106 w 158"/>
                <a:gd name="T23" fmla="*/ 80 h 84"/>
                <a:gd name="T24" fmla="*/ 126 w 158"/>
                <a:gd name="T25" fmla="*/ 84 h 84"/>
                <a:gd name="T26" fmla="*/ 134 w 158"/>
                <a:gd name="T27" fmla="*/ 82 h 84"/>
                <a:gd name="T28" fmla="*/ 144 w 158"/>
                <a:gd name="T29" fmla="*/ 76 h 84"/>
                <a:gd name="T30" fmla="*/ 148 w 158"/>
                <a:gd name="T31" fmla="*/ 70 h 84"/>
                <a:gd name="T32" fmla="*/ 146 w 158"/>
                <a:gd name="T33" fmla="*/ 64 h 84"/>
                <a:gd name="T34" fmla="*/ 144 w 158"/>
                <a:gd name="T35" fmla="*/ 62 h 84"/>
                <a:gd name="T36" fmla="*/ 142 w 158"/>
                <a:gd name="T37" fmla="*/ 60 h 84"/>
                <a:gd name="T38" fmla="*/ 156 w 158"/>
                <a:gd name="T39" fmla="*/ 32 h 84"/>
                <a:gd name="T40" fmla="*/ 158 w 158"/>
                <a:gd name="T41" fmla="*/ 28 h 84"/>
                <a:gd name="T42" fmla="*/ 156 w 158"/>
                <a:gd name="T43" fmla="*/ 20 h 84"/>
                <a:gd name="T44" fmla="*/ 140 w 158"/>
                <a:gd name="T45" fmla="*/ 12 h 84"/>
                <a:gd name="T46" fmla="*/ 124 w 158"/>
                <a:gd name="T47" fmla="*/ 8 h 84"/>
                <a:gd name="T48" fmla="*/ 116 w 158"/>
                <a:gd name="T49" fmla="*/ 12 h 84"/>
                <a:gd name="T50" fmla="*/ 116 w 158"/>
                <a:gd name="T51" fmla="*/ 14 h 84"/>
                <a:gd name="T52" fmla="*/ 114 w 158"/>
                <a:gd name="T53" fmla="*/ 20 h 84"/>
                <a:gd name="T54" fmla="*/ 108 w 158"/>
                <a:gd name="T55" fmla="*/ 18 h 84"/>
                <a:gd name="T56" fmla="*/ 96 w 158"/>
                <a:gd name="T57" fmla="*/ 2 h 84"/>
                <a:gd name="T58" fmla="*/ 92 w 158"/>
                <a:gd name="T59" fmla="*/ 0 h 84"/>
                <a:gd name="T60" fmla="*/ 56 w 158"/>
                <a:gd name="T61" fmla="*/ 4 h 84"/>
                <a:gd name="T62" fmla="*/ 24 w 158"/>
                <a:gd name="T63" fmla="*/ 14 h 84"/>
                <a:gd name="T64" fmla="*/ 20 w 158"/>
                <a:gd name="T65"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8" h="84">
                  <a:moveTo>
                    <a:pt x="20" y="18"/>
                  </a:moveTo>
                  <a:lnTo>
                    <a:pt x="20" y="18"/>
                  </a:lnTo>
                  <a:lnTo>
                    <a:pt x="18" y="22"/>
                  </a:lnTo>
                  <a:lnTo>
                    <a:pt x="16" y="26"/>
                  </a:lnTo>
                  <a:lnTo>
                    <a:pt x="8" y="32"/>
                  </a:lnTo>
                  <a:lnTo>
                    <a:pt x="2" y="38"/>
                  </a:lnTo>
                  <a:lnTo>
                    <a:pt x="0" y="40"/>
                  </a:lnTo>
                  <a:lnTo>
                    <a:pt x="2" y="42"/>
                  </a:lnTo>
                  <a:lnTo>
                    <a:pt x="2" y="42"/>
                  </a:lnTo>
                  <a:lnTo>
                    <a:pt x="6" y="46"/>
                  </a:lnTo>
                  <a:lnTo>
                    <a:pt x="10" y="48"/>
                  </a:lnTo>
                  <a:lnTo>
                    <a:pt x="22" y="48"/>
                  </a:lnTo>
                  <a:lnTo>
                    <a:pt x="22" y="48"/>
                  </a:lnTo>
                  <a:lnTo>
                    <a:pt x="24" y="50"/>
                  </a:lnTo>
                  <a:lnTo>
                    <a:pt x="28" y="52"/>
                  </a:lnTo>
                  <a:lnTo>
                    <a:pt x="32" y="60"/>
                  </a:lnTo>
                  <a:lnTo>
                    <a:pt x="40" y="66"/>
                  </a:lnTo>
                  <a:lnTo>
                    <a:pt x="44" y="68"/>
                  </a:lnTo>
                  <a:lnTo>
                    <a:pt x="48" y="66"/>
                  </a:lnTo>
                  <a:lnTo>
                    <a:pt x="48" y="66"/>
                  </a:lnTo>
                  <a:lnTo>
                    <a:pt x="54" y="66"/>
                  </a:lnTo>
                  <a:lnTo>
                    <a:pt x="64" y="68"/>
                  </a:lnTo>
                  <a:lnTo>
                    <a:pt x="84" y="74"/>
                  </a:lnTo>
                  <a:lnTo>
                    <a:pt x="106" y="80"/>
                  </a:lnTo>
                  <a:lnTo>
                    <a:pt x="116" y="82"/>
                  </a:lnTo>
                  <a:lnTo>
                    <a:pt x="126" y="84"/>
                  </a:lnTo>
                  <a:lnTo>
                    <a:pt x="126" y="84"/>
                  </a:lnTo>
                  <a:lnTo>
                    <a:pt x="134" y="82"/>
                  </a:lnTo>
                  <a:lnTo>
                    <a:pt x="140" y="80"/>
                  </a:lnTo>
                  <a:lnTo>
                    <a:pt x="144" y="76"/>
                  </a:lnTo>
                  <a:lnTo>
                    <a:pt x="146" y="74"/>
                  </a:lnTo>
                  <a:lnTo>
                    <a:pt x="148" y="70"/>
                  </a:lnTo>
                  <a:lnTo>
                    <a:pt x="148" y="66"/>
                  </a:lnTo>
                  <a:lnTo>
                    <a:pt x="146" y="64"/>
                  </a:lnTo>
                  <a:lnTo>
                    <a:pt x="144" y="62"/>
                  </a:lnTo>
                  <a:lnTo>
                    <a:pt x="144" y="62"/>
                  </a:lnTo>
                  <a:lnTo>
                    <a:pt x="142" y="62"/>
                  </a:lnTo>
                  <a:lnTo>
                    <a:pt x="142" y="60"/>
                  </a:lnTo>
                  <a:lnTo>
                    <a:pt x="142" y="54"/>
                  </a:lnTo>
                  <a:lnTo>
                    <a:pt x="156" y="32"/>
                  </a:lnTo>
                  <a:lnTo>
                    <a:pt x="156" y="32"/>
                  </a:lnTo>
                  <a:lnTo>
                    <a:pt x="158" y="28"/>
                  </a:lnTo>
                  <a:lnTo>
                    <a:pt x="158" y="26"/>
                  </a:lnTo>
                  <a:lnTo>
                    <a:pt x="156" y="20"/>
                  </a:lnTo>
                  <a:lnTo>
                    <a:pt x="150" y="14"/>
                  </a:lnTo>
                  <a:lnTo>
                    <a:pt x="140" y="12"/>
                  </a:lnTo>
                  <a:lnTo>
                    <a:pt x="132" y="8"/>
                  </a:lnTo>
                  <a:lnTo>
                    <a:pt x="124" y="8"/>
                  </a:lnTo>
                  <a:lnTo>
                    <a:pt x="118" y="10"/>
                  </a:lnTo>
                  <a:lnTo>
                    <a:pt x="116" y="12"/>
                  </a:lnTo>
                  <a:lnTo>
                    <a:pt x="116" y="14"/>
                  </a:lnTo>
                  <a:lnTo>
                    <a:pt x="116" y="14"/>
                  </a:lnTo>
                  <a:lnTo>
                    <a:pt x="116" y="18"/>
                  </a:lnTo>
                  <a:lnTo>
                    <a:pt x="114" y="20"/>
                  </a:lnTo>
                  <a:lnTo>
                    <a:pt x="110" y="20"/>
                  </a:lnTo>
                  <a:lnTo>
                    <a:pt x="108" y="18"/>
                  </a:lnTo>
                  <a:lnTo>
                    <a:pt x="100" y="10"/>
                  </a:lnTo>
                  <a:lnTo>
                    <a:pt x="96" y="2"/>
                  </a:lnTo>
                  <a:lnTo>
                    <a:pt x="96" y="2"/>
                  </a:lnTo>
                  <a:lnTo>
                    <a:pt x="92" y="0"/>
                  </a:lnTo>
                  <a:lnTo>
                    <a:pt x="82" y="0"/>
                  </a:lnTo>
                  <a:lnTo>
                    <a:pt x="56" y="4"/>
                  </a:lnTo>
                  <a:lnTo>
                    <a:pt x="32" y="12"/>
                  </a:lnTo>
                  <a:lnTo>
                    <a:pt x="24" y="14"/>
                  </a:lnTo>
                  <a:lnTo>
                    <a:pt x="20" y="18"/>
                  </a:lnTo>
                  <a:lnTo>
                    <a:pt x="20" y="1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7" name="Freeform 44"/>
            <p:cNvSpPr>
              <a:spLocks/>
            </p:cNvSpPr>
            <p:nvPr/>
          </p:nvSpPr>
          <p:spPr bwMode="auto">
            <a:xfrm>
              <a:off x="3394075" y="2092325"/>
              <a:ext cx="1254125" cy="901700"/>
            </a:xfrm>
            <a:custGeom>
              <a:avLst/>
              <a:gdLst>
                <a:gd name="T0" fmla="*/ 502 w 790"/>
                <a:gd name="T1" fmla="*/ 120 h 568"/>
                <a:gd name="T2" fmla="*/ 454 w 790"/>
                <a:gd name="T3" fmla="*/ 128 h 568"/>
                <a:gd name="T4" fmla="*/ 406 w 790"/>
                <a:gd name="T5" fmla="*/ 92 h 568"/>
                <a:gd name="T6" fmla="*/ 344 w 790"/>
                <a:gd name="T7" fmla="*/ 60 h 568"/>
                <a:gd name="T8" fmla="*/ 310 w 790"/>
                <a:gd name="T9" fmla="*/ 88 h 568"/>
                <a:gd name="T10" fmla="*/ 256 w 790"/>
                <a:gd name="T11" fmla="*/ 90 h 568"/>
                <a:gd name="T12" fmla="*/ 250 w 790"/>
                <a:gd name="T13" fmla="*/ 38 h 568"/>
                <a:gd name="T14" fmla="*/ 192 w 790"/>
                <a:gd name="T15" fmla="*/ 4 h 568"/>
                <a:gd name="T16" fmla="*/ 124 w 790"/>
                <a:gd name="T17" fmla="*/ 34 h 568"/>
                <a:gd name="T18" fmla="*/ 122 w 790"/>
                <a:gd name="T19" fmla="*/ 86 h 568"/>
                <a:gd name="T20" fmla="*/ 146 w 790"/>
                <a:gd name="T21" fmla="*/ 120 h 568"/>
                <a:gd name="T22" fmla="*/ 98 w 790"/>
                <a:gd name="T23" fmla="*/ 84 h 568"/>
                <a:gd name="T24" fmla="*/ 108 w 790"/>
                <a:gd name="T25" fmla="*/ 28 h 568"/>
                <a:gd name="T26" fmla="*/ 112 w 790"/>
                <a:gd name="T27" fmla="*/ 0 h 568"/>
                <a:gd name="T28" fmla="*/ 0 w 790"/>
                <a:gd name="T29" fmla="*/ 88 h 568"/>
                <a:gd name="T30" fmla="*/ 62 w 790"/>
                <a:gd name="T31" fmla="*/ 136 h 568"/>
                <a:gd name="T32" fmla="*/ 18 w 790"/>
                <a:gd name="T33" fmla="*/ 146 h 568"/>
                <a:gd name="T34" fmla="*/ 68 w 790"/>
                <a:gd name="T35" fmla="*/ 178 h 568"/>
                <a:gd name="T36" fmla="*/ 150 w 790"/>
                <a:gd name="T37" fmla="*/ 194 h 568"/>
                <a:gd name="T38" fmla="*/ 238 w 790"/>
                <a:gd name="T39" fmla="*/ 192 h 568"/>
                <a:gd name="T40" fmla="*/ 306 w 790"/>
                <a:gd name="T41" fmla="*/ 192 h 568"/>
                <a:gd name="T42" fmla="*/ 302 w 790"/>
                <a:gd name="T43" fmla="*/ 170 h 568"/>
                <a:gd name="T44" fmla="*/ 350 w 790"/>
                <a:gd name="T45" fmla="*/ 204 h 568"/>
                <a:gd name="T46" fmla="*/ 386 w 790"/>
                <a:gd name="T47" fmla="*/ 238 h 568"/>
                <a:gd name="T48" fmla="*/ 400 w 790"/>
                <a:gd name="T49" fmla="*/ 244 h 568"/>
                <a:gd name="T50" fmla="*/ 436 w 790"/>
                <a:gd name="T51" fmla="*/ 268 h 568"/>
                <a:gd name="T52" fmla="*/ 478 w 790"/>
                <a:gd name="T53" fmla="*/ 324 h 568"/>
                <a:gd name="T54" fmla="*/ 522 w 790"/>
                <a:gd name="T55" fmla="*/ 338 h 568"/>
                <a:gd name="T56" fmla="*/ 550 w 790"/>
                <a:gd name="T57" fmla="*/ 374 h 568"/>
                <a:gd name="T58" fmla="*/ 500 w 790"/>
                <a:gd name="T59" fmla="*/ 358 h 568"/>
                <a:gd name="T60" fmla="*/ 438 w 790"/>
                <a:gd name="T61" fmla="*/ 390 h 568"/>
                <a:gd name="T62" fmla="*/ 380 w 790"/>
                <a:gd name="T63" fmla="*/ 414 h 568"/>
                <a:gd name="T64" fmla="*/ 338 w 790"/>
                <a:gd name="T65" fmla="*/ 422 h 568"/>
                <a:gd name="T66" fmla="*/ 338 w 790"/>
                <a:gd name="T67" fmla="*/ 460 h 568"/>
                <a:gd name="T68" fmla="*/ 420 w 790"/>
                <a:gd name="T69" fmla="*/ 446 h 568"/>
                <a:gd name="T70" fmla="*/ 486 w 790"/>
                <a:gd name="T71" fmla="*/ 478 h 568"/>
                <a:gd name="T72" fmla="*/ 508 w 790"/>
                <a:gd name="T73" fmla="*/ 516 h 568"/>
                <a:gd name="T74" fmla="*/ 626 w 790"/>
                <a:gd name="T75" fmla="*/ 564 h 568"/>
                <a:gd name="T76" fmla="*/ 628 w 790"/>
                <a:gd name="T77" fmla="*/ 526 h 568"/>
                <a:gd name="T78" fmla="*/ 604 w 790"/>
                <a:gd name="T79" fmla="*/ 490 h 568"/>
                <a:gd name="T80" fmla="*/ 688 w 790"/>
                <a:gd name="T81" fmla="*/ 512 h 568"/>
                <a:gd name="T82" fmla="*/ 682 w 790"/>
                <a:gd name="T83" fmla="*/ 474 h 568"/>
                <a:gd name="T84" fmla="*/ 620 w 790"/>
                <a:gd name="T85" fmla="*/ 418 h 568"/>
                <a:gd name="T86" fmla="*/ 612 w 790"/>
                <a:gd name="T87" fmla="*/ 374 h 568"/>
                <a:gd name="T88" fmla="*/ 654 w 790"/>
                <a:gd name="T89" fmla="*/ 378 h 568"/>
                <a:gd name="T90" fmla="*/ 714 w 790"/>
                <a:gd name="T91" fmla="*/ 426 h 568"/>
                <a:gd name="T92" fmla="*/ 750 w 790"/>
                <a:gd name="T93" fmla="*/ 398 h 568"/>
                <a:gd name="T94" fmla="*/ 790 w 790"/>
                <a:gd name="T95" fmla="*/ 354 h 568"/>
                <a:gd name="T96" fmla="*/ 736 w 790"/>
                <a:gd name="T97" fmla="*/ 332 h 568"/>
                <a:gd name="T98" fmla="*/ 684 w 790"/>
                <a:gd name="T99" fmla="*/ 294 h 568"/>
                <a:gd name="T100" fmla="*/ 606 w 790"/>
                <a:gd name="T101" fmla="*/ 264 h 568"/>
                <a:gd name="T102" fmla="*/ 634 w 790"/>
                <a:gd name="T103" fmla="*/ 242 h 568"/>
                <a:gd name="T104" fmla="*/ 606 w 790"/>
                <a:gd name="T105" fmla="*/ 218 h 568"/>
                <a:gd name="T106" fmla="*/ 606 w 790"/>
                <a:gd name="T107" fmla="*/ 188 h 568"/>
                <a:gd name="T108" fmla="*/ 588 w 790"/>
                <a:gd name="T109" fmla="*/ 182 h 568"/>
                <a:gd name="T110" fmla="*/ 540 w 790"/>
                <a:gd name="T111" fmla="*/ 164 h 568"/>
                <a:gd name="T112" fmla="*/ 496 w 790"/>
                <a:gd name="T113" fmla="*/ 156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0" h="568">
                  <a:moveTo>
                    <a:pt x="486" y="148"/>
                  </a:moveTo>
                  <a:lnTo>
                    <a:pt x="486" y="148"/>
                  </a:lnTo>
                  <a:lnTo>
                    <a:pt x="494" y="144"/>
                  </a:lnTo>
                  <a:lnTo>
                    <a:pt x="504" y="140"/>
                  </a:lnTo>
                  <a:lnTo>
                    <a:pt x="508" y="134"/>
                  </a:lnTo>
                  <a:lnTo>
                    <a:pt x="510" y="130"/>
                  </a:lnTo>
                  <a:lnTo>
                    <a:pt x="508" y="126"/>
                  </a:lnTo>
                  <a:lnTo>
                    <a:pt x="508" y="126"/>
                  </a:lnTo>
                  <a:lnTo>
                    <a:pt x="506" y="122"/>
                  </a:lnTo>
                  <a:lnTo>
                    <a:pt x="502" y="120"/>
                  </a:lnTo>
                  <a:lnTo>
                    <a:pt x="496" y="118"/>
                  </a:lnTo>
                  <a:lnTo>
                    <a:pt x="490" y="118"/>
                  </a:lnTo>
                  <a:lnTo>
                    <a:pt x="482" y="118"/>
                  </a:lnTo>
                  <a:lnTo>
                    <a:pt x="476" y="120"/>
                  </a:lnTo>
                  <a:lnTo>
                    <a:pt x="470" y="122"/>
                  </a:lnTo>
                  <a:lnTo>
                    <a:pt x="468" y="126"/>
                  </a:lnTo>
                  <a:lnTo>
                    <a:pt x="468" y="126"/>
                  </a:lnTo>
                  <a:lnTo>
                    <a:pt x="464" y="130"/>
                  </a:lnTo>
                  <a:lnTo>
                    <a:pt x="460" y="130"/>
                  </a:lnTo>
                  <a:lnTo>
                    <a:pt x="454" y="128"/>
                  </a:lnTo>
                  <a:lnTo>
                    <a:pt x="450" y="124"/>
                  </a:lnTo>
                  <a:lnTo>
                    <a:pt x="440" y="112"/>
                  </a:lnTo>
                  <a:lnTo>
                    <a:pt x="438" y="106"/>
                  </a:lnTo>
                  <a:lnTo>
                    <a:pt x="436" y="102"/>
                  </a:lnTo>
                  <a:lnTo>
                    <a:pt x="436" y="102"/>
                  </a:lnTo>
                  <a:lnTo>
                    <a:pt x="434" y="98"/>
                  </a:lnTo>
                  <a:lnTo>
                    <a:pt x="430" y="96"/>
                  </a:lnTo>
                  <a:lnTo>
                    <a:pt x="418" y="94"/>
                  </a:lnTo>
                  <a:lnTo>
                    <a:pt x="410" y="94"/>
                  </a:lnTo>
                  <a:lnTo>
                    <a:pt x="406" y="92"/>
                  </a:lnTo>
                  <a:lnTo>
                    <a:pt x="402" y="88"/>
                  </a:lnTo>
                  <a:lnTo>
                    <a:pt x="402" y="82"/>
                  </a:lnTo>
                  <a:lnTo>
                    <a:pt x="402" y="82"/>
                  </a:lnTo>
                  <a:lnTo>
                    <a:pt x="402" y="78"/>
                  </a:lnTo>
                  <a:lnTo>
                    <a:pt x="402" y="76"/>
                  </a:lnTo>
                  <a:lnTo>
                    <a:pt x="398" y="70"/>
                  </a:lnTo>
                  <a:lnTo>
                    <a:pt x="390" y="66"/>
                  </a:lnTo>
                  <a:lnTo>
                    <a:pt x="380" y="64"/>
                  </a:lnTo>
                  <a:lnTo>
                    <a:pt x="360" y="60"/>
                  </a:lnTo>
                  <a:lnTo>
                    <a:pt x="344" y="60"/>
                  </a:lnTo>
                  <a:lnTo>
                    <a:pt x="344" y="60"/>
                  </a:lnTo>
                  <a:lnTo>
                    <a:pt x="334" y="62"/>
                  </a:lnTo>
                  <a:lnTo>
                    <a:pt x="324" y="66"/>
                  </a:lnTo>
                  <a:lnTo>
                    <a:pt x="316" y="74"/>
                  </a:lnTo>
                  <a:lnTo>
                    <a:pt x="314" y="78"/>
                  </a:lnTo>
                  <a:lnTo>
                    <a:pt x="314" y="82"/>
                  </a:lnTo>
                  <a:lnTo>
                    <a:pt x="314" y="82"/>
                  </a:lnTo>
                  <a:lnTo>
                    <a:pt x="314" y="86"/>
                  </a:lnTo>
                  <a:lnTo>
                    <a:pt x="312" y="88"/>
                  </a:lnTo>
                  <a:lnTo>
                    <a:pt x="310" y="88"/>
                  </a:lnTo>
                  <a:lnTo>
                    <a:pt x="308" y="88"/>
                  </a:lnTo>
                  <a:lnTo>
                    <a:pt x="302" y="84"/>
                  </a:lnTo>
                  <a:lnTo>
                    <a:pt x="298" y="80"/>
                  </a:lnTo>
                  <a:lnTo>
                    <a:pt x="298" y="76"/>
                  </a:lnTo>
                  <a:lnTo>
                    <a:pt x="298" y="76"/>
                  </a:lnTo>
                  <a:lnTo>
                    <a:pt x="294" y="72"/>
                  </a:lnTo>
                  <a:lnTo>
                    <a:pt x="290" y="72"/>
                  </a:lnTo>
                  <a:lnTo>
                    <a:pt x="278" y="78"/>
                  </a:lnTo>
                  <a:lnTo>
                    <a:pt x="264" y="86"/>
                  </a:lnTo>
                  <a:lnTo>
                    <a:pt x="256" y="90"/>
                  </a:lnTo>
                  <a:lnTo>
                    <a:pt x="252" y="90"/>
                  </a:lnTo>
                  <a:lnTo>
                    <a:pt x="252" y="90"/>
                  </a:lnTo>
                  <a:lnTo>
                    <a:pt x="250" y="90"/>
                  </a:lnTo>
                  <a:lnTo>
                    <a:pt x="250" y="84"/>
                  </a:lnTo>
                  <a:lnTo>
                    <a:pt x="252" y="72"/>
                  </a:lnTo>
                  <a:lnTo>
                    <a:pt x="254" y="56"/>
                  </a:lnTo>
                  <a:lnTo>
                    <a:pt x="254" y="50"/>
                  </a:lnTo>
                  <a:lnTo>
                    <a:pt x="254" y="44"/>
                  </a:lnTo>
                  <a:lnTo>
                    <a:pt x="254" y="44"/>
                  </a:lnTo>
                  <a:lnTo>
                    <a:pt x="250" y="38"/>
                  </a:lnTo>
                  <a:lnTo>
                    <a:pt x="244" y="32"/>
                  </a:lnTo>
                  <a:lnTo>
                    <a:pt x="240" y="24"/>
                  </a:lnTo>
                  <a:lnTo>
                    <a:pt x="234" y="12"/>
                  </a:lnTo>
                  <a:lnTo>
                    <a:pt x="234" y="12"/>
                  </a:lnTo>
                  <a:lnTo>
                    <a:pt x="230" y="6"/>
                  </a:lnTo>
                  <a:lnTo>
                    <a:pt x="224" y="2"/>
                  </a:lnTo>
                  <a:lnTo>
                    <a:pt x="216" y="2"/>
                  </a:lnTo>
                  <a:lnTo>
                    <a:pt x="208" y="2"/>
                  </a:lnTo>
                  <a:lnTo>
                    <a:pt x="200" y="2"/>
                  </a:lnTo>
                  <a:lnTo>
                    <a:pt x="192" y="4"/>
                  </a:lnTo>
                  <a:lnTo>
                    <a:pt x="186" y="8"/>
                  </a:lnTo>
                  <a:lnTo>
                    <a:pt x="182" y="12"/>
                  </a:lnTo>
                  <a:lnTo>
                    <a:pt x="182" y="12"/>
                  </a:lnTo>
                  <a:lnTo>
                    <a:pt x="176" y="16"/>
                  </a:lnTo>
                  <a:lnTo>
                    <a:pt x="170" y="18"/>
                  </a:lnTo>
                  <a:lnTo>
                    <a:pt x="154" y="22"/>
                  </a:lnTo>
                  <a:lnTo>
                    <a:pt x="138" y="26"/>
                  </a:lnTo>
                  <a:lnTo>
                    <a:pt x="130" y="30"/>
                  </a:lnTo>
                  <a:lnTo>
                    <a:pt x="124" y="34"/>
                  </a:lnTo>
                  <a:lnTo>
                    <a:pt x="124" y="34"/>
                  </a:lnTo>
                  <a:lnTo>
                    <a:pt x="118" y="42"/>
                  </a:lnTo>
                  <a:lnTo>
                    <a:pt x="116" y="48"/>
                  </a:lnTo>
                  <a:lnTo>
                    <a:pt x="116" y="54"/>
                  </a:lnTo>
                  <a:lnTo>
                    <a:pt x="118" y="58"/>
                  </a:lnTo>
                  <a:lnTo>
                    <a:pt x="124" y="68"/>
                  </a:lnTo>
                  <a:lnTo>
                    <a:pt x="132" y="74"/>
                  </a:lnTo>
                  <a:lnTo>
                    <a:pt x="132" y="74"/>
                  </a:lnTo>
                  <a:lnTo>
                    <a:pt x="132" y="78"/>
                  </a:lnTo>
                  <a:lnTo>
                    <a:pt x="130" y="80"/>
                  </a:lnTo>
                  <a:lnTo>
                    <a:pt x="122" y="86"/>
                  </a:lnTo>
                  <a:lnTo>
                    <a:pt x="116" y="94"/>
                  </a:lnTo>
                  <a:lnTo>
                    <a:pt x="114" y="96"/>
                  </a:lnTo>
                  <a:lnTo>
                    <a:pt x="118" y="100"/>
                  </a:lnTo>
                  <a:lnTo>
                    <a:pt x="118" y="100"/>
                  </a:lnTo>
                  <a:lnTo>
                    <a:pt x="126" y="106"/>
                  </a:lnTo>
                  <a:lnTo>
                    <a:pt x="136" y="108"/>
                  </a:lnTo>
                  <a:lnTo>
                    <a:pt x="142" y="112"/>
                  </a:lnTo>
                  <a:lnTo>
                    <a:pt x="144" y="116"/>
                  </a:lnTo>
                  <a:lnTo>
                    <a:pt x="146" y="120"/>
                  </a:lnTo>
                  <a:lnTo>
                    <a:pt x="146" y="120"/>
                  </a:lnTo>
                  <a:lnTo>
                    <a:pt x="144" y="126"/>
                  </a:lnTo>
                  <a:lnTo>
                    <a:pt x="140" y="126"/>
                  </a:lnTo>
                  <a:lnTo>
                    <a:pt x="134" y="126"/>
                  </a:lnTo>
                  <a:lnTo>
                    <a:pt x="126" y="122"/>
                  </a:lnTo>
                  <a:lnTo>
                    <a:pt x="110" y="114"/>
                  </a:lnTo>
                  <a:lnTo>
                    <a:pt x="104" y="108"/>
                  </a:lnTo>
                  <a:lnTo>
                    <a:pt x="100" y="102"/>
                  </a:lnTo>
                  <a:lnTo>
                    <a:pt x="100" y="102"/>
                  </a:lnTo>
                  <a:lnTo>
                    <a:pt x="98" y="92"/>
                  </a:lnTo>
                  <a:lnTo>
                    <a:pt x="98" y="84"/>
                  </a:lnTo>
                  <a:lnTo>
                    <a:pt x="98" y="76"/>
                  </a:lnTo>
                  <a:lnTo>
                    <a:pt x="96" y="72"/>
                  </a:lnTo>
                  <a:lnTo>
                    <a:pt x="94" y="68"/>
                  </a:lnTo>
                  <a:lnTo>
                    <a:pt x="94" y="68"/>
                  </a:lnTo>
                  <a:lnTo>
                    <a:pt x="92" y="64"/>
                  </a:lnTo>
                  <a:lnTo>
                    <a:pt x="90" y="60"/>
                  </a:lnTo>
                  <a:lnTo>
                    <a:pt x="92" y="50"/>
                  </a:lnTo>
                  <a:lnTo>
                    <a:pt x="98" y="40"/>
                  </a:lnTo>
                  <a:lnTo>
                    <a:pt x="108" y="28"/>
                  </a:lnTo>
                  <a:lnTo>
                    <a:pt x="108" y="28"/>
                  </a:lnTo>
                  <a:lnTo>
                    <a:pt x="120" y="20"/>
                  </a:lnTo>
                  <a:lnTo>
                    <a:pt x="128" y="14"/>
                  </a:lnTo>
                  <a:lnTo>
                    <a:pt x="134" y="10"/>
                  </a:lnTo>
                  <a:lnTo>
                    <a:pt x="136" y="8"/>
                  </a:lnTo>
                  <a:lnTo>
                    <a:pt x="136" y="4"/>
                  </a:lnTo>
                  <a:lnTo>
                    <a:pt x="136" y="4"/>
                  </a:lnTo>
                  <a:lnTo>
                    <a:pt x="136" y="4"/>
                  </a:lnTo>
                  <a:lnTo>
                    <a:pt x="134" y="2"/>
                  </a:lnTo>
                  <a:lnTo>
                    <a:pt x="126" y="0"/>
                  </a:lnTo>
                  <a:lnTo>
                    <a:pt x="112" y="0"/>
                  </a:lnTo>
                  <a:lnTo>
                    <a:pt x="98" y="0"/>
                  </a:lnTo>
                  <a:lnTo>
                    <a:pt x="80" y="4"/>
                  </a:lnTo>
                  <a:lnTo>
                    <a:pt x="62" y="10"/>
                  </a:lnTo>
                  <a:lnTo>
                    <a:pt x="44" y="20"/>
                  </a:lnTo>
                  <a:lnTo>
                    <a:pt x="28" y="32"/>
                  </a:lnTo>
                  <a:lnTo>
                    <a:pt x="28" y="32"/>
                  </a:lnTo>
                  <a:lnTo>
                    <a:pt x="16" y="46"/>
                  </a:lnTo>
                  <a:lnTo>
                    <a:pt x="8" y="60"/>
                  </a:lnTo>
                  <a:lnTo>
                    <a:pt x="2" y="74"/>
                  </a:lnTo>
                  <a:lnTo>
                    <a:pt x="0" y="88"/>
                  </a:lnTo>
                  <a:lnTo>
                    <a:pt x="0" y="102"/>
                  </a:lnTo>
                  <a:lnTo>
                    <a:pt x="0" y="112"/>
                  </a:lnTo>
                  <a:lnTo>
                    <a:pt x="4" y="126"/>
                  </a:lnTo>
                  <a:lnTo>
                    <a:pt x="4" y="126"/>
                  </a:lnTo>
                  <a:lnTo>
                    <a:pt x="6" y="128"/>
                  </a:lnTo>
                  <a:lnTo>
                    <a:pt x="10" y="130"/>
                  </a:lnTo>
                  <a:lnTo>
                    <a:pt x="26" y="132"/>
                  </a:lnTo>
                  <a:lnTo>
                    <a:pt x="44" y="134"/>
                  </a:lnTo>
                  <a:lnTo>
                    <a:pt x="62" y="136"/>
                  </a:lnTo>
                  <a:lnTo>
                    <a:pt x="62" y="136"/>
                  </a:lnTo>
                  <a:lnTo>
                    <a:pt x="68" y="138"/>
                  </a:lnTo>
                  <a:lnTo>
                    <a:pt x="72" y="142"/>
                  </a:lnTo>
                  <a:lnTo>
                    <a:pt x="72" y="144"/>
                  </a:lnTo>
                  <a:lnTo>
                    <a:pt x="72" y="146"/>
                  </a:lnTo>
                  <a:lnTo>
                    <a:pt x="66" y="148"/>
                  </a:lnTo>
                  <a:lnTo>
                    <a:pt x="56" y="148"/>
                  </a:lnTo>
                  <a:lnTo>
                    <a:pt x="56" y="148"/>
                  </a:lnTo>
                  <a:lnTo>
                    <a:pt x="42" y="146"/>
                  </a:lnTo>
                  <a:lnTo>
                    <a:pt x="28" y="146"/>
                  </a:lnTo>
                  <a:lnTo>
                    <a:pt x="18" y="146"/>
                  </a:lnTo>
                  <a:lnTo>
                    <a:pt x="16" y="148"/>
                  </a:lnTo>
                  <a:lnTo>
                    <a:pt x="14" y="152"/>
                  </a:lnTo>
                  <a:lnTo>
                    <a:pt x="14" y="152"/>
                  </a:lnTo>
                  <a:lnTo>
                    <a:pt x="16" y="156"/>
                  </a:lnTo>
                  <a:lnTo>
                    <a:pt x="20" y="162"/>
                  </a:lnTo>
                  <a:lnTo>
                    <a:pt x="34" y="172"/>
                  </a:lnTo>
                  <a:lnTo>
                    <a:pt x="42" y="176"/>
                  </a:lnTo>
                  <a:lnTo>
                    <a:pt x="52" y="178"/>
                  </a:lnTo>
                  <a:lnTo>
                    <a:pt x="60" y="180"/>
                  </a:lnTo>
                  <a:lnTo>
                    <a:pt x="68" y="178"/>
                  </a:lnTo>
                  <a:lnTo>
                    <a:pt x="68" y="178"/>
                  </a:lnTo>
                  <a:lnTo>
                    <a:pt x="78" y="176"/>
                  </a:lnTo>
                  <a:lnTo>
                    <a:pt x="86" y="176"/>
                  </a:lnTo>
                  <a:lnTo>
                    <a:pt x="90" y="178"/>
                  </a:lnTo>
                  <a:lnTo>
                    <a:pt x="96" y="184"/>
                  </a:lnTo>
                  <a:lnTo>
                    <a:pt x="96" y="184"/>
                  </a:lnTo>
                  <a:lnTo>
                    <a:pt x="100" y="188"/>
                  </a:lnTo>
                  <a:lnTo>
                    <a:pt x="104" y="190"/>
                  </a:lnTo>
                  <a:lnTo>
                    <a:pt x="118" y="192"/>
                  </a:lnTo>
                  <a:lnTo>
                    <a:pt x="150" y="194"/>
                  </a:lnTo>
                  <a:lnTo>
                    <a:pt x="150" y="194"/>
                  </a:lnTo>
                  <a:lnTo>
                    <a:pt x="168" y="196"/>
                  </a:lnTo>
                  <a:lnTo>
                    <a:pt x="184" y="198"/>
                  </a:lnTo>
                  <a:lnTo>
                    <a:pt x="210" y="204"/>
                  </a:lnTo>
                  <a:lnTo>
                    <a:pt x="210" y="204"/>
                  </a:lnTo>
                  <a:lnTo>
                    <a:pt x="218" y="204"/>
                  </a:lnTo>
                  <a:lnTo>
                    <a:pt x="226" y="200"/>
                  </a:lnTo>
                  <a:lnTo>
                    <a:pt x="234" y="196"/>
                  </a:lnTo>
                  <a:lnTo>
                    <a:pt x="238" y="192"/>
                  </a:lnTo>
                  <a:lnTo>
                    <a:pt x="238" y="192"/>
                  </a:lnTo>
                  <a:lnTo>
                    <a:pt x="242" y="190"/>
                  </a:lnTo>
                  <a:lnTo>
                    <a:pt x="248" y="192"/>
                  </a:lnTo>
                  <a:lnTo>
                    <a:pt x="266" y="194"/>
                  </a:lnTo>
                  <a:lnTo>
                    <a:pt x="284" y="198"/>
                  </a:lnTo>
                  <a:lnTo>
                    <a:pt x="300" y="200"/>
                  </a:lnTo>
                  <a:lnTo>
                    <a:pt x="300" y="200"/>
                  </a:lnTo>
                  <a:lnTo>
                    <a:pt x="304" y="200"/>
                  </a:lnTo>
                  <a:lnTo>
                    <a:pt x="306" y="198"/>
                  </a:lnTo>
                  <a:lnTo>
                    <a:pt x="306" y="196"/>
                  </a:lnTo>
                  <a:lnTo>
                    <a:pt x="306" y="192"/>
                  </a:lnTo>
                  <a:lnTo>
                    <a:pt x="302" y="188"/>
                  </a:lnTo>
                  <a:lnTo>
                    <a:pt x="296" y="184"/>
                  </a:lnTo>
                  <a:lnTo>
                    <a:pt x="296" y="184"/>
                  </a:lnTo>
                  <a:lnTo>
                    <a:pt x="294" y="182"/>
                  </a:lnTo>
                  <a:lnTo>
                    <a:pt x="292" y="180"/>
                  </a:lnTo>
                  <a:lnTo>
                    <a:pt x="292" y="174"/>
                  </a:lnTo>
                  <a:lnTo>
                    <a:pt x="294" y="170"/>
                  </a:lnTo>
                  <a:lnTo>
                    <a:pt x="296" y="170"/>
                  </a:lnTo>
                  <a:lnTo>
                    <a:pt x="298" y="170"/>
                  </a:lnTo>
                  <a:lnTo>
                    <a:pt x="302" y="170"/>
                  </a:lnTo>
                  <a:lnTo>
                    <a:pt x="302" y="170"/>
                  </a:lnTo>
                  <a:lnTo>
                    <a:pt x="320" y="178"/>
                  </a:lnTo>
                  <a:lnTo>
                    <a:pt x="330" y="184"/>
                  </a:lnTo>
                  <a:lnTo>
                    <a:pt x="332" y="188"/>
                  </a:lnTo>
                  <a:lnTo>
                    <a:pt x="334" y="190"/>
                  </a:lnTo>
                  <a:lnTo>
                    <a:pt x="334" y="190"/>
                  </a:lnTo>
                  <a:lnTo>
                    <a:pt x="338" y="196"/>
                  </a:lnTo>
                  <a:lnTo>
                    <a:pt x="342" y="198"/>
                  </a:lnTo>
                  <a:lnTo>
                    <a:pt x="346" y="200"/>
                  </a:lnTo>
                  <a:lnTo>
                    <a:pt x="350" y="204"/>
                  </a:lnTo>
                  <a:lnTo>
                    <a:pt x="350" y="204"/>
                  </a:lnTo>
                  <a:lnTo>
                    <a:pt x="352" y="208"/>
                  </a:lnTo>
                  <a:lnTo>
                    <a:pt x="356" y="210"/>
                  </a:lnTo>
                  <a:lnTo>
                    <a:pt x="370" y="218"/>
                  </a:lnTo>
                  <a:lnTo>
                    <a:pt x="384" y="224"/>
                  </a:lnTo>
                  <a:lnTo>
                    <a:pt x="388" y="228"/>
                  </a:lnTo>
                  <a:lnTo>
                    <a:pt x="390" y="232"/>
                  </a:lnTo>
                  <a:lnTo>
                    <a:pt x="390" y="232"/>
                  </a:lnTo>
                  <a:lnTo>
                    <a:pt x="388" y="236"/>
                  </a:lnTo>
                  <a:lnTo>
                    <a:pt x="386" y="238"/>
                  </a:lnTo>
                  <a:lnTo>
                    <a:pt x="374" y="244"/>
                  </a:lnTo>
                  <a:lnTo>
                    <a:pt x="364" y="250"/>
                  </a:lnTo>
                  <a:lnTo>
                    <a:pt x="362" y="252"/>
                  </a:lnTo>
                  <a:lnTo>
                    <a:pt x="364" y="254"/>
                  </a:lnTo>
                  <a:lnTo>
                    <a:pt x="364" y="254"/>
                  </a:lnTo>
                  <a:lnTo>
                    <a:pt x="368" y="256"/>
                  </a:lnTo>
                  <a:lnTo>
                    <a:pt x="372" y="256"/>
                  </a:lnTo>
                  <a:lnTo>
                    <a:pt x="384" y="252"/>
                  </a:lnTo>
                  <a:lnTo>
                    <a:pt x="394" y="246"/>
                  </a:lnTo>
                  <a:lnTo>
                    <a:pt x="400" y="244"/>
                  </a:lnTo>
                  <a:lnTo>
                    <a:pt x="406" y="242"/>
                  </a:lnTo>
                  <a:lnTo>
                    <a:pt x="406" y="242"/>
                  </a:lnTo>
                  <a:lnTo>
                    <a:pt x="410" y="244"/>
                  </a:lnTo>
                  <a:lnTo>
                    <a:pt x="414" y="248"/>
                  </a:lnTo>
                  <a:lnTo>
                    <a:pt x="420" y="258"/>
                  </a:lnTo>
                  <a:lnTo>
                    <a:pt x="424" y="268"/>
                  </a:lnTo>
                  <a:lnTo>
                    <a:pt x="428" y="270"/>
                  </a:lnTo>
                  <a:lnTo>
                    <a:pt x="432" y="270"/>
                  </a:lnTo>
                  <a:lnTo>
                    <a:pt x="432" y="270"/>
                  </a:lnTo>
                  <a:lnTo>
                    <a:pt x="436" y="268"/>
                  </a:lnTo>
                  <a:lnTo>
                    <a:pt x="442" y="268"/>
                  </a:lnTo>
                  <a:lnTo>
                    <a:pt x="446" y="270"/>
                  </a:lnTo>
                  <a:lnTo>
                    <a:pt x="452" y="272"/>
                  </a:lnTo>
                  <a:lnTo>
                    <a:pt x="462" y="282"/>
                  </a:lnTo>
                  <a:lnTo>
                    <a:pt x="472" y="296"/>
                  </a:lnTo>
                  <a:lnTo>
                    <a:pt x="472" y="296"/>
                  </a:lnTo>
                  <a:lnTo>
                    <a:pt x="476" y="304"/>
                  </a:lnTo>
                  <a:lnTo>
                    <a:pt x="478" y="312"/>
                  </a:lnTo>
                  <a:lnTo>
                    <a:pt x="478" y="318"/>
                  </a:lnTo>
                  <a:lnTo>
                    <a:pt x="478" y="324"/>
                  </a:lnTo>
                  <a:lnTo>
                    <a:pt x="474" y="336"/>
                  </a:lnTo>
                  <a:lnTo>
                    <a:pt x="472" y="344"/>
                  </a:lnTo>
                  <a:lnTo>
                    <a:pt x="472" y="344"/>
                  </a:lnTo>
                  <a:lnTo>
                    <a:pt x="474" y="346"/>
                  </a:lnTo>
                  <a:lnTo>
                    <a:pt x="478" y="346"/>
                  </a:lnTo>
                  <a:lnTo>
                    <a:pt x="490" y="348"/>
                  </a:lnTo>
                  <a:lnTo>
                    <a:pt x="504" y="344"/>
                  </a:lnTo>
                  <a:lnTo>
                    <a:pt x="518" y="340"/>
                  </a:lnTo>
                  <a:lnTo>
                    <a:pt x="518" y="340"/>
                  </a:lnTo>
                  <a:lnTo>
                    <a:pt x="522" y="338"/>
                  </a:lnTo>
                  <a:lnTo>
                    <a:pt x="528" y="338"/>
                  </a:lnTo>
                  <a:lnTo>
                    <a:pt x="534" y="340"/>
                  </a:lnTo>
                  <a:lnTo>
                    <a:pt x="540" y="342"/>
                  </a:lnTo>
                  <a:lnTo>
                    <a:pt x="550" y="352"/>
                  </a:lnTo>
                  <a:lnTo>
                    <a:pt x="560" y="360"/>
                  </a:lnTo>
                  <a:lnTo>
                    <a:pt x="560" y="360"/>
                  </a:lnTo>
                  <a:lnTo>
                    <a:pt x="560" y="362"/>
                  </a:lnTo>
                  <a:lnTo>
                    <a:pt x="560" y="364"/>
                  </a:lnTo>
                  <a:lnTo>
                    <a:pt x="558" y="370"/>
                  </a:lnTo>
                  <a:lnTo>
                    <a:pt x="550" y="374"/>
                  </a:lnTo>
                  <a:lnTo>
                    <a:pt x="542" y="378"/>
                  </a:lnTo>
                  <a:lnTo>
                    <a:pt x="526" y="382"/>
                  </a:lnTo>
                  <a:lnTo>
                    <a:pt x="520" y="382"/>
                  </a:lnTo>
                  <a:lnTo>
                    <a:pt x="520" y="380"/>
                  </a:lnTo>
                  <a:lnTo>
                    <a:pt x="520" y="380"/>
                  </a:lnTo>
                  <a:lnTo>
                    <a:pt x="520" y="380"/>
                  </a:lnTo>
                  <a:lnTo>
                    <a:pt x="520" y="376"/>
                  </a:lnTo>
                  <a:lnTo>
                    <a:pt x="516" y="370"/>
                  </a:lnTo>
                  <a:lnTo>
                    <a:pt x="510" y="364"/>
                  </a:lnTo>
                  <a:lnTo>
                    <a:pt x="500" y="358"/>
                  </a:lnTo>
                  <a:lnTo>
                    <a:pt x="490" y="354"/>
                  </a:lnTo>
                  <a:lnTo>
                    <a:pt x="476" y="352"/>
                  </a:lnTo>
                  <a:lnTo>
                    <a:pt x="464" y="350"/>
                  </a:lnTo>
                  <a:lnTo>
                    <a:pt x="450" y="354"/>
                  </a:lnTo>
                  <a:lnTo>
                    <a:pt x="450" y="354"/>
                  </a:lnTo>
                  <a:lnTo>
                    <a:pt x="440" y="360"/>
                  </a:lnTo>
                  <a:lnTo>
                    <a:pt x="434" y="366"/>
                  </a:lnTo>
                  <a:lnTo>
                    <a:pt x="432" y="372"/>
                  </a:lnTo>
                  <a:lnTo>
                    <a:pt x="432" y="378"/>
                  </a:lnTo>
                  <a:lnTo>
                    <a:pt x="438" y="390"/>
                  </a:lnTo>
                  <a:lnTo>
                    <a:pt x="444" y="400"/>
                  </a:lnTo>
                  <a:lnTo>
                    <a:pt x="444" y="400"/>
                  </a:lnTo>
                  <a:lnTo>
                    <a:pt x="444" y="404"/>
                  </a:lnTo>
                  <a:lnTo>
                    <a:pt x="440" y="408"/>
                  </a:lnTo>
                  <a:lnTo>
                    <a:pt x="434" y="412"/>
                  </a:lnTo>
                  <a:lnTo>
                    <a:pt x="424" y="416"/>
                  </a:lnTo>
                  <a:lnTo>
                    <a:pt x="414" y="418"/>
                  </a:lnTo>
                  <a:lnTo>
                    <a:pt x="404" y="418"/>
                  </a:lnTo>
                  <a:lnTo>
                    <a:pt x="392" y="416"/>
                  </a:lnTo>
                  <a:lnTo>
                    <a:pt x="380" y="414"/>
                  </a:lnTo>
                  <a:lnTo>
                    <a:pt x="380" y="414"/>
                  </a:lnTo>
                  <a:lnTo>
                    <a:pt x="368" y="410"/>
                  </a:lnTo>
                  <a:lnTo>
                    <a:pt x="362" y="410"/>
                  </a:lnTo>
                  <a:lnTo>
                    <a:pt x="358" y="410"/>
                  </a:lnTo>
                  <a:lnTo>
                    <a:pt x="354" y="412"/>
                  </a:lnTo>
                  <a:lnTo>
                    <a:pt x="350" y="418"/>
                  </a:lnTo>
                  <a:lnTo>
                    <a:pt x="348" y="420"/>
                  </a:lnTo>
                  <a:lnTo>
                    <a:pt x="344" y="420"/>
                  </a:lnTo>
                  <a:lnTo>
                    <a:pt x="344" y="420"/>
                  </a:lnTo>
                  <a:lnTo>
                    <a:pt x="338" y="422"/>
                  </a:lnTo>
                  <a:lnTo>
                    <a:pt x="334" y="424"/>
                  </a:lnTo>
                  <a:lnTo>
                    <a:pt x="330" y="428"/>
                  </a:lnTo>
                  <a:lnTo>
                    <a:pt x="326" y="432"/>
                  </a:lnTo>
                  <a:lnTo>
                    <a:pt x="324" y="438"/>
                  </a:lnTo>
                  <a:lnTo>
                    <a:pt x="322" y="444"/>
                  </a:lnTo>
                  <a:lnTo>
                    <a:pt x="324" y="450"/>
                  </a:lnTo>
                  <a:lnTo>
                    <a:pt x="328" y="454"/>
                  </a:lnTo>
                  <a:lnTo>
                    <a:pt x="328" y="454"/>
                  </a:lnTo>
                  <a:lnTo>
                    <a:pt x="332" y="458"/>
                  </a:lnTo>
                  <a:lnTo>
                    <a:pt x="338" y="460"/>
                  </a:lnTo>
                  <a:lnTo>
                    <a:pt x="354" y="460"/>
                  </a:lnTo>
                  <a:lnTo>
                    <a:pt x="370" y="458"/>
                  </a:lnTo>
                  <a:lnTo>
                    <a:pt x="388" y="456"/>
                  </a:lnTo>
                  <a:lnTo>
                    <a:pt x="388" y="456"/>
                  </a:lnTo>
                  <a:lnTo>
                    <a:pt x="408" y="460"/>
                  </a:lnTo>
                  <a:lnTo>
                    <a:pt x="412" y="458"/>
                  </a:lnTo>
                  <a:lnTo>
                    <a:pt x="414" y="452"/>
                  </a:lnTo>
                  <a:lnTo>
                    <a:pt x="414" y="452"/>
                  </a:lnTo>
                  <a:lnTo>
                    <a:pt x="416" y="448"/>
                  </a:lnTo>
                  <a:lnTo>
                    <a:pt x="420" y="446"/>
                  </a:lnTo>
                  <a:lnTo>
                    <a:pt x="430" y="444"/>
                  </a:lnTo>
                  <a:lnTo>
                    <a:pt x="442" y="446"/>
                  </a:lnTo>
                  <a:lnTo>
                    <a:pt x="456" y="450"/>
                  </a:lnTo>
                  <a:lnTo>
                    <a:pt x="456" y="450"/>
                  </a:lnTo>
                  <a:lnTo>
                    <a:pt x="460" y="452"/>
                  </a:lnTo>
                  <a:lnTo>
                    <a:pt x="464" y="456"/>
                  </a:lnTo>
                  <a:lnTo>
                    <a:pt x="470" y="464"/>
                  </a:lnTo>
                  <a:lnTo>
                    <a:pt x="476" y="472"/>
                  </a:lnTo>
                  <a:lnTo>
                    <a:pt x="480" y="476"/>
                  </a:lnTo>
                  <a:lnTo>
                    <a:pt x="486" y="478"/>
                  </a:lnTo>
                  <a:lnTo>
                    <a:pt x="486" y="478"/>
                  </a:lnTo>
                  <a:lnTo>
                    <a:pt x="492" y="480"/>
                  </a:lnTo>
                  <a:lnTo>
                    <a:pt x="496" y="482"/>
                  </a:lnTo>
                  <a:lnTo>
                    <a:pt x="498" y="486"/>
                  </a:lnTo>
                  <a:lnTo>
                    <a:pt x="498" y="490"/>
                  </a:lnTo>
                  <a:lnTo>
                    <a:pt x="498" y="502"/>
                  </a:lnTo>
                  <a:lnTo>
                    <a:pt x="500" y="508"/>
                  </a:lnTo>
                  <a:lnTo>
                    <a:pt x="502" y="512"/>
                  </a:lnTo>
                  <a:lnTo>
                    <a:pt x="502" y="512"/>
                  </a:lnTo>
                  <a:lnTo>
                    <a:pt x="508" y="516"/>
                  </a:lnTo>
                  <a:lnTo>
                    <a:pt x="516" y="520"/>
                  </a:lnTo>
                  <a:lnTo>
                    <a:pt x="534" y="522"/>
                  </a:lnTo>
                  <a:lnTo>
                    <a:pt x="554" y="526"/>
                  </a:lnTo>
                  <a:lnTo>
                    <a:pt x="562" y="528"/>
                  </a:lnTo>
                  <a:lnTo>
                    <a:pt x="568" y="532"/>
                  </a:lnTo>
                  <a:lnTo>
                    <a:pt x="568" y="532"/>
                  </a:lnTo>
                  <a:lnTo>
                    <a:pt x="576" y="538"/>
                  </a:lnTo>
                  <a:lnTo>
                    <a:pt x="586" y="546"/>
                  </a:lnTo>
                  <a:lnTo>
                    <a:pt x="612" y="558"/>
                  </a:lnTo>
                  <a:lnTo>
                    <a:pt x="626" y="564"/>
                  </a:lnTo>
                  <a:lnTo>
                    <a:pt x="638" y="568"/>
                  </a:lnTo>
                  <a:lnTo>
                    <a:pt x="646" y="568"/>
                  </a:lnTo>
                  <a:lnTo>
                    <a:pt x="650" y="568"/>
                  </a:lnTo>
                  <a:lnTo>
                    <a:pt x="652" y="566"/>
                  </a:lnTo>
                  <a:lnTo>
                    <a:pt x="652" y="566"/>
                  </a:lnTo>
                  <a:lnTo>
                    <a:pt x="654" y="562"/>
                  </a:lnTo>
                  <a:lnTo>
                    <a:pt x="652" y="560"/>
                  </a:lnTo>
                  <a:lnTo>
                    <a:pt x="648" y="550"/>
                  </a:lnTo>
                  <a:lnTo>
                    <a:pt x="638" y="538"/>
                  </a:lnTo>
                  <a:lnTo>
                    <a:pt x="628" y="526"/>
                  </a:lnTo>
                  <a:lnTo>
                    <a:pt x="602" y="504"/>
                  </a:lnTo>
                  <a:lnTo>
                    <a:pt x="590" y="498"/>
                  </a:lnTo>
                  <a:lnTo>
                    <a:pt x="582" y="494"/>
                  </a:lnTo>
                  <a:lnTo>
                    <a:pt x="582" y="494"/>
                  </a:lnTo>
                  <a:lnTo>
                    <a:pt x="576" y="492"/>
                  </a:lnTo>
                  <a:lnTo>
                    <a:pt x="576" y="490"/>
                  </a:lnTo>
                  <a:lnTo>
                    <a:pt x="580" y="488"/>
                  </a:lnTo>
                  <a:lnTo>
                    <a:pt x="586" y="488"/>
                  </a:lnTo>
                  <a:lnTo>
                    <a:pt x="594" y="488"/>
                  </a:lnTo>
                  <a:lnTo>
                    <a:pt x="604" y="490"/>
                  </a:lnTo>
                  <a:lnTo>
                    <a:pt x="614" y="494"/>
                  </a:lnTo>
                  <a:lnTo>
                    <a:pt x="622" y="500"/>
                  </a:lnTo>
                  <a:lnTo>
                    <a:pt x="622" y="500"/>
                  </a:lnTo>
                  <a:lnTo>
                    <a:pt x="632" y="506"/>
                  </a:lnTo>
                  <a:lnTo>
                    <a:pt x="642" y="512"/>
                  </a:lnTo>
                  <a:lnTo>
                    <a:pt x="652" y="516"/>
                  </a:lnTo>
                  <a:lnTo>
                    <a:pt x="662" y="518"/>
                  </a:lnTo>
                  <a:lnTo>
                    <a:pt x="672" y="518"/>
                  </a:lnTo>
                  <a:lnTo>
                    <a:pt x="680" y="516"/>
                  </a:lnTo>
                  <a:lnTo>
                    <a:pt x="688" y="512"/>
                  </a:lnTo>
                  <a:lnTo>
                    <a:pt x="696" y="506"/>
                  </a:lnTo>
                  <a:lnTo>
                    <a:pt x="696" y="506"/>
                  </a:lnTo>
                  <a:lnTo>
                    <a:pt x="700" y="498"/>
                  </a:lnTo>
                  <a:lnTo>
                    <a:pt x="700" y="494"/>
                  </a:lnTo>
                  <a:lnTo>
                    <a:pt x="698" y="490"/>
                  </a:lnTo>
                  <a:lnTo>
                    <a:pt x="696" y="488"/>
                  </a:lnTo>
                  <a:lnTo>
                    <a:pt x="686" y="482"/>
                  </a:lnTo>
                  <a:lnTo>
                    <a:pt x="682" y="478"/>
                  </a:lnTo>
                  <a:lnTo>
                    <a:pt x="682" y="474"/>
                  </a:lnTo>
                  <a:lnTo>
                    <a:pt x="682" y="474"/>
                  </a:lnTo>
                  <a:lnTo>
                    <a:pt x="680" y="462"/>
                  </a:lnTo>
                  <a:lnTo>
                    <a:pt x="674" y="450"/>
                  </a:lnTo>
                  <a:lnTo>
                    <a:pt x="670" y="444"/>
                  </a:lnTo>
                  <a:lnTo>
                    <a:pt x="666" y="440"/>
                  </a:lnTo>
                  <a:lnTo>
                    <a:pt x="660" y="438"/>
                  </a:lnTo>
                  <a:lnTo>
                    <a:pt x="654" y="436"/>
                  </a:lnTo>
                  <a:lnTo>
                    <a:pt x="654" y="436"/>
                  </a:lnTo>
                  <a:lnTo>
                    <a:pt x="646" y="434"/>
                  </a:lnTo>
                  <a:lnTo>
                    <a:pt x="638" y="430"/>
                  </a:lnTo>
                  <a:lnTo>
                    <a:pt x="620" y="418"/>
                  </a:lnTo>
                  <a:lnTo>
                    <a:pt x="612" y="412"/>
                  </a:lnTo>
                  <a:lnTo>
                    <a:pt x="606" y="404"/>
                  </a:lnTo>
                  <a:lnTo>
                    <a:pt x="606" y="400"/>
                  </a:lnTo>
                  <a:lnTo>
                    <a:pt x="606" y="396"/>
                  </a:lnTo>
                  <a:lnTo>
                    <a:pt x="608" y="396"/>
                  </a:lnTo>
                  <a:lnTo>
                    <a:pt x="608" y="396"/>
                  </a:lnTo>
                  <a:lnTo>
                    <a:pt x="614" y="392"/>
                  </a:lnTo>
                  <a:lnTo>
                    <a:pt x="616" y="390"/>
                  </a:lnTo>
                  <a:lnTo>
                    <a:pt x="614" y="382"/>
                  </a:lnTo>
                  <a:lnTo>
                    <a:pt x="612" y="374"/>
                  </a:lnTo>
                  <a:lnTo>
                    <a:pt x="614" y="370"/>
                  </a:lnTo>
                  <a:lnTo>
                    <a:pt x="616" y="364"/>
                  </a:lnTo>
                  <a:lnTo>
                    <a:pt x="616" y="364"/>
                  </a:lnTo>
                  <a:lnTo>
                    <a:pt x="620" y="362"/>
                  </a:lnTo>
                  <a:lnTo>
                    <a:pt x="626" y="362"/>
                  </a:lnTo>
                  <a:lnTo>
                    <a:pt x="630" y="362"/>
                  </a:lnTo>
                  <a:lnTo>
                    <a:pt x="634" y="366"/>
                  </a:lnTo>
                  <a:lnTo>
                    <a:pt x="644" y="374"/>
                  </a:lnTo>
                  <a:lnTo>
                    <a:pt x="650" y="376"/>
                  </a:lnTo>
                  <a:lnTo>
                    <a:pt x="654" y="378"/>
                  </a:lnTo>
                  <a:lnTo>
                    <a:pt x="654" y="378"/>
                  </a:lnTo>
                  <a:lnTo>
                    <a:pt x="660" y="380"/>
                  </a:lnTo>
                  <a:lnTo>
                    <a:pt x="664" y="382"/>
                  </a:lnTo>
                  <a:lnTo>
                    <a:pt x="672" y="390"/>
                  </a:lnTo>
                  <a:lnTo>
                    <a:pt x="680" y="402"/>
                  </a:lnTo>
                  <a:lnTo>
                    <a:pt x="694" y="416"/>
                  </a:lnTo>
                  <a:lnTo>
                    <a:pt x="694" y="416"/>
                  </a:lnTo>
                  <a:lnTo>
                    <a:pt x="702" y="422"/>
                  </a:lnTo>
                  <a:lnTo>
                    <a:pt x="708" y="426"/>
                  </a:lnTo>
                  <a:lnTo>
                    <a:pt x="714" y="426"/>
                  </a:lnTo>
                  <a:lnTo>
                    <a:pt x="716" y="426"/>
                  </a:lnTo>
                  <a:lnTo>
                    <a:pt x="720" y="422"/>
                  </a:lnTo>
                  <a:lnTo>
                    <a:pt x="720" y="420"/>
                  </a:lnTo>
                  <a:lnTo>
                    <a:pt x="724" y="410"/>
                  </a:lnTo>
                  <a:lnTo>
                    <a:pt x="724" y="410"/>
                  </a:lnTo>
                  <a:lnTo>
                    <a:pt x="726" y="406"/>
                  </a:lnTo>
                  <a:lnTo>
                    <a:pt x="730" y="404"/>
                  </a:lnTo>
                  <a:lnTo>
                    <a:pt x="740" y="402"/>
                  </a:lnTo>
                  <a:lnTo>
                    <a:pt x="748" y="400"/>
                  </a:lnTo>
                  <a:lnTo>
                    <a:pt x="750" y="398"/>
                  </a:lnTo>
                  <a:lnTo>
                    <a:pt x="752" y="394"/>
                  </a:lnTo>
                  <a:lnTo>
                    <a:pt x="752" y="394"/>
                  </a:lnTo>
                  <a:lnTo>
                    <a:pt x="752" y="388"/>
                  </a:lnTo>
                  <a:lnTo>
                    <a:pt x="754" y="384"/>
                  </a:lnTo>
                  <a:lnTo>
                    <a:pt x="764" y="374"/>
                  </a:lnTo>
                  <a:lnTo>
                    <a:pt x="774" y="366"/>
                  </a:lnTo>
                  <a:lnTo>
                    <a:pt x="786" y="358"/>
                  </a:lnTo>
                  <a:lnTo>
                    <a:pt x="786" y="358"/>
                  </a:lnTo>
                  <a:lnTo>
                    <a:pt x="790" y="356"/>
                  </a:lnTo>
                  <a:lnTo>
                    <a:pt x="790" y="354"/>
                  </a:lnTo>
                  <a:lnTo>
                    <a:pt x="788" y="350"/>
                  </a:lnTo>
                  <a:lnTo>
                    <a:pt x="784" y="346"/>
                  </a:lnTo>
                  <a:lnTo>
                    <a:pt x="770" y="342"/>
                  </a:lnTo>
                  <a:lnTo>
                    <a:pt x="762" y="340"/>
                  </a:lnTo>
                  <a:lnTo>
                    <a:pt x="756" y="340"/>
                  </a:lnTo>
                  <a:lnTo>
                    <a:pt x="756" y="340"/>
                  </a:lnTo>
                  <a:lnTo>
                    <a:pt x="748" y="340"/>
                  </a:lnTo>
                  <a:lnTo>
                    <a:pt x="744" y="338"/>
                  </a:lnTo>
                  <a:lnTo>
                    <a:pt x="740" y="336"/>
                  </a:lnTo>
                  <a:lnTo>
                    <a:pt x="736" y="332"/>
                  </a:lnTo>
                  <a:lnTo>
                    <a:pt x="734" y="326"/>
                  </a:lnTo>
                  <a:lnTo>
                    <a:pt x="732" y="320"/>
                  </a:lnTo>
                  <a:lnTo>
                    <a:pt x="732" y="320"/>
                  </a:lnTo>
                  <a:lnTo>
                    <a:pt x="730" y="316"/>
                  </a:lnTo>
                  <a:lnTo>
                    <a:pt x="726" y="310"/>
                  </a:lnTo>
                  <a:lnTo>
                    <a:pt x="712" y="302"/>
                  </a:lnTo>
                  <a:lnTo>
                    <a:pt x="696" y="294"/>
                  </a:lnTo>
                  <a:lnTo>
                    <a:pt x="690" y="294"/>
                  </a:lnTo>
                  <a:lnTo>
                    <a:pt x="684" y="294"/>
                  </a:lnTo>
                  <a:lnTo>
                    <a:pt x="684" y="294"/>
                  </a:lnTo>
                  <a:lnTo>
                    <a:pt x="680" y="294"/>
                  </a:lnTo>
                  <a:lnTo>
                    <a:pt x="674" y="292"/>
                  </a:lnTo>
                  <a:lnTo>
                    <a:pt x="662" y="286"/>
                  </a:lnTo>
                  <a:lnTo>
                    <a:pt x="648" y="280"/>
                  </a:lnTo>
                  <a:lnTo>
                    <a:pt x="642" y="278"/>
                  </a:lnTo>
                  <a:lnTo>
                    <a:pt x="636" y="276"/>
                  </a:lnTo>
                  <a:lnTo>
                    <a:pt x="636" y="276"/>
                  </a:lnTo>
                  <a:lnTo>
                    <a:pt x="622" y="274"/>
                  </a:lnTo>
                  <a:lnTo>
                    <a:pt x="610" y="268"/>
                  </a:lnTo>
                  <a:lnTo>
                    <a:pt x="606" y="264"/>
                  </a:lnTo>
                  <a:lnTo>
                    <a:pt x="602" y="258"/>
                  </a:lnTo>
                  <a:lnTo>
                    <a:pt x="600" y="252"/>
                  </a:lnTo>
                  <a:lnTo>
                    <a:pt x="600" y="246"/>
                  </a:lnTo>
                  <a:lnTo>
                    <a:pt x="600" y="246"/>
                  </a:lnTo>
                  <a:lnTo>
                    <a:pt x="602" y="242"/>
                  </a:lnTo>
                  <a:lnTo>
                    <a:pt x="606" y="240"/>
                  </a:lnTo>
                  <a:lnTo>
                    <a:pt x="610" y="240"/>
                  </a:lnTo>
                  <a:lnTo>
                    <a:pt x="616" y="240"/>
                  </a:lnTo>
                  <a:lnTo>
                    <a:pt x="628" y="242"/>
                  </a:lnTo>
                  <a:lnTo>
                    <a:pt x="634" y="242"/>
                  </a:lnTo>
                  <a:lnTo>
                    <a:pt x="636" y="238"/>
                  </a:lnTo>
                  <a:lnTo>
                    <a:pt x="636" y="238"/>
                  </a:lnTo>
                  <a:lnTo>
                    <a:pt x="638" y="234"/>
                  </a:lnTo>
                  <a:lnTo>
                    <a:pt x="634" y="232"/>
                  </a:lnTo>
                  <a:lnTo>
                    <a:pt x="624" y="228"/>
                  </a:lnTo>
                  <a:lnTo>
                    <a:pt x="612" y="226"/>
                  </a:lnTo>
                  <a:lnTo>
                    <a:pt x="608" y="226"/>
                  </a:lnTo>
                  <a:lnTo>
                    <a:pt x="606" y="222"/>
                  </a:lnTo>
                  <a:lnTo>
                    <a:pt x="606" y="222"/>
                  </a:lnTo>
                  <a:lnTo>
                    <a:pt x="606" y="218"/>
                  </a:lnTo>
                  <a:lnTo>
                    <a:pt x="610" y="214"/>
                  </a:lnTo>
                  <a:lnTo>
                    <a:pt x="616" y="214"/>
                  </a:lnTo>
                  <a:lnTo>
                    <a:pt x="622" y="210"/>
                  </a:lnTo>
                  <a:lnTo>
                    <a:pt x="622" y="210"/>
                  </a:lnTo>
                  <a:lnTo>
                    <a:pt x="622" y="208"/>
                  </a:lnTo>
                  <a:lnTo>
                    <a:pt x="624" y="204"/>
                  </a:lnTo>
                  <a:lnTo>
                    <a:pt x="620" y="198"/>
                  </a:lnTo>
                  <a:lnTo>
                    <a:pt x="614" y="192"/>
                  </a:lnTo>
                  <a:lnTo>
                    <a:pt x="606" y="188"/>
                  </a:lnTo>
                  <a:lnTo>
                    <a:pt x="606" y="188"/>
                  </a:lnTo>
                  <a:lnTo>
                    <a:pt x="604" y="186"/>
                  </a:lnTo>
                  <a:lnTo>
                    <a:pt x="602" y="186"/>
                  </a:lnTo>
                  <a:lnTo>
                    <a:pt x="596" y="190"/>
                  </a:lnTo>
                  <a:lnTo>
                    <a:pt x="592" y="194"/>
                  </a:lnTo>
                  <a:lnTo>
                    <a:pt x="588" y="196"/>
                  </a:lnTo>
                  <a:lnTo>
                    <a:pt x="588" y="196"/>
                  </a:lnTo>
                  <a:lnTo>
                    <a:pt x="584" y="196"/>
                  </a:lnTo>
                  <a:lnTo>
                    <a:pt x="584" y="194"/>
                  </a:lnTo>
                  <a:lnTo>
                    <a:pt x="584" y="190"/>
                  </a:lnTo>
                  <a:lnTo>
                    <a:pt x="588" y="182"/>
                  </a:lnTo>
                  <a:lnTo>
                    <a:pt x="592" y="176"/>
                  </a:lnTo>
                  <a:lnTo>
                    <a:pt x="592" y="176"/>
                  </a:lnTo>
                  <a:lnTo>
                    <a:pt x="592" y="172"/>
                  </a:lnTo>
                  <a:lnTo>
                    <a:pt x="590" y="168"/>
                  </a:lnTo>
                  <a:lnTo>
                    <a:pt x="578" y="164"/>
                  </a:lnTo>
                  <a:lnTo>
                    <a:pt x="564" y="160"/>
                  </a:lnTo>
                  <a:lnTo>
                    <a:pt x="556" y="160"/>
                  </a:lnTo>
                  <a:lnTo>
                    <a:pt x="550" y="162"/>
                  </a:lnTo>
                  <a:lnTo>
                    <a:pt x="550" y="162"/>
                  </a:lnTo>
                  <a:lnTo>
                    <a:pt x="540" y="164"/>
                  </a:lnTo>
                  <a:lnTo>
                    <a:pt x="534" y="160"/>
                  </a:lnTo>
                  <a:lnTo>
                    <a:pt x="532" y="156"/>
                  </a:lnTo>
                  <a:lnTo>
                    <a:pt x="530" y="148"/>
                  </a:lnTo>
                  <a:lnTo>
                    <a:pt x="530" y="148"/>
                  </a:lnTo>
                  <a:lnTo>
                    <a:pt x="530" y="146"/>
                  </a:lnTo>
                  <a:lnTo>
                    <a:pt x="526" y="144"/>
                  </a:lnTo>
                  <a:lnTo>
                    <a:pt x="516" y="146"/>
                  </a:lnTo>
                  <a:lnTo>
                    <a:pt x="504" y="150"/>
                  </a:lnTo>
                  <a:lnTo>
                    <a:pt x="496" y="156"/>
                  </a:lnTo>
                  <a:lnTo>
                    <a:pt x="496" y="156"/>
                  </a:lnTo>
                  <a:lnTo>
                    <a:pt x="492" y="158"/>
                  </a:lnTo>
                  <a:lnTo>
                    <a:pt x="488" y="158"/>
                  </a:lnTo>
                  <a:lnTo>
                    <a:pt x="482" y="154"/>
                  </a:lnTo>
                  <a:lnTo>
                    <a:pt x="480" y="152"/>
                  </a:lnTo>
                  <a:lnTo>
                    <a:pt x="480" y="150"/>
                  </a:lnTo>
                  <a:lnTo>
                    <a:pt x="482" y="148"/>
                  </a:lnTo>
                  <a:lnTo>
                    <a:pt x="486" y="148"/>
                  </a:lnTo>
                  <a:lnTo>
                    <a:pt x="486" y="14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8" name="Freeform 45"/>
            <p:cNvSpPr>
              <a:spLocks/>
            </p:cNvSpPr>
            <p:nvPr/>
          </p:nvSpPr>
          <p:spPr bwMode="auto">
            <a:xfrm>
              <a:off x="2133600" y="2095500"/>
              <a:ext cx="787400" cy="422275"/>
            </a:xfrm>
            <a:custGeom>
              <a:avLst/>
              <a:gdLst>
                <a:gd name="T0" fmla="*/ 478 w 496"/>
                <a:gd name="T1" fmla="*/ 204 h 266"/>
                <a:gd name="T2" fmla="*/ 496 w 496"/>
                <a:gd name="T3" fmla="*/ 200 h 266"/>
                <a:gd name="T4" fmla="*/ 460 w 496"/>
                <a:gd name="T5" fmla="*/ 170 h 266"/>
                <a:gd name="T6" fmla="*/ 418 w 496"/>
                <a:gd name="T7" fmla="*/ 150 h 266"/>
                <a:gd name="T8" fmla="*/ 394 w 496"/>
                <a:gd name="T9" fmla="*/ 126 h 266"/>
                <a:gd name="T10" fmla="*/ 392 w 496"/>
                <a:gd name="T11" fmla="*/ 104 h 266"/>
                <a:gd name="T12" fmla="*/ 376 w 496"/>
                <a:gd name="T13" fmla="*/ 72 h 266"/>
                <a:gd name="T14" fmla="*/ 382 w 496"/>
                <a:gd name="T15" fmla="*/ 42 h 266"/>
                <a:gd name="T16" fmla="*/ 392 w 496"/>
                <a:gd name="T17" fmla="*/ 6 h 266"/>
                <a:gd name="T18" fmla="*/ 358 w 496"/>
                <a:gd name="T19" fmla="*/ 2 h 266"/>
                <a:gd name="T20" fmla="*/ 332 w 496"/>
                <a:gd name="T21" fmla="*/ 14 h 266"/>
                <a:gd name="T22" fmla="*/ 366 w 496"/>
                <a:gd name="T23" fmla="*/ 44 h 266"/>
                <a:gd name="T24" fmla="*/ 338 w 496"/>
                <a:gd name="T25" fmla="*/ 30 h 266"/>
                <a:gd name="T26" fmla="*/ 320 w 496"/>
                <a:gd name="T27" fmla="*/ 30 h 266"/>
                <a:gd name="T28" fmla="*/ 300 w 496"/>
                <a:gd name="T29" fmla="*/ 30 h 266"/>
                <a:gd name="T30" fmla="*/ 318 w 496"/>
                <a:gd name="T31" fmla="*/ 96 h 266"/>
                <a:gd name="T32" fmla="*/ 316 w 496"/>
                <a:gd name="T33" fmla="*/ 106 h 266"/>
                <a:gd name="T34" fmla="*/ 294 w 496"/>
                <a:gd name="T35" fmla="*/ 106 h 266"/>
                <a:gd name="T36" fmla="*/ 280 w 496"/>
                <a:gd name="T37" fmla="*/ 64 h 266"/>
                <a:gd name="T38" fmla="*/ 232 w 496"/>
                <a:gd name="T39" fmla="*/ 42 h 266"/>
                <a:gd name="T40" fmla="*/ 240 w 496"/>
                <a:gd name="T41" fmla="*/ 54 h 266"/>
                <a:gd name="T42" fmla="*/ 248 w 496"/>
                <a:gd name="T43" fmla="*/ 70 h 266"/>
                <a:gd name="T44" fmla="*/ 218 w 496"/>
                <a:gd name="T45" fmla="*/ 70 h 266"/>
                <a:gd name="T46" fmla="*/ 208 w 496"/>
                <a:gd name="T47" fmla="*/ 70 h 266"/>
                <a:gd name="T48" fmla="*/ 204 w 496"/>
                <a:gd name="T49" fmla="*/ 50 h 266"/>
                <a:gd name="T50" fmla="*/ 166 w 496"/>
                <a:gd name="T51" fmla="*/ 42 h 266"/>
                <a:gd name="T52" fmla="*/ 150 w 496"/>
                <a:gd name="T53" fmla="*/ 60 h 266"/>
                <a:gd name="T54" fmla="*/ 138 w 496"/>
                <a:gd name="T55" fmla="*/ 68 h 266"/>
                <a:gd name="T56" fmla="*/ 128 w 496"/>
                <a:gd name="T57" fmla="*/ 58 h 266"/>
                <a:gd name="T58" fmla="*/ 142 w 496"/>
                <a:gd name="T59" fmla="*/ 46 h 266"/>
                <a:gd name="T60" fmla="*/ 124 w 496"/>
                <a:gd name="T61" fmla="*/ 22 h 266"/>
                <a:gd name="T62" fmla="*/ 40 w 496"/>
                <a:gd name="T63" fmla="*/ 52 h 266"/>
                <a:gd name="T64" fmla="*/ 14 w 496"/>
                <a:gd name="T65" fmla="*/ 72 h 266"/>
                <a:gd name="T66" fmla="*/ 6 w 496"/>
                <a:gd name="T67" fmla="*/ 90 h 266"/>
                <a:gd name="T68" fmla="*/ 10 w 496"/>
                <a:gd name="T69" fmla="*/ 112 h 266"/>
                <a:gd name="T70" fmla="*/ 26 w 496"/>
                <a:gd name="T71" fmla="*/ 120 h 266"/>
                <a:gd name="T72" fmla="*/ 34 w 496"/>
                <a:gd name="T73" fmla="*/ 128 h 266"/>
                <a:gd name="T74" fmla="*/ 94 w 496"/>
                <a:gd name="T75" fmla="*/ 118 h 266"/>
                <a:gd name="T76" fmla="*/ 62 w 496"/>
                <a:gd name="T77" fmla="*/ 130 h 266"/>
                <a:gd name="T78" fmla="*/ 22 w 496"/>
                <a:gd name="T79" fmla="*/ 146 h 266"/>
                <a:gd name="T80" fmla="*/ 76 w 496"/>
                <a:gd name="T81" fmla="*/ 166 h 266"/>
                <a:gd name="T82" fmla="*/ 132 w 496"/>
                <a:gd name="T83" fmla="*/ 162 h 266"/>
                <a:gd name="T84" fmla="*/ 196 w 496"/>
                <a:gd name="T85" fmla="*/ 176 h 266"/>
                <a:gd name="T86" fmla="*/ 126 w 496"/>
                <a:gd name="T87" fmla="*/ 182 h 266"/>
                <a:gd name="T88" fmla="*/ 46 w 496"/>
                <a:gd name="T89" fmla="*/ 200 h 266"/>
                <a:gd name="T90" fmla="*/ 82 w 496"/>
                <a:gd name="T91" fmla="*/ 226 h 266"/>
                <a:gd name="T92" fmla="*/ 140 w 496"/>
                <a:gd name="T93" fmla="*/ 230 h 266"/>
                <a:gd name="T94" fmla="*/ 148 w 496"/>
                <a:gd name="T95" fmla="*/ 252 h 266"/>
                <a:gd name="T96" fmla="*/ 206 w 496"/>
                <a:gd name="T97" fmla="*/ 266 h 266"/>
                <a:gd name="T98" fmla="*/ 272 w 496"/>
                <a:gd name="T99" fmla="*/ 250 h 266"/>
                <a:gd name="T100" fmla="*/ 312 w 496"/>
                <a:gd name="T101" fmla="*/ 244 h 266"/>
                <a:gd name="T102" fmla="*/ 334 w 496"/>
                <a:gd name="T103" fmla="*/ 224 h 266"/>
                <a:gd name="T104" fmla="*/ 348 w 496"/>
                <a:gd name="T105" fmla="*/ 232 h 266"/>
                <a:gd name="T106" fmla="*/ 382 w 496"/>
                <a:gd name="T107" fmla="*/ 244 h 266"/>
                <a:gd name="T108" fmla="*/ 424 w 496"/>
                <a:gd name="T109" fmla="*/ 254 h 266"/>
                <a:gd name="T110" fmla="*/ 474 w 496"/>
                <a:gd name="T111" fmla="*/ 240 h 266"/>
                <a:gd name="T112" fmla="*/ 460 w 496"/>
                <a:gd name="T113" fmla="*/ 218 h 266"/>
                <a:gd name="T114" fmla="*/ 438 w 496"/>
                <a:gd name="T115" fmla="*/ 226 h 266"/>
                <a:gd name="T116" fmla="*/ 432 w 496"/>
                <a:gd name="T117" fmla="*/ 21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 h="266">
                  <a:moveTo>
                    <a:pt x="456" y="200"/>
                  </a:moveTo>
                  <a:lnTo>
                    <a:pt x="456" y="200"/>
                  </a:lnTo>
                  <a:lnTo>
                    <a:pt x="460" y="200"/>
                  </a:lnTo>
                  <a:lnTo>
                    <a:pt x="466" y="200"/>
                  </a:lnTo>
                  <a:lnTo>
                    <a:pt x="478" y="204"/>
                  </a:lnTo>
                  <a:lnTo>
                    <a:pt x="484" y="206"/>
                  </a:lnTo>
                  <a:lnTo>
                    <a:pt x="490" y="206"/>
                  </a:lnTo>
                  <a:lnTo>
                    <a:pt x="494" y="204"/>
                  </a:lnTo>
                  <a:lnTo>
                    <a:pt x="496" y="200"/>
                  </a:lnTo>
                  <a:lnTo>
                    <a:pt x="496" y="200"/>
                  </a:lnTo>
                  <a:lnTo>
                    <a:pt x="494" y="194"/>
                  </a:lnTo>
                  <a:lnTo>
                    <a:pt x="490" y="188"/>
                  </a:lnTo>
                  <a:lnTo>
                    <a:pt x="484" y="182"/>
                  </a:lnTo>
                  <a:lnTo>
                    <a:pt x="476" y="178"/>
                  </a:lnTo>
                  <a:lnTo>
                    <a:pt x="460" y="170"/>
                  </a:lnTo>
                  <a:lnTo>
                    <a:pt x="446" y="164"/>
                  </a:lnTo>
                  <a:lnTo>
                    <a:pt x="446" y="164"/>
                  </a:lnTo>
                  <a:lnTo>
                    <a:pt x="438" y="158"/>
                  </a:lnTo>
                  <a:lnTo>
                    <a:pt x="428" y="156"/>
                  </a:lnTo>
                  <a:lnTo>
                    <a:pt x="418" y="150"/>
                  </a:lnTo>
                  <a:lnTo>
                    <a:pt x="404" y="142"/>
                  </a:lnTo>
                  <a:lnTo>
                    <a:pt x="404" y="142"/>
                  </a:lnTo>
                  <a:lnTo>
                    <a:pt x="396" y="136"/>
                  </a:lnTo>
                  <a:lnTo>
                    <a:pt x="394" y="130"/>
                  </a:lnTo>
                  <a:lnTo>
                    <a:pt x="394" y="126"/>
                  </a:lnTo>
                  <a:lnTo>
                    <a:pt x="396" y="122"/>
                  </a:lnTo>
                  <a:lnTo>
                    <a:pt x="398" y="116"/>
                  </a:lnTo>
                  <a:lnTo>
                    <a:pt x="398" y="112"/>
                  </a:lnTo>
                  <a:lnTo>
                    <a:pt x="396" y="108"/>
                  </a:lnTo>
                  <a:lnTo>
                    <a:pt x="392" y="104"/>
                  </a:lnTo>
                  <a:lnTo>
                    <a:pt x="392" y="104"/>
                  </a:lnTo>
                  <a:lnTo>
                    <a:pt x="386" y="98"/>
                  </a:lnTo>
                  <a:lnTo>
                    <a:pt x="382" y="90"/>
                  </a:lnTo>
                  <a:lnTo>
                    <a:pt x="378" y="80"/>
                  </a:lnTo>
                  <a:lnTo>
                    <a:pt x="376" y="72"/>
                  </a:lnTo>
                  <a:lnTo>
                    <a:pt x="376" y="62"/>
                  </a:lnTo>
                  <a:lnTo>
                    <a:pt x="376" y="54"/>
                  </a:lnTo>
                  <a:lnTo>
                    <a:pt x="378" y="46"/>
                  </a:lnTo>
                  <a:lnTo>
                    <a:pt x="382" y="42"/>
                  </a:lnTo>
                  <a:lnTo>
                    <a:pt x="382" y="42"/>
                  </a:lnTo>
                  <a:lnTo>
                    <a:pt x="390" y="32"/>
                  </a:lnTo>
                  <a:lnTo>
                    <a:pt x="396" y="20"/>
                  </a:lnTo>
                  <a:lnTo>
                    <a:pt x="396" y="16"/>
                  </a:lnTo>
                  <a:lnTo>
                    <a:pt x="396" y="10"/>
                  </a:lnTo>
                  <a:lnTo>
                    <a:pt x="392" y="6"/>
                  </a:lnTo>
                  <a:lnTo>
                    <a:pt x="386" y="2"/>
                  </a:lnTo>
                  <a:lnTo>
                    <a:pt x="386" y="2"/>
                  </a:lnTo>
                  <a:lnTo>
                    <a:pt x="376" y="0"/>
                  </a:lnTo>
                  <a:lnTo>
                    <a:pt x="368" y="0"/>
                  </a:lnTo>
                  <a:lnTo>
                    <a:pt x="358" y="2"/>
                  </a:lnTo>
                  <a:lnTo>
                    <a:pt x="350" y="4"/>
                  </a:lnTo>
                  <a:lnTo>
                    <a:pt x="336" y="10"/>
                  </a:lnTo>
                  <a:lnTo>
                    <a:pt x="332" y="12"/>
                  </a:lnTo>
                  <a:lnTo>
                    <a:pt x="332" y="14"/>
                  </a:lnTo>
                  <a:lnTo>
                    <a:pt x="332" y="14"/>
                  </a:lnTo>
                  <a:lnTo>
                    <a:pt x="338" y="20"/>
                  </a:lnTo>
                  <a:lnTo>
                    <a:pt x="350" y="28"/>
                  </a:lnTo>
                  <a:lnTo>
                    <a:pt x="362" y="36"/>
                  </a:lnTo>
                  <a:lnTo>
                    <a:pt x="364" y="40"/>
                  </a:lnTo>
                  <a:lnTo>
                    <a:pt x="366" y="44"/>
                  </a:lnTo>
                  <a:lnTo>
                    <a:pt x="366" y="44"/>
                  </a:lnTo>
                  <a:lnTo>
                    <a:pt x="364" y="46"/>
                  </a:lnTo>
                  <a:lnTo>
                    <a:pt x="362" y="44"/>
                  </a:lnTo>
                  <a:lnTo>
                    <a:pt x="350" y="38"/>
                  </a:lnTo>
                  <a:lnTo>
                    <a:pt x="338" y="30"/>
                  </a:lnTo>
                  <a:lnTo>
                    <a:pt x="332" y="28"/>
                  </a:lnTo>
                  <a:lnTo>
                    <a:pt x="328" y="30"/>
                  </a:lnTo>
                  <a:lnTo>
                    <a:pt x="328" y="30"/>
                  </a:lnTo>
                  <a:lnTo>
                    <a:pt x="324" y="30"/>
                  </a:lnTo>
                  <a:lnTo>
                    <a:pt x="320" y="30"/>
                  </a:lnTo>
                  <a:lnTo>
                    <a:pt x="314" y="28"/>
                  </a:lnTo>
                  <a:lnTo>
                    <a:pt x="306" y="26"/>
                  </a:lnTo>
                  <a:lnTo>
                    <a:pt x="302" y="26"/>
                  </a:lnTo>
                  <a:lnTo>
                    <a:pt x="300" y="30"/>
                  </a:lnTo>
                  <a:lnTo>
                    <a:pt x="300" y="30"/>
                  </a:lnTo>
                  <a:lnTo>
                    <a:pt x="298" y="36"/>
                  </a:lnTo>
                  <a:lnTo>
                    <a:pt x="298" y="44"/>
                  </a:lnTo>
                  <a:lnTo>
                    <a:pt x="302" y="62"/>
                  </a:lnTo>
                  <a:lnTo>
                    <a:pt x="310" y="82"/>
                  </a:lnTo>
                  <a:lnTo>
                    <a:pt x="318" y="96"/>
                  </a:lnTo>
                  <a:lnTo>
                    <a:pt x="318" y="96"/>
                  </a:lnTo>
                  <a:lnTo>
                    <a:pt x="320" y="100"/>
                  </a:lnTo>
                  <a:lnTo>
                    <a:pt x="320" y="102"/>
                  </a:lnTo>
                  <a:lnTo>
                    <a:pt x="318" y="106"/>
                  </a:lnTo>
                  <a:lnTo>
                    <a:pt x="316" y="106"/>
                  </a:lnTo>
                  <a:lnTo>
                    <a:pt x="308" y="108"/>
                  </a:lnTo>
                  <a:lnTo>
                    <a:pt x="300" y="110"/>
                  </a:lnTo>
                  <a:lnTo>
                    <a:pt x="300" y="110"/>
                  </a:lnTo>
                  <a:lnTo>
                    <a:pt x="298" y="110"/>
                  </a:lnTo>
                  <a:lnTo>
                    <a:pt x="294" y="106"/>
                  </a:lnTo>
                  <a:lnTo>
                    <a:pt x="290" y="92"/>
                  </a:lnTo>
                  <a:lnTo>
                    <a:pt x="286" y="76"/>
                  </a:lnTo>
                  <a:lnTo>
                    <a:pt x="284" y="70"/>
                  </a:lnTo>
                  <a:lnTo>
                    <a:pt x="280" y="64"/>
                  </a:lnTo>
                  <a:lnTo>
                    <a:pt x="280" y="64"/>
                  </a:lnTo>
                  <a:lnTo>
                    <a:pt x="276" y="58"/>
                  </a:lnTo>
                  <a:lnTo>
                    <a:pt x="268" y="54"/>
                  </a:lnTo>
                  <a:lnTo>
                    <a:pt x="252" y="44"/>
                  </a:lnTo>
                  <a:lnTo>
                    <a:pt x="236" y="40"/>
                  </a:lnTo>
                  <a:lnTo>
                    <a:pt x="232" y="42"/>
                  </a:lnTo>
                  <a:lnTo>
                    <a:pt x="230" y="44"/>
                  </a:lnTo>
                  <a:lnTo>
                    <a:pt x="230" y="44"/>
                  </a:lnTo>
                  <a:lnTo>
                    <a:pt x="230" y="48"/>
                  </a:lnTo>
                  <a:lnTo>
                    <a:pt x="232" y="50"/>
                  </a:lnTo>
                  <a:lnTo>
                    <a:pt x="240" y="54"/>
                  </a:lnTo>
                  <a:lnTo>
                    <a:pt x="248" y="58"/>
                  </a:lnTo>
                  <a:lnTo>
                    <a:pt x="250" y="62"/>
                  </a:lnTo>
                  <a:lnTo>
                    <a:pt x="250" y="66"/>
                  </a:lnTo>
                  <a:lnTo>
                    <a:pt x="250" y="66"/>
                  </a:lnTo>
                  <a:lnTo>
                    <a:pt x="248" y="70"/>
                  </a:lnTo>
                  <a:lnTo>
                    <a:pt x="246" y="72"/>
                  </a:lnTo>
                  <a:lnTo>
                    <a:pt x="238" y="68"/>
                  </a:lnTo>
                  <a:lnTo>
                    <a:pt x="228" y="66"/>
                  </a:lnTo>
                  <a:lnTo>
                    <a:pt x="224" y="66"/>
                  </a:lnTo>
                  <a:lnTo>
                    <a:pt x="218" y="70"/>
                  </a:lnTo>
                  <a:lnTo>
                    <a:pt x="218" y="70"/>
                  </a:lnTo>
                  <a:lnTo>
                    <a:pt x="212" y="74"/>
                  </a:lnTo>
                  <a:lnTo>
                    <a:pt x="210" y="74"/>
                  </a:lnTo>
                  <a:lnTo>
                    <a:pt x="208" y="74"/>
                  </a:lnTo>
                  <a:lnTo>
                    <a:pt x="208" y="70"/>
                  </a:lnTo>
                  <a:lnTo>
                    <a:pt x="210" y="62"/>
                  </a:lnTo>
                  <a:lnTo>
                    <a:pt x="210" y="62"/>
                  </a:lnTo>
                  <a:lnTo>
                    <a:pt x="210" y="58"/>
                  </a:lnTo>
                  <a:lnTo>
                    <a:pt x="208" y="54"/>
                  </a:lnTo>
                  <a:lnTo>
                    <a:pt x="204" y="50"/>
                  </a:lnTo>
                  <a:lnTo>
                    <a:pt x="198" y="46"/>
                  </a:lnTo>
                  <a:lnTo>
                    <a:pt x="184" y="42"/>
                  </a:lnTo>
                  <a:lnTo>
                    <a:pt x="176" y="42"/>
                  </a:lnTo>
                  <a:lnTo>
                    <a:pt x="166" y="42"/>
                  </a:lnTo>
                  <a:lnTo>
                    <a:pt x="166" y="42"/>
                  </a:lnTo>
                  <a:lnTo>
                    <a:pt x="158" y="42"/>
                  </a:lnTo>
                  <a:lnTo>
                    <a:pt x="154" y="46"/>
                  </a:lnTo>
                  <a:lnTo>
                    <a:pt x="152" y="48"/>
                  </a:lnTo>
                  <a:lnTo>
                    <a:pt x="150" y="52"/>
                  </a:lnTo>
                  <a:lnTo>
                    <a:pt x="150" y="60"/>
                  </a:lnTo>
                  <a:lnTo>
                    <a:pt x="150" y="64"/>
                  </a:lnTo>
                  <a:lnTo>
                    <a:pt x="148" y="66"/>
                  </a:lnTo>
                  <a:lnTo>
                    <a:pt x="148" y="66"/>
                  </a:lnTo>
                  <a:lnTo>
                    <a:pt x="144" y="68"/>
                  </a:lnTo>
                  <a:lnTo>
                    <a:pt x="138" y="68"/>
                  </a:lnTo>
                  <a:lnTo>
                    <a:pt x="126" y="66"/>
                  </a:lnTo>
                  <a:lnTo>
                    <a:pt x="122" y="64"/>
                  </a:lnTo>
                  <a:lnTo>
                    <a:pt x="120" y="62"/>
                  </a:lnTo>
                  <a:lnTo>
                    <a:pt x="122" y="60"/>
                  </a:lnTo>
                  <a:lnTo>
                    <a:pt x="128" y="58"/>
                  </a:lnTo>
                  <a:lnTo>
                    <a:pt x="128" y="58"/>
                  </a:lnTo>
                  <a:lnTo>
                    <a:pt x="134" y="56"/>
                  </a:lnTo>
                  <a:lnTo>
                    <a:pt x="140" y="54"/>
                  </a:lnTo>
                  <a:lnTo>
                    <a:pt x="142" y="50"/>
                  </a:lnTo>
                  <a:lnTo>
                    <a:pt x="142" y="46"/>
                  </a:lnTo>
                  <a:lnTo>
                    <a:pt x="138" y="36"/>
                  </a:lnTo>
                  <a:lnTo>
                    <a:pt x="132" y="26"/>
                  </a:lnTo>
                  <a:lnTo>
                    <a:pt x="132" y="26"/>
                  </a:lnTo>
                  <a:lnTo>
                    <a:pt x="128" y="24"/>
                  </a:lnTo>
                  <a:lnTo>
                    <a:pt x="124" y="22"/>
                  </a:lnTo>
                  <a:lnTo>
                    <a:pt x="116" y="22"/>
                  </a:lnTo>
                  <a:lnTo>
                    <a:pt x="108" y="24"/>
                  </a:lnTo>
                  <a:lnTo>
                    <a:pt x="64" y="42"/>
                  </a:lnTo>
                  <a:lnTo>
                    <a:pt x="64" y="42"/>
                  </a:lnTo>
                  <a:lnTo>
                    <a:pt x="40" y="52"/>
                  </a:lnTo>
                  <a:lnTo>
                    <a:pt x="22" y="62"/>
                  </a:lnTo>
                  <a:lnTo>
                    <a:pt x="14" y="68"/>
                  </a:lnTo>
                  <a:lnTo>
                    <a:pt x="14" y="70"/>
                  </a:lnTo>
                  <a:lnTo>
                    <a:pt x="14" y="72"/>
                  </a:lnTo>
                  <a:lnTo>
                    <a:pt x="14" y="72"/>
                  </a:lnTo>
                  <a:lnTo>
                    <a:pt x="16" y="74"/>
                  </a:lnTo>
                  <a:lnTo>
                    <a:pt x="18" y="78"/>
                  </a:lnTo>
                  <a:lnTo>
                    <a:pt x="14" y="84"/>
                  </a:lnTo>
                  <a:lnTo>
                    <a:pt x="6" y="90"/>
                  </a:lnTo>
                  <a:lnTo>
                    <a:pt x="6" y="90"/>
                  </a:lnTo>
                  <a:lnTo>
                    <a:pt x="2" y="96"/>
                  </a:lnTo>
                  <a:lnTo>
                    <a:pt x="0" y="100"/>
                  </a:lnTo>
                  <a:lnTo>
                    <a:pt x="0" y="104"/>
                  </a:lnTo>
                  <a:lnTo>
                    <a:pt x="2" y="106"/>
                  </a:lnTo>
                  <a:lnTo>
                    <a:pt x="10" y="112"/>
                  </a:lnTo>
                  <a:lnTo>
                    <a:pt x="18" y="114"/>
                  </a:lnTo>
                  <a:lnTo>
                    <a:pt x="18" y="114"/>
                  </a:lnTo>
                  <a:lnTo>
                    <a:pt x="22" y="114"/>
                  </a:lnTo>
                  <a:lnTo>
                    <a:pt x="24" y="116"/>
                  </a:lnTo>
                  <a:lnTo>
                    <a:pt x="26" y="120"/>
                  </a:lnTo>
                  <a:lnTo>
                    <a:pt x="26" y="124"/>
                  </a:lnTo>
                  <a:lnTo>
                    <a:pt x="28" y="126"/>
                  </a:lnTo>
                  <a:lnTo>
                    <a:pt x="30" y="128"/>
                  </a:lnTo>
                  <a:lnTo>
                    <a:pt x="30" y="128"/>
                  </a:lnTo>
                  <a:lnTo>
                    <a:pt x="34" y="128"/>
                  </a:lnTo>
                  <a:lnTo>
                    <a:pt x="42" y="126"/>
                  </a:lnTo>
                  <a:lnTo>
                    <a:pt x="60" y="120"/>
                  </a:lnTo>
                  <a:lnTo>
                    <a:pt x="80" y="116"/>
                  </a:lnTo>
                  <a:lnTo>
                    <a:pt x="88" y="116"/>
                  </a:lnTo>
                  <a:lnTo>
                    <a:pt x="94" y="118"/>
                  </a:lnTo>
                  <a:lnTo>
                    <a:pt x="94" y="118"/>
                  </a:lnTo>
                  <a:lnTo>
                    <a:pt x="96" y="120"/>
                  </a:lnTo>
                  <a:lnTo>
                    <a:pt x="94" y="122"/>
                  </a:lnTo>
                  <a:lnTo>
                    <a:pt x="88" y="124"/>
                  </a:lnTo>
                  <a:lnTo>
                    <a:pt x="62" y="130"/>
                  </a:lnTo>
                  <a:lnTo>
                    <a:pt x="36" y="138"/>
                  </a:lnTo>
                  <a:lnTo>
                    <a:pt x="26" y="142"/>
                  </a:lnTo>
                  <a:lnTo>
                    <a:pt x="24" y="144"/>
                  </a:lnTo>
                  <a:lnTo>
                    <a:pt x="22" y="146"/>
                  </a:lnTo>
                  <a:lnTo>
                    <a:pt x="22" y="146"/>
                  </a:lnTo>
                  <a:lnTo>
                    <a:pt x="24" y="152"/>
                  </a:lnTo>
                  <a:lnTo>
                    <a:pt x="30" y="156"/>
                  </a:lnTo>
                  <a:lnTo>
                    <a:pt x="38" y="160"/>
                  </a:lnTo>
                  <a:lnTo>
                    <a:pt x="50" y="162"/>
                  </a:lnTo>
                  <a:lnTo>
                    <a:pt x="76" y="166"/>
                  </a:lnTo>
                  <a:lnTo>
                    <a:pt x="90" y="166"/>
                  </a:lnTo>
                  <a:lnTo>
                    <a:pt x="102" y="164"/>
                  </a:lnTo>
                  <a:lnTo>
                    <a:pt x="102" y="164"/>
                  </a:lnTo>
                  <a:lnTo>
                    <a:pt x="116" y="162"/>
                  </a:lnTo>
                  <a:lnTo>
                    <a:pt x="132" y="162"/>
                  </a:lnTo>
                  <a:lnTo>
                    <a:pt x="162" y="164"/>
                  </a:lnTo>
                  <a:lnTo>
                    <a:pt x="186" y="170"/>
                  </a:lnTo>
                  <a:lnTo>
                    <a:pt x="192" y="174"/>
                  </a:lnTo>
                  <a:lnTo>
                    <a:pt x="196" y="176"/>
                  </a:lnTo>
                  <a:lnTo>
                    <a:pt x="196" y="176"/>
                  </a:lnTo>
                  <a:lnTo>
                    <a:pt x="194" y="180"/>
                  </a:lnTo>
                  <a:lnTo>
                    <a:pt x="188" y="182"/>
                  </a:lnTo>
                  <a:lnTo>
                    <a:pt x="172" y="182"/>
                  </a:lnTo>
                  <a:lnTo>
                    <a:pt x="126" y="182"/>
                  </a:lnTo>
                  <a:lnTo>
                    <a:pt x="126" y="182"/>
                  </a:lnTo>
                  <a:lnTo>
                    <a:pt x="100" y="182"/>
                  </a:lnTo>
                  <a:lnTo>
                    <a:pt x="74" y="186"/>
                  </a:lnTo>
                  <a:lnTo>
                    <a:pt x="52" y="192"/>
                  </a:lnTo>
                  <a:lnTo>
                    <a:pt x="46" y="196"/>
                  </a:lnTo>
                  <a:lnTo>
                    <a:pt x="46" y="200"/>
                  </a:lnTo>
                  <a:lnTo>
                    <a:pt x="46" y="200"/>
                  </a:lnTo>
                  <a:lnTo>
                    <a:pt x="48" y="206"/>
                  </a:lnTo>
                  <a:lnTo>
                    <a:pt x="54" y="212"/>
                  </a:lnTo>
                  <a:lnTo>
                    <a:pt x="82" y="226"/>
                  </a:lnTo>
                  <a:lnTo>
                    <a:pt x="82" y="226"/>
                  </a:lnTo>
                  <a:lnTo>
                    <a:pt x="94" y="230"/>
                  </a:lnTo>
                  <a:lnTo>
                    <a:pt x="106" y="230"/>
                  </a:lnTo>
                  <a:lnTo>
                    <a:pt x="126" y="230"/>
                  </a:lnTo>
                  <a:lnTo>
                    <a:pt x="134" y="230"/>
                  </a:lnTo>
                  <a:lnTo>
                    <a:pt x="140" y="230"/>
                  </a:lnTo>
                  <a:lnTo>
                    <a:pt x="144" y="232"/>
                  </a:lnTo>
                  <a:lnTo>
                    <a:pt x="146" y="238"/>
                  </a:lnTo>
                  <a:lnTo>
                    <a:pt x="146" y="238"/>
                  </a:lnTo>
                  <a:lnTo>
                    <a:pt x="146" y="246"/>
                  </a:lnTo>
                  <a:lnTo>
                    <a:pt x="148" y="252"/>
                  </a:lnTo>
                  <a:lnTo>
                    <a:pt x="152" y="256"/>
                  </a:lnTo>
                  <a:lnTo>
                    <a:pt x="160" y="258"/>
                  </a:lnTo>
                  <a:lnTo>
                    <a:pt x="168" y="262"/>
                  </a:lnTo>
                  <a:lnTo>
                    <a:pt x="178" y="264"/>
                  </a:lnTo>
                  <a:lnTo>
                    <a:pt x="206" y="266"/>
                  </a:lnTo>
                  <a:lnTo>
                    <a:pt x="206" y="266"/>
                  </a:lnTo>
                  <a:lnTo>
                    <a:pt x="220" y="264"/>
                  </a:lnTo>
                  <a:lnTo>
                    <a:pt x="232" y="262"/>
                  </a:lnTo>
                  <a:lnTo>
                    <a:pt x="254" y="256"/>
                  </a:lnTo>
                  <a:lnTo>
                    <a:pt x="272" y="250"/>
                  </a:lnTo>
                  <a:lnTo>
                    <a:pt x="280" y="248"/>
                  </a:lnTo>
                  <a:lnTo>
                    <a:pt x="288" y="246"/>
                  </a:lnTo>
                  <a:lnTo>
                    <a:pt x="288" y="246"/>
                  </a:lnTo>
                  <a:lnTo>
                    <a:pt x="300" y="246"/>
                  </a:lnTo>
                  <a:lnTo>
                    <a:pt x="312" y="244"/>
                  </a:lnTo>
                  <a:lnTo>
                    <a:pt x="320" y="238"/>
                  </a:lnTo>
                  <a:lnTo>
                    <a:pt x="328" y="230"/>
                  </a:lnTo>
                  <a:lnTo>
                    <a:pt x="328" y="230"/>
                  </a:lnTo>
                  <a:lnTo>
                    <a:pt x="330" y="226"/>
                  </a:lnTo>
                  <a:lnTo>
                    <a:pt x="334" y="224"/>
                  </a:lnTo>
                  <a:lnTo>
                    <a:pt x="338" y="222"/>
                  </a:lnTo>
                  <a:lnTo>
                    <a:pt x="340" y="222"/>
                  </a:lnTo>
                  <a:lnTo>
                    <a:pt x="344" y="226"/>
                  </a:lnTo>
                  <a:lnTo>
                    <a:pt x="348" y="232"/>
                  </a:lnTo>
                  <a:lnTo>
                    <a:pt x="348" y="232"/>
                  </a:lnTo>
                  <a:lnTo>
                    <a:pt x="350" y="234"/>
                  </a:lnTo>
                  <a:lnTo>
                    <a:pt x="354" y="236"/>
                  </a:lnTo>
                  <a:lnTo>
                    <a:pt x="364" y="238"/>
                  </a:lnTo>
                  <a:lnTo>
                    <a:pt x="376" y="240"/>
                  </a:lnTo>
                  <a:lnTo>
                    <a:pt x="382" y="244"/>
                  </a:lnTo>
                  <a:lnTo>
                    <a:pt x="382" y="244"/>
                  </a:lnTo>
                  <a:lnTo>
                    <a:pt x="390" y="248"/>
                  </a:lnTo>
                  <a:lnTo>
                    <a:pt x="400" y="252"/>
                  </a:lnTo>
                  <a:lnTo>
                    <a:pt x="412" y="252"/>
                  </a:lnTo>
                  <a:lnTo>
                    <a:pt x="424" y="254"/>
                  </a:lnTo>
                  <a:lnTo>
                    <a:pt x="450" y="250"/>
                  </a:lnTo>
                  <a:lnTo>
                    <a:pt x="460" y="248"/>
                  </a:lnTo>
                  <a:lnTo>
                    <a:pt x="468" y="244"/>
                  </a:lnTo>
                  <a:lnTo>
                    <a:pt x="468" y="244"/>
                  </a:lnTo>
                  <a:lnTo>
                    <a:pt x="474" y="240"/>
                  </a:lnTo>
                  <a:lnTo>
                    <a:pt x="476" y="234"/>
                  </a:lnTo>
                  <a:lnTo>
                    <a:pt x="474" y="230"/>
                  </a:lnTo>
                  <a:lnTo>
                    <a:pt x="470" y="224"/>
                  </a:lnTo>
                  <a:lnTo>
                    <a:pt x="466" y="220"/>
                  </a:lnTo>
                  <a:lnTo>
                    <a:pt x="460" y="218"/>
                  </a:lnTo>
                  <a:lnTo>
                    <a:pt x="454" y="218"/>
                  </a:lnTo>
                  <a:lnTo>
                    <a:pt x="450" y="220"/>
                  </a:lnTo>
                  <a:lnTo>
                    <a:pt x="450" y="220"/>
                  </a:lnTo>
                  <a:lnTo>
                    <a:pt x="444" y="226"/>
                  </a:lnTo>
                  <a:lnTo>
                    <a:pt x="438" y="226"/>
                  </a:lnTo>
                  <a:lnTo>
                    <a:pt x="432" y="224"/>
                  </a:lnTo>
                  <a:lnTo>
                    <a:pt x="430" y="220"/>
                  </a:lnTo>
                  <a:lnTo>
                    <a:pt x="430" y="220"/>
                  </a:lnTo>
                  <a:lnTo>
                    <a:pt x="430" y="216"/>
                  </a:lnTo>
                  <a:lnTo>
                    <a:pt x="432" y="214"/>
                  </a:lnTo>
                  <a:lnTo>
                    <a:pt x="440" y="210"/>
                  </a:lnTo>
                  <a:lnTo>
                    <a:pt x="448" y="206"/>
                  </a:lnTo>
                  <a:lnTo>
                    <a:pt x="456" y="200"/>
                  </a:lnTo>
                  <a:lnTo>
                    <a:pt x="456" y="20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59" name="Freeform 46"/>
            <p:cNvSpPr>
              <a:spLocks/>
            </p:cNvSpPr>
            <p:nvPr/>
          </p:nvSpPr>
          <p:spPr bwMode="auto">
            <a:xfrm>
              <a:off x="3819525" y="2962275"/>
              <a:ext cx="41275" cy="47625"/>
            </a:xfrm>
            <a:custGeom>
              <a:avLst/>
              <a:gdLst>
                <a:gd name="T0" fmla="*/ 10 w 26"/>
                <a:gd name="T1" fmla="*/ 30 h 30"/>
                <a:gd name="T2" fmla="*/ 10 w 26"/>
                <a:gd name="T3" fmla="*/ 30 h 30"/>
                <a:gd name="T4" fmla="*/ 14 w 26"/>
                <a:gd name="T5" fmla="*/ 28 h 30"/>
                <a:gd name="T6" fmla="*/ 18 w 26"/>
                <a:gd name="T7" fmla="*/ 24 h 30"/>
                <a:gd name="T8" fmla="*/ 24 w 26"/>
                <a:gd name="T9" fmla="*/ 14 h 30"/>
                <a:gd name="T10" fmla="*/ 26 w 26"/>
                <a:gd name="T11" fmla="*/ 8 h 30"/>
                <a:gd name="T12" fmla="*/ 24 w 26"/>
                <a:gd name="T13" fmla="*/ 4 h 30"/>
                <a:gd name="T14" fmla="*/ 22 w 26"/>
                <a:gd name="T15" fmla="*/ 0 h 30"/>
                <a:gd name="T16" fmla="*/ 14 w 26"/>
                <a:gd name="T17" fmla="*/ 0 h 30"/>
                <a:gd name="T18" fmla="*/ 14 w 26"/>
                <a:gd name="T19" fmla="*/ 0 h 30"/>
                <a:gd name="T20" fmla="*/ 8 w 26"/>
                <a:gd name="T21" fmla="*/ 2 h 30"/>
                <a:gd name="T22" fmla="*/ 4 w 26"/>
                <a:gd name="T23" fmla="*/ 4 h 30"/>
                <a:gd name="T24" fmla="*/ 0 w 26"/>
                <a:gd name="T25" fmla="*/ 10 h 30"/>
                <a:gd name="T26" fmla="*/ 0 w 26"/>
                <a:gd name="T27" fmla="*/ 16 h 30"/>
                <a:gd name="T28" fmla="*/ 0 w 26"/>
                <a:gd name="T29" fmla="*/ 22 h 30"/>
                <a:gd name="T30" fmla="*/ 2 w 26"/>
                <a:gd name="T31" fmla="*/ 26 h 30"/>
                <a:gd name="T32" fmla="*/ 6 w 26"/>
                <a:gd name="T33" fmla="*/ 28 h 30"/>
                <a:gd name="T34" fmla="*/ 10 w 26"/>
                <a:gd name="T35" fmla="*/ 30 h 30"/>
                <a:gd name="T36" fmla="*/ 10 w 26"/>
                <a:gd name="T3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30">
                  <a:moveTo>
                    <a:pt x="10" y="30"/>
                  </a:moveTo>
                  <a:lnTo>
                    <a:pt x="10" y="30"/>
                  </a:lnTo>
                  <a:lnTo>
                    <a:pt x="14" y="28"/>
                  </a:lnTo>
                  <a:lnTo>
                    <a:pt x="18" y="24"/>
                  </a:lnTo>
                  <a:lnTo>
                    <a:pt x="24" y="14"/>
                  </a:lnTo>
                  <a:lnTo>
                    <a:pt x="26" y="8"/>
                  </a:lnTo>
                  <a:lnTo>
                    <a:pt x="24" y="4"/>
                  </a:lnTo>
                  <a:lnTo>
                    <a:pt x="22" y="0"/>
                  </a:lnTo>
                  <a:lnTo>
                    <a:pt x="14" y="0"/>
                  </a:lnTo>
                  <a:lnTo>
                    <a:pt x="14" y="0"/>
                  </a:lnTo>
                  <a:lnTo>
                    <a:pt x="8" y="2"/>
                  </a:lnTo>
                  <a:lnTo>
                    <a:pt x="4" y="4"/>
                  </a:lnTo>
                  <a:lnTo>
                    <a:pt x="0" y="10"/>
                  </a:lnTo>
                  <a:lnTo>
                    <a:pt x="0" y="16"/>
                  </a:lnTo>
                  <a:lnTo>
                    <a:pt x="0" y="22"/>
                  </a:lnTo>
                  <a:lnTo>
                    <a:pt x="2" y="26"/>
                  </a:lnTo>
                  <a:lnTo>
                    <a:pt x="6" y="28"/>
                  </a:lnTo>
                  <a:lnTo>
                    <a:pt x="10" y="30"/>
                  </a:lnTo>
                  <a:lnTo>
                    <a:pt x="10" y="3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0" name="Freeform 47"/>
            <p:cNvSpPr>
              <a:spLocks/>
            </p:cNvSpPr>
            <p:nvPr/>
          </p:nvSpPr>
          <p:spPr bwMode="auto">
            <a:xfrm>
              <a:off x="3937000" y="2530475"/>
              <a:ext cx="107950" cy="82550"/>
            </a:xfrm>
            <a:custGeom>
              <a:avLst/>
              <a:gdLst>
                <a:gd name="T0" fmla="*/ 58 w 68"/>
                <a:gd name="T1" fmla="*/ 44 h 52"/>
                <a:gd name="T2" fmla="*/ 58 w 68"/>
                <a:gd name="T3" fmla="*/ 44 h 52"/>
                <a:gd name="T4" fmla="*/ 62 w 68"/>
                <a:gd name="T5" fmla="*/ 42 h 52"/>
                <a:gd name="T6" fmla="*/ 66 w 68"/>
                <a:gd name="T7" fmla="*/ 40 h 52"/>
                <a:gd name="T8" fmla="*/ 68 w 68"/>
                <a:gd name="T9" fmla="*/ 34 h 52"/>
                <a:gd name="T10" fmla="*/ 68 w 68"/>
                <a:gd name="T11" fmla="*/ 30 h 52"/>
                <a:gd name="T12" fmla="*/ 66 w 68"/>
                <a:gd name="T13" fmla="*/ 18 h 52"/>
                <a:gd name="T14" fmla="*/ 62 w 68"/>
                <a:gd name="T15" fmla="*/ 8 h 52"/>
                <a:gd name="T16" fmla="*/ 62 w 68"/>
                <a:gd name="T17" fmla="*/ 8 h 52"/>
                <a:gd name="T18" fmla="*/ 56 w 68"/>
                <a:gd name="T19" fmla="*/ 2 h 52"/>
                <a:gd name="T20" fmla="*/ 46 w 68"/>
                <a:gd name="T21" fmla="*/ 0 h 52"/>
                <a:gd name="T22" fmla="*/ 36 w 68"/>
                <a:gd name="T23" fmla="*/ 0 h 52"/>
                <a:gd name="T24" fmla="*/ 26 w 68"/>
                <a:gd name="T25" fmla="*/ 0 h 52"/>
                <a:gd name="T26" fmla="*/ 26 w 68"/>
                <a:gd name="T27" fmla="*/ 0 h 52"/>
                <a:gd name="T28" fmla="*/ 22 w 68"/>
                <a:gd name="T29" fmla="*/ 0 h 52"/>
                <a:gd name="T30" fmla="*/ 16 w 68"/>
                <a:gd name="T31" fmla="*/ 4 h 52"/>
                <a:gd name="T32" fmla="*/ 10 w 68"/>
                <a:gd name="T33" fmla="*/ 8 h 52"/>
                <a:gd name="T34" fmla="*/ 4 w 68"/>
                <a:gd name="T35" fmla="*/ 14 h 52"/>
                <a:gd name="T36" fmla="*/ 2 w 68"/>
                <a:gd name="T37" fmla="*/ 20 h 52"/>
                <a:gd name="T38" fmla="*/ 0 w 68"/>
                <a:gd name="T39" fmla="*/ 26 h 52"/>
                <a:gd name="T40" fmla="*/ 0 w 68"/>
                <a:gd name="T41" fmla="*/ 34 h 52"/>
                <a:gd name="T42" fmla="*/ 2 w 68"/>
                <a:gd name="T43" fmla="*/ 42 h 52"/>
                <a:gd name="T44" fmla="*/ 2 w 68"/>
                <a:gd name="T45" fmla="*/ 42 h 52"/>
                <a:gd name="T46" fmla="*/ 8 w 68"/>
                <a:gd name="T47" fmla="*/ 48 h 52"/>
                <a:gd name="T48" fmla="*/ 14 w 68"/>
                <a:gd name="T49" fmla="*/ 52 h 52"/>
                <a:gd name="T50" fmla="*/ 22 w 68"/>
                <a:gd name="T51" fmla="*/ 52 h 52"/>
                <a:gd name="T52" fmla="*/ 30 w 68"/>
                <a:gd name="T53" fmla="*/ 52 h 52"/>
                <a:gd name="T54" fmla="*/ 44 w 68"/>
                <a:gd name="T55" fmla="*/ 48 h 52"/>
                <a:gd name="T56" fmla="*/ 58 w 68"/>
                <a:gd name="T57" fmla="*/ 44 h 52"/>
                <a:gd name="T58" fmla="*/ 58 w 68"/>
                <a:gd name="T5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8" h="52">
                  <a:moveTo>
                    <a:pt x="58" y="44"/>
                  </a:moveTo>
                  <a:lnTo>
                    <a:pt x="58" y="44"/>
                  </a:lnTo>
                  <a:lnTo>
                    <a:pt x="62" y="42"/>
                  </a:lnTo>
                  <a:lnTo>
                    <a:pt x="66" y="40"/>
                  </a:lnTo>
                  <a:lnTo>
                    <a:pt x="68" y="34"/>
                  </a:lnTo>
                  <a:lnTo>
                    <a:pt x="68" y="30"/>
                  </a:lnTo>
                  <a:lnTo>
                    <a:pt x="66" y="18"/>
                  </a:lnTo>
                  <a:lnTo>
                    <a:pt x="62" y="8"/>
                  </a:lnTo>
                  <a:lnTo>
                    <a:pt x="62" y="8"/>
                  </a:lnTo>
                  <a:lnTo>
                    <a:pt x="56" y="2"/>
                  </a:lnTo>
                  <a:lnTo>
                    <a:pt x="46" y="0"/>
                  </a:lnTo>
                  <a:lnTo>
                    <a:pt x="36" y="0"/>
                  </a:lnTo>
                  <a:lnTo>
                    <a:pt x="26" y="0"/>
                  </a:lnTo>
                  <a:lnTo>
                    <a:pt x="26" y="0"/>
                  </a:lnTo>
                  <a:lnTo>
                    <a:pt x="22" y="0"/>
                  </a:lnTo>
                  <a:lnTo>
                    <a:pt x="16" y="4"/>
                  </a:lnTo>
                  <a:lnTo>
                    <a:pt x="10" y="8"/>
                  </a:lnTo>
                  <a:lnTo>
                    <a:pt x="4" y="14"/>
                  </a:lnTo>
                  <a:lnTo>
                    <a:pt x="2" y="20"/>
                  </a:lnTo>
                  <a:lnTo>
                    <a:pt x="0" y="26"/>
                  </a:lnTo>
                  <a:lnTo>
                    <a:pt x="0" y="34"/>
                  </a:lnTo>
                  <a:lnTo>
                    <a:pt x="2" y="42"/>
                  </a:lnTo>
                  <a:lnTo>
                    <a:pt x="2" y="42"/>
                  </a:lnTo>
                  <a:lnTo>
                    <a:pt x="8" y="48"/>
                  </a:lnTo>
                  <a:lnTo>
                    <a:pt x="14" y="52"/>
                  </a:lnTo>
                  <a:lnTo>
                    <a:pt x="22" y="52"/>
                  </a:lnTo>
                  <a:lnTo>
                    <a:pt x="30" y="52"/>
                  </a:lnTo>
                  <a:lnTo>
                    <a:pt x="44" y="48"/>
                  </a:lnTo>
                  <a:lnTo>
                    <a:pt x="58" y="44"/>
                  </a:lnTo>
                  <a:lnTo>
                    <a:pt x="58" y="4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1" name="Freeform 48"/>
            <p:cNvSpPr>
              <a:spLocks/>
            </p:cNvSpPr>
            <p:nvPr/>
          </p:nvSpPr>
          <p:spPr bwMode="auto">
            <a:xfrm>
              <a:off x="3305175" y="1190625"/>
              <a:ext cx="1349375" cy="692150"/>
            </a:xfrm>
            <a:custGeom>
              <a:avLst/>
              <a:gdLst>
                <a:gd name="T0" fmla="*/ 46 w 850"/>
                <a:gd name="T1" fmla="*/ 106 h 436"/>
                <a:gd name="T2" fmla="*/ 60 w 850"/>
                <a:gd name="T3" fmla="*/ 122 h 436"/>
                <a:gd name="T4" fmla="*/ 72 w 850"/>
                <a:gd name="T5" fmla="*/ 148 h 436"/>
                <a:gd name="T6" fmla="*/ 136 w 850"/>
                <a:gd name="T7" fmla="*/ 160 h 436"/>
                <a:gd name="T8" fmla="*/ 152 w 850"/>
                <a:gd name="T9" fmla="*/ 168 h 436"/>
                <a:gd name="T10" fmla="*/ 228 w 850"/>
                <a:gd name="T11" fmla="*/ 174 h 436"/>
                <a:gd name="T12" fmla="*/ 278 w 850"/>
                <a:gd name="T13" fmla="*/ 170 h 436"/>
                <a:gd name="T14" fmla="*/ 348 w 850"/>
                <a:gd name="T15" fmla="*/ 138 h 436"/>
                <a:gd name="T16" fmla="*/ 324 w 850"/>
                <a:gd name="T17" fmla="*/ 174 h 436"/>
                <a:gd name="T18" fmla="*/ 290 w 850"/>
                <a:gd name="T19" fmla="*/ 220 h 436"/>
                <a:gd name="T20" fmla="*/ 252 w 850"/>
                <a:gd name="T21" fmla="*/ 214 h 436"/>
                <a:gd name="T22" fmla="*/ 158 w 850"/>
                <a:gd name="T23" fmla="*/ 188 h 436"/>
                <a:gd name="T24" fmla="*/ 158 w 850"/>
                <a:gd name="T25" fmla="*/ 232 h 436"/>
                <a:gd name="T26" fmla="*/ 242 w 850"/>
                <a:gd name="T27" fmla="*/ 286 h 436"/>
                <a:gd name="T28" fmla="*/ 212 w 850"/>
                <a:gd name="T29" fmla="*/ 288 h 436"/>
                <a:gd name="T30" fmla="*/ 120 w 850"/>
                <a:gd name="T31" fmla="*/ 306 h 436"/>
                <a:gd name="T32" fmla="*/ 174 w 850"/>
                <a:gd name="T33" fmla="*/ 320 h 436"/>
                <a:gd name="T34" fmla="*/ 176 w 850"/>
                <a:gd name="T35" fmla="*/ 336 h 436"/>
                <a:gd name="T36" fmla="*/ 204 w 850"/>
                <a:gd name="T37" fmla="*/ 376 h 436"/>
                <a:gd name="T38" fmla="*/ 164 w 850"/>
                <a:gd name="T39" fmla="*/ 350 h 436"/>
                <a:gd name="T40" fmla="*/ 106 w 850"/>
                <a:gd name="T41" fmla="*/ 350 h 436"/>
                <a:gd name="T42" fmla="*/ 136 w 850"/>
                <a:gd name="T43" fmla="*/ 374 h 436"/>
                <a:gd name="T44" fmla="*/ 70 w 850"/>
                <a:gd name="T45" fmla="*/ 396 h 436"/>
                <a:gd name="T46" fmla="*/ 138 w 850"/>
                <a:gd name="T47" fmla="*/ 418 h 436"/>
                <a:gd name="T48" fmla="*/ 204 w 850"/>
                <a:gd name="T49" fmla="*/ 424 h 436"/>
                <a:gd name="T50" fmla="*/ 292 w 850"/>
                <a:gd name="T51" fmla="*/ 426 h 436"/>
                <a:gd name="T52" fmla="*/ 352 w 850"/>
                <a:gd name="T53" fmla="*/ 422 h 436"/>
                <a:gd name="T54" fmla="*/ 390 w 850"/>
                <a:gd name="T55" fmla="*/ 404 h 436"/>
                <a:gd name="T56" fmla="*/ 354 w 850"/>
                <a:gd name="T57" fmla="*/ 394 h 436"/>
                <a:gd name="T58" fmla="*/ 280 w 850"/>
                <a:gd name="T59" fmla="*/ 382 h 436"/>
                <a:gd name="T60" fmla="*/ 332 w 850"/>
                <a:gd name="T61" fmla="*/ 370 h 436"/>
                <a:gd name="T62" fmla="*/ 374 w 850"/>
                <a:gd name="T63" fmla="*/ 338 h 436"/>
                <a:gd name="T64" fmla="*/ 450 w 850"/>
                <a:gd name="T65" fmla="*/ 322 h 436"/>
                <a:gd name="T66" fmla="*/ 472 w 850"/>
                <a:gd name="T67" fmla="*/ 268 h 436"/>
                <a:gd name="T68" fmla="*/ 404 w 850"/>
                <a:gd name="T69" fmla="*/ 258 h 436"/>
                <a:gd name="T70" fmla="*/ 496 w 850"/>
                <a:gd name="T71" fmla="*/ 242 h 436"/>
                <a:gd name="T72" fmla="*/ 538 w 850"/>
                <a:gd name="T73" fmla="*/ 226 h 436"/>
                <a:gd name="T74" fmla="*/ 574 w 850"/>
                <a:gd name="T75" fmla="*/ 202 h 436"/>
                <a:gd name="T76" fmla="*/ 726 w 850"/>
                <a:gd name="T77" fmla="*/ 134 h 436"/>
                <a:gd name="T78" fmla="*/ 720 w 850"/>
                <a:gd name="T79" fmla="*/ 112 h 436"/>
                <a:gd name="T80" fmla="*/ 720 w 850"/>
                <a:gd name="T81" fmla="*/ 98 h 436"/>
                <a:gd name="T82" fmla="*/ 836 w 850"/>
                <a:gd name="T83" fmla="*/ 66 h 436"/>
                <a:gd name="T84" fmla="*/ 798 w 850"/>
                <a:gd name="T85" fmla="*/ 46 h 436"/>
                <a:gd name="T86" fmla="*/ 760 w 850"/>
                <a:gd name="T87" fmla="*/ 26 h 436"/>
                <a:gd name="T88" fmla="*/ 692 w 850"/>
                <a:gd name="T89" fmla="*/ 32 h 436"/>
                <a:gd name="T90" fmla="*/ 704 w 850"/>
                <a:gd name="T91" fmla="*/ 12 h 436"/>
                <a:gd name="T92" fmla="*/ 584 w 850"/>
                <a:gd name="T93" fmla="*/ 6 h 436"/>
                <a:gd name="T94" fmla="*/ 528 w 850"/>
                <a:gd name="T95" fmla="*/ 2 h 436"/>
                <a:gd name="T96" fmla="*/ 510 w 850"/>
                <a:gd name="T97" fmla="*/ 24 h 436"/>
                <a:gd name="T98" fmla="*/ 424 w 850"/>
                <a:gd name="T99" fmla="*/ 12 h 436"/>
                <a:gd name="T100" fmla="*/ 382 w 850"/>
                <a:gd name="T101" fmla="*/ 20 h 436"/>
                <a:gd name="T102" fmla="*/ 336 w 850"/>
                <a:gd name="T103" fmla="*/ 22 h 436"/>
                <a:gd name="T104" fmla="*/ 300 w 850"/>
                <a:gd name="T105" fmla="*/ 34 h 436"/>
                <a:gd name="T106" fmla="*/ 256 w 850"/>
                <a:gd name="T107" fmla="*/ 46 h 436"/>
                <a:gd name="T108" fmla="*/ 230 w 850"/>
                <a:gd name="T109" fmla="*/ 60 h 436"/>
                <a:gd name="T110" fmla="*/ 176 w 850"/>
                <a:gd name="T111" fmla="*/ 52 h 436"/>
                <a:gd name="T112" fmla="*/ 154 w 850"/>
                <a:gd name="T113" fmla="*/ 72 h 436"/>
                <a:gd name="T114" fmla="*/ 126 w 850"/>
                <a:gd name="T115" fmla="*/ 76 h 436"/>
                <a:gd name="T116" fmla="*/ 70 w 850"/>
                <a:gd name="T117" fmla="*/ 94 h 436"/>
                <a:gd name="T118" fmla="*/ 2 w 850"/>
                <a:gd name="T119" fmla="*/ 10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0" h="436">
                  <a:moveTo>
                    <a:pt x="30" y="102"/>
                  </a:moveTo>
                  <a:lnTo>
                    <a:pt x="30" y="102"/>
                  </a:lnTo>
                  <a:lnTo>
                    <a:pt x="36" y="100"/>
                  </a:lnTo>
                  <a:lnTo>
                    <a:pt x="42" y="98"/>
                  </a:lnTo>
                  <a:lnTo>
                    <a:pt x="50" y="98"/>
                  </a:lnTo>
                  <a:lnTo>
                    <a:pt x="52" y="98"/>
                  </a:lnTo>
                  <a:lnTo>
                    <a:pt x="52" y="100"/>
                  </a:lnTo>
                  <a:lnTo>
                    <a:pt x="50" y="104"/>
                  </a:lnTo>
                  <a:lnTo>
                    <a:pt x="46" y="106"/>
                  </a:lnTo>
                  <a:lnTo>
                    <a:pt x="46" y="106"/>
                  </a:lnTo>
                  <a:lnTo>
                    <a:pt x="38" y="112"/>
                  </a:lnTo>
                  <a:lnTo>
                    <a:pt x="38" y="114"/>
                  </a:lnTo>
                  <a:lnTo>
                    <a:pt x="38" y="114"/>
                  </a:lnTo>
                  <a:lnTo>
                    <a:pt x="44" y="116"/>
                  </a:lnTo>
                  <a:lnTo>
                    <a:pt x="56" y="116"/>
                  </a:lnTo>
                  <a:lnTo>
                    <a:pt x="56" y="116"/>
                  </a:lnTo>
                  <a:lnTo>
                    <a:pt x="64" y="118"/>
                  </a:lnTo>
                  <a:lnTo>
                    <a:pt x="60" y="122"/>
                  </a:lnTo>
                  <a:lnTo>
                    <a:pt x="52" y="128"/>
                  </a:lnTo>
                  <a:lnTo>
                    <a:pt x="50" y="130"/>
                  </a:lnTo>
                  <a:lnTo>
                    <a:pt x="48" y="136"/>
                  </a:lnTo>
                  <a:lnTo>
                    <a:pt x="48" y="136"/>
                  </a:lnTo>
                  <a:lnTo>
                    <a:pt x="50" y="138"/>
                  </a:lnTo>
                  <a:lnTo>
                    <a:pt x="52" y="142"/>
                  </a:lnTo>
                  <a:lnTo>
                    <a:pt x="60" y="144"/>
                  </a:lnTo>
                  <a:lnTo>
                    <a:pt x="70" y="146"/>
                  </a:lnTo>
                  <a:lnTo>
                    <a:pt x="72" y="148"/>
                  </a:lnTo>
                  <a:lnTo>
                    <a:pt x="74" y="152"/>
                  </a:lnTo>
                  <a:lnTo>
                    <a:pt x="74" y="152"/>
                  </a:lnTo>
                  <a:lnTo>
                    <a:pt x="76" y="156"/>
                  </a:lnTo>
                  <a:lnTo>
                    <a:pt x="82" y="160"/>
                  </a:lnTo>
                  <a:lnTo>
                    <a:pt x="92" y="162"/>
                  </a:lnTo>
                  <a:lnTo>
                    <a:pt x="102" y="164"/>
                  </a:lnTo>
                  <a:lnTo>
                    <a:pt x="114" y="164"/>
                  </a:lnTo>
                  <a:lnTo>
                    <a:pt x="126" y="162"/>
                  </a:lnTo>
                  <a:lnTo>
                    <a:pt x="136" y="160"/>
                  </a:lnTo>
                  <a:lnTo>
                    <a:pt x="142" y="154"/>
                  </a:lnTo>
                  <a:lnTo>
                    <a:pt x="142" y="154"/>
                  </a:lnTo>
                  <a:lnTo>
                    <a:pt x="148" y="150"/>
                  </a:lnTo>
                  <a:lnTo>
                    <a:pt x="150" y="150"/>
                  </a:lnTo>
                  <a:lnTo>
                    <a:pt x="152" y="150"/>
                  </a:lnTo>
                  <a:lnTo>
                    <a:pt x="154" y="152"/>
                  </a:lnTo>
                  <a:lnTo>
                    <a:pt x="152" y="160"/>
                  </a:lnTo>
                  <a:lnTo>
                    <a:pt x="152" y="168"/>
                  </a:lnTo>
                  <a:lnTo>
                    <a:pt x="152" y="168"/>
                  </a:lnTo>
                  <a:lnTo>
                    <a:pt x="152" y="170"/>
                  </a:lnTo>
                  <a:lnTo>
                    <a:pt x="154" y="172"/>
                  </a:lnTo>
                  <a:lnTo>
                    <a:pt x="162" y="174"/>
                  </a:lnTo>
                  <a:lnTo>
                    <a:pt x="188" y="178"/>
                  </a:lnTo>
                  <a:lnTo>
                    <a:pt x="202" y="180"/>
                  </a:lnTo>
                  <a:lnTo>
                    <a:pt x="214" y="180"/>
                  </a:lnTo>
                  <a:lnTo>
                    <a:pt x="224" y="178"/>
                  </a:lnTo>
                  <a:lnTo>
                    <a:pt x="228" y="176"/>
                  </a:lnTo>
                  <a:lnTo>
                    <a:pt x="228" y="174"/>
                  </a:lnTo>
                  <a:lnTo>
                    <a:pt x="228" y="174"/>
                  </a:lnTo>
                  <a:lnTo>
                    <a:pt x="230" y="170"/>
                  </a:lnTo>
                  <a:lnTo>
                    <a:pt x="232" y="168"/>
                  </a:lnTo>
                  <a:lnTo>
                    <a:pt x="240" y="166"/>
                  </a:lnTo>
                  <a:lnTo>
                    <a:pt x="248" y="168"/>
                  </a:lnTo>
                  <a:lnTo>
                    <a:pt x="258" y="170"/>
                  </a:lnTo>
                  <a:lnTo>
                    <a:pt x="258" y="170"/>
                  </a:lnTo>
                  <a:lnTo>
                    <a:pt x="266" y="170"/>
                  </a:lnTo>
                  <a:lnTo>
                    <a:pt x="278" y="170"/>
                  </a:lnTo>
                  <a:lnTo>
                    <a:pt x="306" y="164"/>
                  </a:lnTo>
                  <a:lnTo>
                    <a:pt x="320" y="158"/>
                  </a:lnTo>
                  <a:lnTo>
                    <a:pt x="332" y="154"/>
                  </a:lnTo>
                  <a:lnTo>
                    <a:pt x="342" y="148"/>
                  </a:lnTo>
                  <a:lnTo>
                    <a:pt x="344" y="146"/>
                  </a:lnTo>
                  <a:lnTo>
                    <a:pt x="344" y="142"/>
                  </a:lnTo>
                  <a:lnTo>
                    <a:pt x="344" y="142"/>
                  </a:lnTo>
                  <a:lnTo>
                    <a:pt x="346" y="138"/>
                  </a:lnTo>
                  <a:lnTo>
                    <a:pt x="348" y="138"/>
                  </a:lnTo>
                  <a:lnTo>
                    <a:pt x="352" y="140"/>
                  </a:lnTo>
                  <a:lnTo>
                    <a:pt x="354" y="142"/>
                  </a:lnTo>
                  <a:lnTo>
                    <a:pt x="356" y="148"/>
                  </a:lnTo>
                  <a:lnTo>
                    <a:pt x="354" y="154"/>
                  </a:lnTo>
                  <a:lnTo>
                    <a:pt x="352" y="160"/>
                  </a:lnTo>
                  <a:lnTo>
                    <a:pt x="344" y="166"/>
                  </a:lnTo>
                  <a:lnTo>
                    <a:pt x="344" y="166"/>
                  </a:lnTo>
                  <a:lnTo>
                    <a:pt x="336" y="170"/>
                  </a:lnTo>
                  <a:lnTo>
                    <a:pt x="324" y="174"/>
                  </a:lnTo>
                  <a:lnTo>
                    <a:pt x="300" y="178"/>
                  </a:lnTo>
                  <a:lnTo>
                    <a:pt x="274" y="182"/>
                  </a:lnTo>
                  <a:lnTo>
                    <a:pt x="256" y="184"/>
                  </a:lnTo>
                  <a:lnTo>
                    <a:pt x="256" y="184"/>
                  </a:lnTo>
                  <a:lnTo>
                    <a:pt x="250" y="188"/>
                  </a:lnTo>
                  <a:lnTo>
                    <a:pt x="248" y="190"/>
                  </a:lnTo>
                  <a:lnTo>
                    <a:pt x="252" y="194"/>
                  </a:lnTo>
                  <a:lnTo>
                    <a:pt x="256" y="200"/>
                  </a:lnTo>
                  <a:lnTo>
                    <a:pt x="290" y="220"/>
                  </a:lnTo>
                  <a:lnTo>
                    <a:pt x="290" y="220"/>
                  </a:lnTo>
                  <a:lnTo>
                    <a:pt x="294" y="226"/>
                  </a:lnTo>
                  <a:lnTo>
                    <a:pt x="294" y="228"/>
                  </a:lnTo>
                  <a:lnTo>
                    <a:pt x="294" y="228"/>
                  </a:lnTo>
                  <a:lnTo>
                    <a:pt x="288" y="230"/>
                  </a:lnTo>
                  <a:lnTo>
                    <a:pt x="282" y="228"/>
                  </a:lnTo>
                  <a:lnTo>
                    <a:pt x="272" y="226"/>
                  </a:lnTo>
                  <a:lnTo>
                    <a:pt x="262" y="220"/>
                  </a:lnTo>
                  <a:lnTo>
                    <a:pt x="252" y="214"/>
                  </a:lnTo>
                  <a:lnTo>
                    <a:pt x="244" y="208"/>
                  </a:lnTo>
                  <a:lnTo>
                    <a:pt x="244" y="208"/>
                  </a:lnTo>
                  <a:lnTo>
                    <a:pt x="234" y="200"/>
                  </a:lnTo>
                  <a:lnTo>
                    <a:pt x="224" y="196"/>
                  </a:lnTo>
                  <a:lnTo>
                    <a:pt x="214" y="192"/>
                  </a:lnTo>
                  <a:lnTo>
                    <a:pt x="202" y="190"/>
                  </a:lnTo>
                  <a:lnTo>
                    <a:pt x="178" y="188"/>
                  </a:lnTo>
                  <a:lnTo>
                    <a:pt x="158" y="188"/>
                  </a:lnTo>
                  <a:lnTo>
                    <a:pt x="158" y="188"/>
                  </a:lnTo>
                  <a:lnTo>
                    <a:pt x="150" y="190"/>
                  </a:lnTo>
                  <a:lnTo>
                    <a:pt x="146" y="196"/>
                  </a:lnTo>
                  <a:lnTo>
                    <a:pt x="144" y="202"/>
                  </a:lnTo>
                  <a:lnTo>
                    <a:pt x="142" y="210"/>
                  </a:lnTo>
                  <a:lnTo>
                    <a:pt x="144" y="218"/>
                  </a:lnTo>
                  <a:lnTo>
                    <a:pt x="148" y="226"/>
                  </a:lnTo>
                  <a:lnTo>
                    <a:pt x="152" y="230"/>
                  </a:lnTo>
                  <a:lnTo>
                    <a:pt x="158" y="232"/>
                  </a:lnTo>
                  <a:lnTo>
                    <a:pt x="158" y="232"/>
                  </a:lnTo>
                  <a:lnTo>
                    <a:pt x="172" y="234"/>
                  </a:lnTo>
                  <a:lnTo>
                    <a:pt x="184" y="238"/>
                  </a:lnTo>
                  <a:lnTo>
                    <a:pt x="196" y="248"/>
                  </a:lnTo>
                  <a:lnTo>
                    <a:pt x="210" y="264"/>
                  </a:lnTo>
                  <a:lnTo>
                    <a:pt x="210" y="264"/>
                  </a:lnTo>
                  <a:lnTo>
                    <a:pt x="216" y="274"/>
                  </a:lnTo>
                  <a:lnTo>
                    <a:pt x="224" y="280"/>
                  </a:lnTo>
                  <a:lnTo>
                    <a:pt x="234" y="284"/>
                  </a:lnTo>
                  <a:lnTo>
                    <a:pt x="242" y="286"/>
                  </a:lnTo>
                  <a:lnTo>
                    <a:pt x="256" y="290"/>
                  </a:lnTo>
                  <a:lnTo>
                    <a:pt x="260" y="294"/>
                  </a:lnTo>
                  <a:lnTo>
                    <a:pt x="262" y="298"/>
                  </a:lnTo>
                  <a:lnTo>
                    <a:pt x="262" y="298"/>
                  </a:lnTo>
                  <a:lnTo>
                    <a:pt x="262" y="298"/>
                  </a:lnTo>
                  <a:lnTo>
                    <a:pt x="260" y="300"/>
                  </a:lnTo>
                  <a:lnTo>
                    <a:pt x="254" y="300"/>
                  </a:lnTo>
                  <a:lnTo>
                    <a:pt x="236" y="296"/>
                  </a:lnTo>
                  <a:lnTo>
                    <a:pt x="212" y="288"/>
                  </a:lnTo>
                  <a:lnTo>
                    <a:pt x="188" y="282"/>
                  </a:lnTo>
                  <a:lnTo>
                    <a:pt x="188" y="282"/>
                  </a:lnTo>
                  <a:lnTo>
                    <a:pt x="178" y="282"/>
                  </a:lnTo>
                  <a:lnTo>
                    <a:pt x="166" y="282"/>
                  </a:lnTo>
                  <a:lnTo>
                    <a:pt x="156" y="286"/>
                  </a:lnTo>
                  <a:lnTo>
                    <a:pt x="144" y="290"/>
                  </a:lnTo>
                  <a:lnTo>
                    <a:pt x="134" y="294"/>
                  </a:lnTo>
                  <a:lnTo>
                    <a:pt x="126" y="300"/>
                  </a:lnTo>
                  <a:lnTo>
                    <a:pt x="120" y="306"/>
                  </a:lnTo>
                  <a:lnTo>
                    <a:pt x="118" y="314"/>
                  </a:lnTo>
                  <a:lnTo>
                    <a:pt x="118" y="314"/>
                  </a:lnTo>
                  <a:lnTo>
                    <a:pt x="120" y="320"/>
                  </a:lnTo>
                  <a:lnTo>
                    <a:pt x="124" y="324"/>
                  </a:lnTo>
                  <a:lnTo>
                    <a:pt x="132" y="328"/>
                  </a:lnTo>
                  <a:lnTo>
                    <a:pt x="140" y="328"/>
                  </a:lnTo>
                  <a:lnTo>
                    <a:pt x="152" y="326"/>
                  </a:lnTo>
                  <a:lnTo>
                    <a:pt x="162" y="324"/>
                  </a:lnTo>
                  <a:lnTo>
                    <a:pt x="174" y="320"/>
                  </a:lnTo>
                  <a:lnTo>
                    <a:pt x="184" y="316"/>
                  </a:lnTo>
                  <a:lnTo>
                    <a:pt x="184" y="316"/>
                  </a:lnTo>
                  <a:lnTo>
                    <a:pt x="196" y="310"/>
                  </a:lnTo>
                  <a:lnTo>
                    <a:pt x="198" y="310"/>
                  </a:lnTo>
                  <a:lnTo>
                    <a:pt x="196" y="314"/>
                  </a:lnTo>
                  <a:lnTo>
                    <a:pt x="188" y="322"/>
                  </a:lnTo>
                  <a:lnTo>
                    <a:pt x="178" y="332"/>
                  </a:lnTo>
                  <a:lnTo>
                    <a:pt x="178" y="332"/>
                  </a:lnTo>
                  <a:lnTo>
                    <a:pt x="176" y="336"/>
                  </a:lnTo>
                  <a:lnTo>
                    <a:pt x="178" y="340"/>
                  </a:lnTo>
                  <a:lnTo>
                    <a:pt x="182" y="346"/>
                  </a:lnTo>
                  <a:lnTo>
                    <a:pt x="188" y="350"/>
                  </a:lnTo>
                  <a:lnTo>
                    <a:pt x="202" y="358"/>
                  </a:lnTo>
                  <a:lnTo>
                    <a:pt x="208" y="364"/>
                  </a:lnTo>
                  <a:lnTo>
                    <a:pt x="210" y="368"/>
                  </a:lnTo>
                  <a:lnTo>
                    <a:pt x="210" y="368"/>
                  </a:lnTo>
                  <a:lnTo>
                    <a:pt x="208" y="372"/>
                  </a:lnTo>
                  <a:lnTo>
                    <a:pt x="204" y="376"/>
                  </a:lnTo>
                  <a:lnTo>
                    <a:pt x="198" y="378"/>
                  </a:lnTo>
                  <a:lnTo>
                    <a:pt x="192" y="378"/>
                  </a:lnTo>
                  <a:lnTo>
                    <a:pt x="186" y="376"/>
                  </a:lnTo>
                  <a:lnTo>
                    <a:pt x="180" y="374"/>
                  </a:lnTo>
                  <a:lnTo>
                    <a:pt x="176" y="370"/>
                  </a:lnTo>
                  <a:lnTo>
                    <a:pt x="174" y="364"/>
                  </a:lnTo>
                  <a:lnTo>
                    <a:pt x="174" y="364"/>
                  </a:lnTo>
                  <a:lnTo>
                    <a:pt x="168" y="356"/>
                  </a:lnTo>
                  <a:lnTo>
                    <a:pt x="164" y="350"/>
                  </a:lnTo>
                  <a:lnTo>
                    <a:pt x="160" y="346"/>
                  </a:lnTo>
                  <a:lnTo>
                    <a:pt x="154" y="344"/>
                  </a:lnTo>
                  <a:lnTo>
                    <a:pt x="146" y="342"/>
                  </a:lnTo>
                  <a:lnTo>
                    <a:pt x="136" y="340"/>
                  </a:lnTo>
                  <a:lnTo>
                    <a:pt x="126" y="340"/>
                  </a:lnTo>
                  <a:lnTo>
                    <a:pt x="126" y="340"/>
                  </a:lnTo>
                  <a:lnTo>
                    <a:pt x="116" y="342"/>
                  </a:lnTo>
                  <a:lnTo>
                    <a:pt x="110" y="346"/>
                  </a:lnTo>
                  <a:lnTo>
                    <a:pt x="106" y="350"/>
                  </a:lnTo>
                  <a:lnTo>
                    <a:pt x="106" y="354"/>
                  </a:lnTo>
                  <a:lnTo>
                    <a:pt x="106" y="358"/>
                  </a:lnTo>
                  <a:lnTo>
                    <a:pt x="110" y="362"/>
                  </a:lnTo>
                  <a:lnTo>
                    <a:pt x="116" y="366"/>
                  </a:lnTo>
                  <a:lnTo>
                    <a:pt x="122" y="368"/>
                  </a:lnTo>
                  <a:lnTo>
                    <a:pt x="122" y="368"/>
                  </a:lnTo>
                  <a:lnTo>
                    <a:pt x="128" y="368"/>
                  </a:lnTo>
                  <a:lnTo>
                    <a:pt x="134" y="370"/>
                  </a:lnTo>
                  <a:lnTo>
                    <a:pt x="136" y="374"/>
                  </a:lnTo>
                  <a:lnTo>
                    <a:pt x="138" y="376"/>
                  </a:lnTo>
                  <a:lnTo>
                    <a:pt x="136" y="380"/>
                  </a:lnTo>
                  <a:lnTo>
                    <a:pt x="134" y="382"/>
                  </a:lnTo>
                  <a:lnTo>
                    <a:pt x="128" y="384"/>
                  </a:lnTo>
                  <a:lnTo>
                    <a:pt x="122" y="384"/>
                  </a:lnTo>
                  <a:lnTo>
                    <a:pt x="122" y="384"/>
                  </a:lnTo>
                  <a:lnTo>
                    <a:pt x="102" y="386"/>
                  </a:lnTo>
                  <a:lnTo>
                    <a:pt x="80" y="392"/>
                  </a:lnTo>
                  <a:lnTo>
                    <a:pt x="70" y="396"/>
                  </a:lnTo>
                  <a:lnTo>
                    <a:pt x="64" y="402"/>
                  </a:lnTo>
                  <a:lnTo>
                    <a:pt x="62" y="406"/>
                  </a:lnTo>
                  <a:lnTo>
                    <a:pt x="64" y="410"/>
                  </a:lnTo>
                  <a:lnTo>
                    <a:pt x="66" y="412"/>
                  </a:lnTo>
                  <a:lnTo>
                    <a:pt x="66" y="412"/>
                  </a:lnTo>
                  <a:lnTo>
                    <a:pt x="74" y="416"/>
                  </a:lnTo>
                  <a:lnTo>
                    <a:pt x="86" y="418"/>
                  </a:lnTo>
                  <a:lnTo>
                    <a:pt x="112" y="420"/>
                  </a:lnTo>
                  <a:lnTo>
                    <a:pt x="138" y="418"/>
                  </a:lnTo>
                  <a:lnTo>
                    <a:pt x="148" y="420"/>
                  </a:lnTo>
                  <a:lnTo>
                    <a:pt x="154" y="422"/>
                  </a:lnTo>
                  <a:lnTo>
                    <a:pt x="154" y="422"/>
                  </a:lnTo>
                  <a:lnTo>
                    <a:pt x="160" y="424"/>
                  </a:lnTo>
                  <a:lnTo>
                    <a:pt x="166" y="428"/>
                  </a:lnTo>
                  <a:lnTo>
                    <a:pt x="180" y="430"/>
                  </a:lnTo>
                  <a:lnTo>
                    <a:pt x="194" y="430"/>
                  </a:lnTo>
                  <a:lnTo>
                    <a:pt x="200" y="428"/>
                  </a:lnTo>
                  <a:lnTo>
                    <a:pt x="204" y="424"/>
                  </a:lnTo>
                  <a:lnTo>
                    <a:pt x="204" y="424"/>
                  </a:lnTo>
                  <a:lnTo>
                    <a:pt x="206" y="420"/>
                  </a:lnTo>
                  <a:lnTo>
                    <a:pt x="212" y="418"/>
                  </a:lnTo>
                  <a:lnTo>
                    <a:pt x="224" y="416"/>
                  </a:lnTo>
                  <a:lnTo>
                    <a:pt x="258" y="418"/>
                  </a:lnTo>
                  <a:lnTo>
                    <a:pt x="258" y="418"/>
                  </a:lnTo>
                  <a:lnTo>
                    <a:pt x="274" y="418"/>
                  </a:lnTo>
                  <a:lnTo>
                    <a:pt x="284" y="422"/>
                  </a:lnTo>
                  <a:lnTo>
                    <a:pt x="292" y="426"/>
                  </a:lnTo>
                  <a:lnTo>
                    <a:pt x="300" y="432"/>
                  </a:lnTo>
                  <a:lnTo>
                    <a:pt x="300" y="432"/>
                  </a:lnTo>
                  <a:lnTo>
                    <a:pt x="304" y="434"/>
                  </a:lnTo>
                  <a:lnTo>
                    <a:pt x="310" y="436"/>
                  </a:lnTo>
                  <a:lnTo>
                    <a:pt x="320" y="436"/>
                  </a:lnTo>
                  <a:lnTo>
                    <a:pt x="332" y="434"/>
                  </a:lnTo>
                  <a:lnTo>
                    <a:pt x="344" y="428"/>
                  </a:lnTo>
                  <a:lnTo>
                    <a:pt x="344" y="428"/>
                  </a:lnTo>
                  <a:lnTo>
                    <a:pt x="352" y="422"/>
                  </a:lnTo>
                  <a:lnTo>
                    <a:pt x="358" y="420"/>
                  </a:lnTo>
                  <a:lnTo>
                    <a:pt x="364" y="418"/>
                  </a:lnTo>
                  <a:lnTo>
                    <a:pt x="374" y="418"/>
                  </a:lnTo>
                  <a:lnTo>
                    <a:pt x="374" y="418"/>
                  </a:lnTo>
                  <a:lnTo>
                    <a:pt x="384" y="416"/>
                  </a:lnTo>
                  <a:lnTo>
                    <a:pt x="388" y="414"/>
                  </a:lnTo>
                  <a:lnTo>
                    <a:pt x="390" y="410"/>
                  </a:lnTo>
                  <a:lnTo>
                    <a:pt x="390" y="408"/>
                  </a:lnTo>
                  <a:lnTo>
                    <a:pt x="390" y="404"/>
                  </a:lnTo>
                  <a:lnTo>
                    <a:pt x="386" y="394"/>
                  </a:lnTo>
                  <a:lnTo>
                    <a:pt x="386" y="394"/>
                  </a:lnTo>
                  <a:lnTo>
                    <a:pt x="382" y="390"/>
                  </a:lnTo>
                  <a:lnTo>
                    <a:pt x="378" y="390"/>
                  </a:lnTo>
                  <a:lnTo>
                    <a:pt x="368" y="392"/>
                  </a:lnTo>
                  <a:lnTo>
                    <a:pt x="358" y="396"/>
                  </a:lnTo>
                  <a:lnTo>
                    <a:pt x="354" y="396"/>
                  </a:lnTo>
                  <a:lnTo>
                    <a:pt x="354" y="394"/>
                  </a:lnTo>
                  <a:lnTo>
                    <a:pt x="354" y="394"/>
                  </a:lnTo>
                  <a:lnTo>
                    <a:pt x="352" y="390"/>
                  </a:lnTo>
                  <a:lnTo>
                    <a:pt x="348" y="386"/>
                  </a:lnTo>
                  <a:lnTo>
                    <a:pt x="342" y="384"/>
                  </a:lnTo>
                  <a:lnTo>
                    <a:pt x="336" y="382"/>
                  </a:lnTo>
                  <a:lnTo>
                    <a:pt x="320" y="380"/>
                  </a:lnTo>
                  <a:lnTo>
                    <a:pt x="296" y="382"/>
                  </a:lnTo>
                  <a:lnTo>
                    <a:pt x="296" y="382"/>
                  </a:lnTo>
                  <a:lnTo>
                    <a:pt x="286" y="384"/>
                  </a:lnTo>
                  <a:lnTo>
                    <a:pt x="280" y="382"/>
                  </a:lnTo>
                  <a:lnTo>
                    <a:pt x="276" y="378"/>
                  </a:lnTo>
                  <a:lnTo>
                    <a:pt x="276" y="374"/>
                  </a:lnTo>
                  <a:lnTo>
                    <a:pt x="280" y="370"/>
                  </a:lnTo>
                  <a:lnTo>
                    <a:pt x="284" y="368"/>
                  </a:lnTo>
                  <a:lnTo>
                    <a:pt x="290" y="366"/>
                  </a:lnTo>
                  <a:lnTo>
                    <a:pt x="298" y="368"/>
                  </a:lnTo>
                  <a:lnTo>
                    <a:pt x="298" y="368"/>
                  </a:lnTo>
                  <a:lnTo>
                    <a:pt x="314" y="370"/>
                  </a:lnTo>
                  <a:lnTo>
                    <a:pt x="332" y="370"/>
                  </a:lnTo>
                  <a:lnTo>
                    <a:pt x="350" y="368"/>
                  </a:lnTo>
                  <a:lnTo>
                    <a:pt x="368" y="364"/>
                  </a:lnTo>
                  <a:lnTo>
                    <a:pt x="368" y="364"/>
                  </a:lnTo>
                  <a:lnTo>
                    <a:pt x="376" y="362"/>
                  </a:lnTo>
                  <a:lnTo>
                    <a:pt x="380" y="360"/>
                  </a:lnTo>
                  <a:lnTo>
                    <a:pt x="380" y="356"/>
                  </a:lnTo>
                  <a:lnTo>
                    <a:pt x="380" y="352"/>
                  </a:lnTo>
                  <a:lnTo>
                    <a:pt x="376" y="346"/>
                  </a:lnTo>
                  <a:lnTo>
                    <a:pt x="374" y="338"/>
                  </a:lnTo>
                  <a:lnTo>
                    <a:pt x="374" y="338"/>
                  </a:lnTo>
                  <a:lnTo>
                    <a:pt x="374" y="336"/>
                  </a:lnTo>
                  <a:lnTo>
                    <a:pt x="378" y="334"/>
                  </a:lnTo>
                  <a:lnTo>
                    <a:pt x="390" y="332"/>
                  </a:lnTo>
                  <a:lnTo>
                    <a:pt x="424" y="334"/>
                  </a:lnTo>
                  <a:lnTo>
                    <a:pt x="424" y="334"/>
                  </a:lnTo>
                  <a:lnTo>
                    <a:pt x="432" y="334"/>
                  </a:lnTo>
                  <a:lnTo>
                    <a:pt x="442" y="328"/>
                  </a:lnTo>
                  <a:lnTo>
                    <a:pt x="450" y="322"/>
                  </a:lnTo>
                  <a:lnTo>
                    <a:pt x="460" y="314"/>
                  </a:lnTo>
                  <a:lnTo>
                    <a:pt x="466" y="306"/>
                  </a:lnTo>
                  <a:lnTo>
                    <a:pt x="472" y="296"/>
                  </a:lnTo>
                  <a:lnTo>
                    <a:pt x="478" y="288"/>
                  </a:lnTo>
                  <a:lnTo>
                    <a:pt x="478" y="278"/>
                  </a:lnTo>
                  <a:lnTo>
                    <a:pt x="478" y="278"/>
                  </a:lnTo>
                  <a:lnTo>
                    <a:pt x="478" y="276"/>
                  </a:lnTo>
                  <a:lnTo>
                    <a:pt x="478" y="272"/>
                  </a:lnTo>
                  <a:lnTo>
                    <a:pt x="472" y="268"/>
                  </a:lnTo>
                  <a:lnTo>
                    <a:pt x="462" y="264"/>
                  </a:lnTo>
                  <a:lnTo>
                    <a:pt x="452" y="264"/>
                  </a:lnTo>
                  <a:lnTo>
                    <a:pt x="428" y="262"/>
                  </a:lnTo>
                  <a:lnTo>
                    <a:pt x="406" y="264"/>
                  </a:lnTo>
                  <a:lnTo>
                    <a:pt x="406" y="264"/>
                  </a:lnTo>
                  <a:lnTo>
                    <a:pt x="400" y="262"/>
                  </a:lnTo>
                  <a:lnTo>
                    <a:pt x="400" y="262"/>
                  </a:lnTo>
                  <a:lnTo>
                    <a:pt x="400" y="260"/>
                  </a:lnTo>
                  <a:lnTo>
                    <a:pt x="404" y="258"/>
                  </a:lnTo>
                  <a:lnTo>
                    <a:pt x="410" y="254"/>
                  </a:lnTo>
                  <a:lnTo>
                    <a:pt x="422" y="252"/>
                  </a:lnTo>
                  <a:lnTo>
                    <a:pt x="436" y="248"/>
                  </a:lnTo>
                  <a:lnTo>
                    <a:pt x="452" y="248"/>
                  </a:lnTo>
                  <a:lnTo>
                    <a:pt x="468" y="248"/>
                  </a:lnTo>
                  <a:lnTo>
                    <a:pt x="468" y="248"/>
                  </a:lnTo>
                  <a:lnTo>
                    <a:pt x="482" y="248"/>
                  </a:lnTo>
                  <a:lnTo>
                    <a:pt x="492" y="246"/>
                  </a:lnTo>
                  <a:lnTo>
                    <a:pt x="496" y="242"/>
                  </a:lnTo>
                  <a:lnTo>
                    <a:pt x="498" y="238"/>
                  </a:lnTo>
                  <a:lnTo>
                    <a:pt x="500" y="230"/>
                  </a:lnTo>
                  <a:lnTo>
                    <a:pt x="500" y="226"/>
                  </a:lnTo>
                  <a:lnTo>
                    <a:pt x="502" y="222"/>
                  </a:lnTo>
                  <a:lnTo>
                    <a:pt x="502" y="222"/>
                  </a:lnTo>
                  <a:lnTo>
                    <a:pt x="506" y="220"/>
                  </a:lnTo>
                  <a:lnTo>
                    <a:pt x="510" y="220"/>
                  </a:lnTo>
                  <a:lnTo>
                    <a:pt x="522" y="224"/>
                  </a:lnTo>
                  <a:lnTo>
                    <a:pt x="538" y="226"/>
                  </a:lnTo>
                  <a:lnTo>
                    <a:pt x="546" y="226"/>
                  </a:lnTo>
                  <a:lnTo>
                    <a:pt x="554" y="226"/>
                  </a:lnTo>
                  <a:lnTo>
                    <a:pt x="554" y="226"/>
                  </a:lnTo>
                  <a:lnTo>
                    <a:pt x="562" y="224"/>
                  </a:lnTo>
                  <a:lnTo>
                    <a:pt x="566" y="220"/>
                  </a:lnTo>
                  <a:lnTo>
                    <a:pt x="568" y="216"/>
                  </a:lnTo>
                  <a:lnTo>
                    <a:pt x="570" y="212"/>
                  </a:lnTo>
                  <a:lnTo>
                    <a:pt x="570" y="204"/>
                  </a:lnTo>
                  <a:lnTo>
                    <a:pt x="574" y="202"/>
                  </a:lnTo>
                  <a:lnTo>
                    <a:pt x="578" y="202"/>
                  </a:lnTo>
                  <a:lnTo>
                    <a:pt x="578" y="202"/>
                  </a:lnTo>
                  <a:lnTo>
                    <a:pt x="590" y="198"/>
                  </a:lnTo>
                  <a:lnTo>
                    <a:pt x="606" y="190"/>
                  </a:lnTo>
                  <a:lnTo>
                    <a:pt x="664" y="156"/>
                  </a:lnTo>
                  <a:lnTo>
                    <a:pt x="664" y="156"/>
                  </a:lnTo>
                  <a:lnTo>
                    <a:pt x="682" y="148"/>
                  </a:lnTo>
                  <a:lnTo>
                    <a:pt x="698" y="142"/>
                  </a:lnTo>
                  <a:lnTo>
                    <a:pt x="726" y="134"/>
                  </a:lnTo>
                  <a:lnTo>
                    <a:pt x="746" y="126"/>
                  </a:lnTo>
                  <a:lnTo>
                    <a:pt x="752" y="124"/>
                  </a:lnTo>
                  <a:lnTo>
                    <a:pt x="754" y="118"/>
                  </a:lnTo>
                  <a:lnTo>
                    <a:pt x="754" y="118"/>
                  </a:lnTo>
                  <a:lnTo>
                    <a:pt x="754" y="116"/>
                  </a:lnTo>
                  <a:lnTo>
                    <a:pt x="752" y="114"/>
                  </a:lnTo>
                  <a:lnTo>
                    <a:pt x="744" y="112"/>
                  </a:lnTo>
                  <a:lnTo>
                    <a:pt x="734" y="112"/>
                  </a:lnTo>
                  <a:lnTo>
                    <a:pt x="720" y="112"/>
                  </a:lnTo>
                  <a:lnTo>
                    <a:pt x="692" y="114"/>
                  </a:lnTo>
                  <a:lnTo>
                    <a:pt x="680" y="114"/>
                  </a:lnTo>
                  <a:lnTo>
                    <a:pt x="674" y="114"/>
                  </a:lnTo>
                  <a:lnTo>
                    <a:pt x="674" y="114"/>
                  </a:lnTo>
                  <a:lnTo>
                    <a:pt x="672" y="112"/>
                  </a:lnTo>
                  <a:lnTo>
                    <a:pt x="672" y="112"/>
                  </a:lnTo>
                  <a:lnTo>
                    <a:pt x="676" y="108"/>
                  </a:lnTo>
                  <a:lnTo>
                    <a:pt x="696" y="102"/>
                  </a:lnTo>
                  <a:lnTo>
                    <a:pt x="720" y="98"/>
                  </a:lnTo>
                  <a:lnTo>
                    <a:pt x="730" y="98"/>
                  </a:lnTo>
                  <a:lnTo>
                    <a:pt x="738" y="98"/>
                  </a:lnTo>
                  <a:lnTo>
                    <a:pt x="738" y="98"/>
                  </a:lnTo>
                  <a:lnTo>
                    <a:pt x="750" y="100"/>
                  </a:lnTo>
                  <a:lnTo>
                    <a:pt x="766" y="98"/>
                  </a:lnTo>
                  <a:lnTo>
                    <a:pt x="790" y="90"/>
                  </a:lnTo>
                  <a:lnTo>
                    <a:pt x="820" y="74"/>
                  </a:lnTo>
                  <a:lnTo>
                    <a:pt x="820" y="74"/>
                  </a:lnTo>
                  <a:lnTo>
                    <a:pt x="836" y="66"/>
                  </a:lnTo>
                  <a:lnTo>
                    <a:pt x="846" y="60"/>
                  </a:lnTo>
                  <a:lnTo>
                    <a:pt x="850" y="54"/>
                  </a:lnTo>
                  <a:lnTo>
                    <a:pt x="850" y="50"/>
                  </a:lnTo>
                  <a:lnTo>
                    <a:pt x="848" y="48"/>
                  </a:lnTo>
                  <a:lnTo>
                    <a:pt x="842" y="48"/>
                  </a:lnTo>
                  <a:lnTo>
                    <a:pt x="828" y="48"/>
                  </a:lnTo>
                  <a:lnTo>
                    <a:pt x="828" y="48"/>
                  </a:lnTo>
                  <a:lnTo>
                    <a:pt x="812" y="48"/>
                  </a:lnTo>
                  <a:lnTo>
                    <a:pt x="798" y="46"/>
                  </a:lnTo>
                  <a:lnTo>
                    <a:pt x="794" y="44"/>
                  </a:lnTo>
                  <a:lnTo>
                    <a:pt x="790" y="40"/>
                  </a:lnTo>
                  <a:lnTo>
                    <a:pt x="786" y="36"/>
                  </a:lnTo>
                  <a:lnTo>
                    <a:pt x="786" y="32"/>
                  </a:lnTo>
                  <a:lnTo>
                    <a:pt x="786" y="32"/>
                  </a:lnTo>
                  <a:lnTo>
                    <a:pt x="784" y="28"/>
                  </a:lnTo>
                  <a:lnTo>
                    <a:pt x="782" y="26"/>
                  </a:lnTo>
                  <a:lnTo>
                    <a:pt x="772" y="24"/>
                  </a:lnTo>
                  <a:lnTo>
                    <a:pt x="760" y="26"/>
                  </a:lnTo>
                  <a:lnTo>
                    <a:pt x="756" y="24"/>
                  </a:lnTo>
                  <a:lnTo>
                    <a:pt x="754" y="22"/>
                  </a:lnTo>
                  <a:lnTo>
                    <a:pt x="754" y="22"/>
                  </a:lnTo>
                  <a:lnTo>
                    <a:pt x="752" y="20"/>
                  </a:lnTo>
                  <a:lnTo>
                    <a:pt x="748" y="20"/>
                  </a:lnTo>
                  <a:lnTo>
                    <a:pt x="734" y="20"/>
                  </a:lnTo>
                  <a:lnTo>
                    <a:pt x="716" y="24"/>
                  </a:lnTo>
                  <a:lnTo>
                    <a:pt x="692" y="32"/>
                  </a:lnTo>
                  <a:lnTo>
                    <a:pt x="692" y="32"/>
                  </a:lnTo>
                  <a:lnTo>
                    <a:pt x="684" y="34"/>
                  </a:lnTo>
                  <a:lnTo>
                    <a:pt x="680" y="34"/>
                  </a:lnTo>
                  <a:lnTo>
                    <a:pt x="678" y="32"/>
                  </a:lnTo>
                  <a:lnTo>
                    <a:pt x="682" y="30"/>
                  </a:lnTo>
                  <a:lnTo>
                    <a:pt x="692" y="20"/>
                  </a:lnTo>
                  <a:lnTo>
                    <a:pt x="704" y="14"/>
                  </a:lnTo>
                  <a:lnTo>
                    <a:pt x="704" y="14"/>
                  </a:lnTo>
                  <a:lnTo>
                    <a:pt x="704" y="14"/>
                  </a:lnTo>
                  <a:lnTo>
                    <a:pt x="704" y="12"/>
                  </a:lnTo>
                  <a:lnTo>
                    <a:pt x="696" y="12"/>
                  </a:lnTo>
                  <a:lnTo>
                    <a:pt x="666" y="12"/>
                  </a:lnTo>
                  <a:lnTo>
                    <a:pt x="632" y="8"/>
                  </a:lnTo>
                  <a:lnTo>
                    <a:pt x="618" y="6"/>
                  </a:lnTo>
                  <a:lnTo>
                    <a:pt x="608" y="4"/>
                  </a:lnTo>
                  <a:lnTo>
                    <a:pt x="608" y="4"/>
                  </a:lnTo>
                  <a:lnTo>
                    <a:pt x="602" y="0"/>
                  </a:lnTo>
                  <a:lnTo>
                    <a:pt x="596" y="2"/>
                  </a:lnTo>
                  <a:lnTo>
                    <a:pt x="584" y="6"/>
                  </a:lnTo>
                  <a:lnTo>
                    <a:pt x="578" y="10"/>
                  </a:lnTo>
                  <a:lnTo>
                    <a:pt x="572" y="12"/>
                  </a:lnTo>
                  <a:lnTo>
                    <a:pt x="566" y="10"/>
                  </a:lnTo>
                  <a:lnTo>
                    <a:pt x="560" y="6"/>
                  </a:lnTo>
                  <a:lnTo>
                    <a:pt x="560" y="6"/>
                  </a:lnTo>
                  <a:lnTo>
                    <a:pt x="554" y="2"/>
                  </a:lnTo>
                  <a:lnTo>
                    <a:pt x="546" y="0"/>
                  </a:lnTo>
                  <a:lnTo>
                    <a:pt x="538" y="0"/>
                  </a:lnTo>
                  <a:lnTo>
                    <a:pt x="528" y="2"/>
                  </a:lnTo>
                  <a:lnTo>
                    <a:pt x="522" y="4"/>
                  </a:lnTo>
                  <a:lnTo>
                    <a:pt x="516" y="8"/>
                  </a:lnTo>
                  <a:lnTo>
                    <a:pt x="512" y="12"/>
                  </a:lnTo>
                  <a:lnTo>
                    <a:pt x="512" y="16"/>
                  </a:lnTo>
                  <a:lnTo>
                    <a:pt x="512" y="16"/>
                  </a:lnTo>
                  <a:lnTo>
                    <a:pt x="514" y="20"/>
                  </a:lnTo>
                  <a:lnTo>
                    <a:pt x="514" y="22"/>
                  </a:lnTo>
                  <a:lnTo>
                    <a:pt x="512" y="24"/>
                  </a:lnTo>
                  <a:lnTo>
                    <a:pt x="510" y="24"/>
                  </a:lnTo>
                  <a:lnTo>
                    <a:pt x="502" y="22"/>
                  </a:lnTo>
                  <a:lnTo>
                    <a:pt x="492" y="14"/>
                  </a:lnTo>
                  <a:lnTo>
                    <a:pt x="492" y="14"/>
                  </a:lnTo>
                  <a:lnTo>
                    <a:pt x="486" y="10"/>
                  </a:lnTo>
                  <a:lnTo>
                    <a:pt x="480" y="10"/>
                  </a:lnTo>
                  <a:lnTo>
                    <a:pt x="462" y="10"/>
                  </a:lnTo>
                  <a:lnTo>
                    <a:pt x="444" y="12"/>
                  </a:lnTo>
                  <a:lnTo>
                    <a:pt x="434" y="12"/>
                  </a:lnTo>
                  <a:lnTo>
                    <a:pt x="424" y="12"/>
                  </a:lnTo>
                  <a:lnTo>
                    <a:pt x="424" y="12"/>
                  </a:lnTo>
                  <a:lnTo>
                    <a:pt x="416" y="12"/>
                  </a:lnTo>
                  <a:lnTo>
                    <a:pt x="412" y="14"/>
                  </a:lnTo>
                  <a:lnTo>
                    <a:pt x="404" y="20"/>
                  </a:lnTo>
                  <a:lnTo>
                    <a:pt x="402" y="22"/>
                  </a:lnTo>
                  <a:lnTo>
                    <a:pt x="396" y="24"/>
                  </a:lnTo>
                  <a:lnTo>
                    <a:pt x="390" y="24"/>
                  </a:lnTo>
                  <a:lnTo>
                    <a:pt x="382" y="20"/>
                  </a:lnTo>
                  <a:lnTo>
                    <a:pt x="382" y="20"/>
                  </a:lnTo>
                  <a:lnTo>
                    <a:pt x="372" y="16"/>
                  </a:lnTo>
                  <a:lnTo>
                    <a:pt x="362" y="14"/>
                  </a:lnTo>
                  <a:lnTo>
                    <a:pt x="344" y="14"/>
                  </a:lnTo>
                  <a:lnTo>
                    <a:pt x="332" y="16"/>
                  </a:lnTo>
                  <a:lnTo>
                    <a:pt x="332" y="16"/>
                  </a:lnTo>
                  <a:lnTo>
                    <a:pt x="332" y="18"/>
                  </a:lnTo>
                  <a:lnTo>
                    <a:pt x="332" y="18"/>
                  </a:lnTo>
                  <a:lnTo>
                    <a:pt x="334" y="20"/>
                  </a:lnTo>
                  <a:lnTo>
                    <a:pt x="336" y="22"/>
                  </a:lnTo>
                  <a:lnTo>
                    <a:pt x="334" y="24"/>
                  </a:lnTo>
                  <a:lnTo>
                    <a:pt x="326" y="26"/>
                  </a:lnTo>
                  <a:lnTo>
                    <a:pt x="318" y="26"/>
                  </a:lnTo>
                  <a:lnTo>
                    <a:pt x="318" y="26"/>
                  </a:lnTo>
                  <a:lnTo>
                    <a:pt x="310" y="24"/>
                  </a:lnTo>
                  <a:lnTo>
                    <a:pt x="302" y="26"/>
                  </a:lnTo>
                  <a:lnTo>
                    <a:pt x="300" y="28"/>
                  </a:lnTo>
                  <a:lnTo>
                    <a:pt x="300" y="30"/>
                  </a:lnTo>
                  <a:lnTo>
                    <a:pt x="300" y="34"/>
                  </a:lnTo>
                  <a:lnTo>
                    <a:pt x="302" y="38"/>
                  </a:lnTo>
                  <a:lnTo>
                    <a:pt x="302" y="38"/>
                  </a:lnTo>
                  <a:lnTo>
                    <a:pt x="302" y="40"/>
                  </a:lnTo>
                  <a:lnTo>
                    <a:pt x="300" y="42"/>
                  </a:lnTo>
                  <a:lnTo>
                    <a:pt x="296" y="44"/>
                  </a:lnTo>
                  <a:lnTo>
                    <a:pt x="282" y="42"/>
                  </a:lnTo>
                  <a:lnTo>
                    <a:pt x="264" y="42"/>
                  </a:lnTo>
                  <a:lnTo>
                    <a:pt x="258" y="44"/>
                  </a:lnTo>
                  <a:lnTo>
                    <a:pt x="256" y="46"/>
                  </a:lnTo>
                  <a:lnTo>
                    <a:pt x="256" y="48"/>
                  </a:lnTo>
                  <a:lnTo>
                    <a:pt x="256" y="48"/>
                  </a:lnTo>
                  <a:lnTo>
                    <a:pt x="256" y="52"/>
                  </a:lnTo>
                  <a:lnTo>
                    <a:pt x="254" y="56"/>
                  </a:lnTo>
                  <a:lnTo>
                    <a:pt x="250" y="60"/>
                  </a:lnTo>
                  <a:lnTo>
                    <a:pt x="246" y="62"/>
                  </a:lnTo>
                  <a:lnTo>
                    <a:pt x="240" y="62"/>
                  </a:lnTo>
                  <a:lnTo>
                    <a:pt x="234" y="62"/>
                  </a:lnTo>
                  <a:lnTo>
                    <a:pt x="230" y="60"/>
                  </a:lnTo>
                  <a:lnTo>
                    <a:pt x="224" y="56"/>
                  </a:lnTo>
                  <a:lnTo>
                    <a:pt x="224" y="56"/>
                  </a:lnTo>
                  <a:lnTo>
                    <a:pt x="218" y="52"/>
                  </a:lnTo>
                  <a:lnTo>
                    <a:pt x="208" y="50"/>
                  </a:lnTo>
                  <a:lnTo>
                    <a:pt x="190" y="46"/>
                  </a:lnTo>
                  <a:lnTo>
                    <a:pt x="182" y="46"/>
                  </a:lnTo>
                  <a:lnTo>
                    <a:pt x="176" y="46"/>
                  </a:lnTo>
                  <a:lnTo>
                    <a:pt x="174" y="48"/>
                  </a:lnTo>
                  <a:lnTo>
                    <a:pt x="176" y="52"/>
                  </a:lnTo>
                  <a:lnTo>
                    <a:pt x="176" y="52"/>
                  </a:lnTo>
                  <a:lnTo>
                    <a:pt x="178" y="56"/>
                  </a:lnTo>
                  <a:lnTo>
                    <a:pt x="176" y="58"/>
                  </a:lnTo>
                  <a:lnTo>
                    <a:pt x="162" y="60"/>
                  </a:lnTo>
                  <a:lnTo>
                    <a:pt x="150" y="62"/>
                  </a:lnTo>
                  <a:lnTo>
                    <a:pt x="148" y="64"/>
                  </a:lnTo>
                  <a:lnTo>
                    <a:pt x="150" y="68"/>
                  </a:lnTo>
                  <a:lnTo>
                    <a:pt x="150" y="68"/>
                  </a:lnTo>
                  <a:lnTo>
                    <a:pt x="154" y="72"/>
                  </a:lnTo>
                  <a:lnTo>
                    <a:pt x="154" y="74"/>
                  </a:lnTo>
                  <a:lnTo>
                    <a:pt x="150" y="78"/>
                  </a:lnTo>
                  <a:lnTo>
                    <a:pt x="146" y="80"/>
                  </a:lnTo>
                  <a:lnTo>
                    <a:pt x="136" y="82"/>
                  </a:lnTo>
                  <a:lnTo>
                    <a:pt x="134" y="82"/>
                  </a:lnTo>
                  <a:lnTo>
                    <a:pt x="132" y="80"/>
                  </a:lnTo>
                  <a:lnTo>
                    <a:pt x="132" y="80"/>
                  </a:lnTo>
                  <a:lnTo>
                    <a:pt x="130" y="78"/>
                  </a:lnTo>
                  <a:lnTo>
                    <a:pt x="126" y="76"/>
                  </a:lnTo>
                  <a:lnTo>
                    <a:pt x="116" y="72"/>
                  </a:lnTo>
                  <a:lnTo>
                    <a:pt x="102" y="70"/>
                  </a:lnTo>
                  <a:lnTo>
                    <a:pt x="94" y="72"/>
                  </a:lnTo>
                  <a:lnTo>
                    <a:pt x="90" y="74"/>
                  </a:lnTo>
                  <a:lnTo>
                    <a:pt x="90" y="74"/>
                  </a:lnTo>
                  <a:lnTo>
                    <a:pt x="82" y="82"/>
                  </a:lnTo>
                  <a:lnTo>
                    <a:pt x="76" y="90"/>
                  </a:lnTo>
                  <a:lnTo>
                    <a:pt x="72" y="94"/>
                  </a:lnTo>
                  <a:lnTo>
                    <a:pt x="70" y="94"/>
                  </a:lnTo>
                  <a:lnTo>
                    <a:pt x="68" y="92"/>
                  </a:lnTo>
                  <a:lnTo>
                    <a:pt x="68" y="92"/>
                  </a:lnTo>
                  <a:lnTo>
                    <a:pt x="64" y="90"/>
                  </a:lnTo>
                  <a:lnTo>
                    <a:pt x="60" y="88"/>
                  </a:lnTo>
                  <a:lnTo>
                    <a:pt x="46" y="88"/>
                  </a:lnTo>
                  <a:lnTo>
                    <a:pt x="28" y="90"/>
                  </a:lnTo>
                  <a:lnTo>
                    <a:pt x="10" y="96"/>
                  </a:lnTo>
                  <a:lnTo>
                    <a:pt x="10" y="96"/>
                  </a:lnTo>
                  <a:lnTo>
                    <a:pt x="2" y="100"/>
                  </a:lnTo>
                  <a:lnTo>
                    <a:pt x="0" y="102"/>
                  </a:lnTo>
                  <a:lnTo>
                    <a:pt x="0" y="106"/>
                  </a:lnTo>
                  <a:lnTo>
                    <a:pt x="4" y="108"/>
                  </a:lnTo>
                  <a:lnTo>
                    <a:pt x="10" y="108"/>
                  </a:lnTo>
                  <a:lnTo>
                    <a:pt x="16" y="108"/>
                  </a:lnTo>
                  <a:lnTo>
                    <a:pt x="24" y="106"/>
                  </a:lnTo>
                  <a:lnTo>
                    <a:pt x="30" y="102"/>
                  </a:lnTo>
                  <a:lnTo>
                    <a:pt x="30" y="10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2" name="Freeform 49"/>
            <p:cNvSpPr>
              <a:spLocks/>
            </p:cNvSpPr>
            <p:nvPr/>
          </p:nvSpPr>
          <p:spPr bwMode="auto">
            <a:xfrm>
              <a:off x="9359900" y="1428750"/>
              <a:ext cx="187325" cy="85725"/>
            </a:xfrm>
            <a:custGeom>
              <a:avLst/>
              <a:gdLst>
                <a:gd name="T0" fmla="*/ 64 w 118"/>
                <a:gd name="T1" fmla="*/ 16 h 54"/>
                <a:gd name="T2" fmla="*/ 64 w 118"/>
                <a:gd name="T3" fmla="*/ 16 h 54"/>
                <a:gd name="T4" fmla="*/ 66 w 118"/>
                <a:gd name="T5" fmla="*/ 20 h 54"/>
                <a:gd name="T6" fmla="*/ 64 w 118"/>
                <a:gd name="T7" fmla="*/ 22 h 54"/>
                <a:gd name="T8" fmla="*/ 52 w 118"/>
                <a:gd name="T9" fmla="*/ 24 h 54"/>
                <a:gd name="T10" fmla="*/ 36 w 118"/>
                <a:gd name="T11" fmla="*/ 26 h 54"/>
                <a:gd name="T12" fmla="*/ 30 w 118"/>
                <a:gd name="T13" fmla="*/ 28 h 54"/>
                <a:gd name="T14" fmla="*/ 26 w 118"/>
                <a:gd name="T15" fmla="*/ 30 h 54"/>
                <a:gd name="T16" fmla="*/ 26 w 118"/>
                <a:gd name="T17" fmla="*/ 30 h 54"/>
                <a:gd name="T18" fmla="*/ 24 w 118"/>
                <a:gd name="T19" fmla="*/ 34 h 54"/>
                <a:gd name="T20" fmla="*/ 20 w 118"/>
                <a:gd name="T21" fmla="*/ 36 h 54"/>
                <a:gd name="T22" fmla="*/ 10 w 118"/>
                <a:gd name="T23" fmla="*/ 38 h 54"/>
                <a:gd name="T24" fmla="*/ 2 w 118"/>
                <a:gd name="T25" fmla="*/ 40 h 54"/>
                <a:gd name="T26" fmla="*/ 0 w 118"/>
                <a:gd name="T27" fmla="*/ 42 h 54"/>
                <a:gd name="T28" fmla="*/ 2 w 118"/>
                <a:gd name="T29" fmla="*/ 46 h 54"/>
                <a:gd name="T30" fmla="*/ 2 w 118"/>
                <a:gd name="T31" fmla="*/ 46 h 54"/>
                <a:gd name="T32" fmla="*/ 4 w 118"/>
                <a:gd name="T33" fmla="*/ 48 h 54"/>
                <a:gd name="T34" fmla="*/ 10 w 118"/>
                <a:gd name="T35" fmla="*/ 50 h 54"/>
                <a:gd name="T36" fmla="*/ 26 w 118"/>
                <a:gd name="T37" fmla="*/ 54 h 54"/>
                <a:gd name="T38" fmla="*/ 40 w 118"/>
                <a:gd name="T39" fmla="*/ 52 h 54"/>
                <a:gd name="T40" fmla="*/ 44 w 118"/>
                <a:gd name="T41" fmla="*/ 50 h 54"/>
                <a:gd name="T42" fmla="*/ 46 w 118"/>
                <a:gd name="T43" fmla="*/ 48 h 54"/>
                <a:gd name="T44" fmla="*/ 46 w 118"/>
                <a:gd name="T45" fmla="*/ 48 h 54"/>
                <a:gd name="T46" fmla="*/ 48 w 118"/>
                <a:gd name="T47" fmla="*/ 46 h 54"/>
                <a:gd name="T48" fmla="*/ 50 w 118"/>
                <a:gd name="T49" fmla="*/ 44 h 54"/>
                <a:gd name="T50" fmla="*/ 56 w 118"/>
                <a:gd name="T51" fmla="*/ 44 h 54"/>
                <a:gd name="T52" fmla="*/ 64 w 118"/>
                <a:gd name="T53" fmla="*/ 42 h 54"/>
                <a:gd name="T54" fmla="*/ 66 w 118"/>
                <a:gd name="T55" fmla="*/ 42 h 54"/>
                <a:gd name="T56" fmla="*/ 68 w 118"/>
                <a:gd name="T57" fmla="*/ 40 h 54"/>
                <a:gd name="T58" fmla="*/ 68 w 118"/>
                <a:gd name="T59" fmla="*/ 40 h 54"/>
                <a:gd name="T60" fmla="*/ 70 w 118"/>
                <a:gd name="T61" fmla="*/ 34 h 54"/>
                <a:gd name="T62" fmla="*/ 76 w 118"/>
                <a:gd name="T63" fmla="*/ 28 h 54"/>
                <a:gd name="T64" fmla="*/ 86 w 118"/>
                <a:gd name="T65" fmla="*/ 24 h 54"/>
                <a:gd name="T66" fmla="*/ 100 w 118"/>
                <a:gd name="T67" fmla="*/ 22 h 54"/>
                <a:gd name="T68" fmla="*/ 100 w 118"/>
                <a:gd name="T69" fmla="*/ 22 h 54"/>
                <a:gd name="T70" fmla="*/ 112 w 118"/>
                <a:gd name="T71" fmla="*/ 20 h 54"/>
                <a:gd name="T72" fmla="*/ 116 w 118"/>
                <a:gd name="T73" fmla="*/ 18 h 54"/>
                <a:gd name="T74" fmla="*/ 118 w 118"/>
                <a:gd name="T75" fmla="*/ 16 h 54"/>
                <a:gd name="T76" fmla="*/ 116 w 118"/>
                <a:gd name="T77" fmla="*/ 14 h 54"/>
                <a:gd name="T78" fmla="*/ 114 w 118"/>
                <a:gd name="T79" fmla="*/ 10 h 54"/>
                <a:gd name="T80" fmla="*/ 102 w 118"/>
                <a:gd name="T81" fmla="*/ 4 h 54"/>
                <a:gd name="T82" fmla="*/ 102 w 118"/>
                <a:gd name="T83" fmla="*/ 4 h 54"/>
                <a:gd name="T84" fmla="*/ 94 w 118"/>
                <a:gd name="T85" fmla="*/ 0 h 54"/>
                <a:gd name="T86" fmla="*/ 86 w 118"/>
                <a:gd name="T87" fmla="*/ 0 h 54"/>
                <a:gd name="T88" fmla="*/ 78 w 118"/>
                <a:gd name="T89" fmla="*/ 2 h 54"/>
                <a:gd name="T90" fmla="*/ 70 w 118"/>
                <a:gd name="T91" fmla="*/ 4 h 54"/>
                <a:gd name="T92" fmla="*/ 66 w 118"/>
                <a:gd name="T93" fmla="*/ 6 h 54"/>
                <a:gd name="T94" fmla="*/ 62 w 118"/>
                <a:gd name="T95" fmla="*/ 10 h 54"/>
                <a:gd name="T96" fmla="*/ 62 w 118"/>
                <a:gd name="T97" fmla="*/ 14 h 54"/>
                <a:gd name="T98" fmla="*/ 64 w 118"/>
                <a:gd name="T99" fmla="*/ 16 h 54"/>
                <a:gd name="T100" fmla="*/ 64 w 118"/>
                <a:gd name="T10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8" h="54">
                  <a:moveTo>
                    <a:pt x="64" y="16"/>
                  </a:moveTo>
                  <a:lnTo>
                    <a:pt x="64" y="16"/>
                  </a:lnTo>
                  <a:lnTo>
                    <a:pt x="66" y="20"/>
                  </a:lnTo>
                  <a:lnTo>
                    <a:pt x="64" y="22"/>
                  </a:lnTo>
                  <a:lnTo>
                    <a:pt x="52" y="24"/>
                  </a:lnTo>
                  <a:lnTo>
                    <a:pt x="36" y="26"/>
                  </a:lnTo>
                  <a:lnTo>
                    <a:pt x="30" y="28"/>
                  </a:lnTo>
                  <a:lnTo>
                    <a:pt x="26" y="30"/>
                  </a:lnTo>
                  <a:lnTo>
                    <a:pt x="26" y="30"/>
                  </a:lnTo>
                  <a:lnTo>
                    <a:pt x="24" y="34"/>
                  </a:lnTo>
                  <a:lnTo>
                    <a:pt x="20" y="36"/>
                  </a:lnTo>
                  <a:lnTo>
                    <a:pt x="10" y="38"/>
                  </a:lnTo>
                  <a:lnTo>
                    <a:pt x="2" y="40"/>
                  </a:lnTo>
                  <a:lnTo>
                    <a:pt x="0" y="42"/>
                  </a:lnTo>
                  <a:lnTo>
                    <a:pt x="2" y="46"/>
                  </a:lnTo>
                  <a:lnTo>
                    <a:pt x="2" y="46"/>
                  </a:lnTo>
                  <a:lnTo>
                    <a:pt x="4" y="48"/>
                  </a:lnTo>
                  <a:lnTo>
                    <a:pt x="10" y="50"/>
                  </a:lnTo>
                  <a:lnTo>
                    <a:pt x="26" y="54"/>
                  </a:lnTo>
                  <a:lnTo>
                    <a:pt x="40" y="52"/>
                  </a:lnTo>
                  <a:lnTo>
                    <a:pt x="44" y="50"/>
                  </a:lnTo>
                  <a:lnTo>
                    <a:pt x="46" y="48"/>
                  </a:lnTo>
                  <a:lnTo>
                    <a:pt x="46" y="48"/>
                  </a:lnTo>
                  <a:lnTo>
                    <a:pt x="48" y="46"/>
                  </a:lnTo>
                  <a:lnTo>
                    <a:pt x="50" y="44"/>
                  </a:lnTo>
                  <a:lnTo>
                    <a:pt x="56" y="44"/>
                  </a:lnTo>
                  <a:lnTo>
                    <a:pt x="64" y="42"/>
                  </a:lnTo>
                  <a:lnTo>
                    <a:pt x="66" y="42"/>
                  </a:lnTo>
                  <a:lnTo>
                    <a:pt x="68" y="40"/>
                  </a:lnTo>
                  <a:lnTo>
                    <a:pt x="68" y="40"/>
                  </a:lnTo>
                  <a:lnTo>
                    <a:pt x="70" y="34"/>
                  </a:lnTo>
                  <a:lnTo>
                    <a:pt x="76" y="28"/>
                  </a:lnTo>
                  <a:lnTo>
                    <a:pt x="86" y="24"/>
                  </a:lnTo>
                  <a:lnTo>
                    <a:pt x="100" y="22"/>
                  </a:lnTo>
                  <a:lnTo>
                    <a:pt x="100" y="22"/>
                  </a:lnTo>
                  <a:lnTo>
                    <a:pt x="112" y="20"/>
                  </a:lnTo>
                  <a:lnTo>
                    <a:pt x="116" y="18"/>
                  </a:lnTo>
                  <a:lnTo>
                    <a:pt x="118" y="16"/>
                  </a:lnTo>
                  <a:lnTo>
                    <a:pt x="116" y="14"/>
                  </a:lnTo>
                  <a:lnTo>
                    <a:pt x="114" y="10"/>
                  </a:lnTo>
                  <a:lnTo>
                    <a:pt x="102" y="4"/>
                  </a:lnTo>
                  <a:lnTo>
                    <a:pt x="102" y="4"/>
                  </a:lnTo>
                  <a:lnTo>
                    <a:pt x="94" y="0"/>
                  </a:lnTo>
                  <a:lnTo>
                    <a:pt x="86" y="0"/>
                  </a:lnTo>
                  <a:lnTo>
                    <a:pt x="78" y="2"/>
                  </a:lnTo>
                  <a:lnTo>
                    <a:pt x="70" y="4"/>
                  </a:lnTo>
                  <a:lnTo>
                    <a:pt x="66" y="6"/>
                  </a:lnTo>
                  <a:lnTo>
                    <a:pt x="62" y="10"/>
                  </a:lnTo>
                  <a:lnTo>
                    <a:pt x="62" y="14"/>
                  </a:lnTo>
                  <a:lnTo>
                    <a:pt x="64" y="16"/>
                  </a:lnTo>
                  <a:lnTo>
                    <a:pt x="64" y="1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3" name="Freeform 50"/>
            <p:cNvSpPr>
              <a:spLocks/>
            </p:cNvSpPr>
            <p:nvPr/>
          </p:nvSpPr>
          <p:spPr bwMode="auto">
            <a:xfrm>
              <a:off x="3101975" y="1809750"/>
              <a:ext cx="742950" cy="225425"/>
            </a:xfrm>
            <a:custGeom>
              <a:avLst/>
              <a:gdLst>
                <a:gd name="T0" fmla="*/ 124 w 468"/>
                <a:gd name="T1" fmla="*/ 110 h 142"/>
                <a:gd name="T2" fmla="*/ 132 w 468"/>
                <a:gd name="T3" fmla="*/ 122 h 142"/>
                <a:gd name="T4" fmla="*/ 138 w 468"/>
                <a:gd name="T5" fmla="*/ 124 h 142"/>
                <a:gd name="T6" fmla="*/ 152 w 468"/>
                <a:gd name="T7" fmla="*/ 124 h 142"/>
                <a:gd name="T8" fmla="*/ 156 w 468"/>
                <a:gd name="T9" fmla="*/ 128 h 142"/>
                <a:gd name="T10" fmla="*/ 180 w 468"/>
                <a:gd name="T11" fmla="*/ 138 h 142"/>
                <a:gd name="T12" fmla="*/ 196 w 468"/>
                <a:gd name="T13" fmla="*/ 136 h 142"/>
                <a:gd name="T14" fmla="*/ 200 w 468"/>
                <a:gd name="T15" fmla="*/ 134 h 142"/>
                <a:gd name="T16" fmla="*/ 216 w 468"/>
                <a:gd name="T17" fmla="*/ 122 h 142"/>
                <a:gd name="T18" fmla="*/ 220 w 468"/>
                <a:gd name="T19" fmla="*/ 124 h 142"/>
                <a:gd name="T20" fmla="*/ 228 w 468"/>
                <a:gd name="T21" fmla="*/ 132 h 142"/>
                <a:gd name="T22" fmla="*/ 246 w 468"/>
                <a:gd name="T23" fmla="*/ 138 h 142"/>
                <a:gd name="T24" fmla="*/ 310 w 468"/>
                <a:gd name="T25" fmla="*/ 142 h 142"/>
                <a:gd name="T26" fmla="*/ 330 w 468"/>
                <a:gd name="T27" fmla="*/ 140 h 142"/>
                <a:gd name="T28" fmla="*/ 350 w 468"/>
                <a:gd name="T29" fmla="*/ 136 h 142"/>
                <a:gd name="T30" fmla="*/ 362 w 468"/>
                <a:gd name="T31" fmla="*/ 126 h 142"/>
                <a:gd name="T32" fmla="*/ 372 w 468"/>
                <a:gd name="T33" fmla="*/ 128 h 142"/>
                <a:gd name="T34" fmla="*/ 378 w 468"/>
                <a:gd name="T35" fmla="*/ 130 h 142"/>
                <a:gd name="T36" fmla="*/ 408 w 468"/>
                <a:gd name="T37" fmla="*/ 136 h 142"/>
                <a:gd name="T38" fmla="*/ 444 w 468"/>
                <a:gd name="T39" fmla="*/ 134 h 142"/>
                <a:gd name="T40" fmla="*/ 450 w 468"/>
                <a:gd name="T41" fmla="*/ 130 h 142"/>
                <a:gd name="T42" fmla="*/ 460 w 468"/>
                <a:gd name="T43" fmla="*/ 122 h 142"/>
                <a:gd name="T44" fmla="*/ 466 w 468"/>
                <a:gd name="T45" fmla="*/ 102 h 142"/>
                <a:gd name="T46" fmla="*/ 468 w 468"/>
                <a:gd name="T47" fmla="*/ 90 h 142"/>
                <a:gd name="T48" fmla="*/ 462 w 468"/>
                <a:gd name="T49" fmla="*/ 84 h 142"/>
                <a:gd name="T50" fmla="*/ 424 w 468"/>
                <a:gd name="T51" fmla="*/ 76 h 142"/>
                <a:gd name="T52" fmla="*/ 372 w 468"/>
                <a:gd name="T53" fmla="*/ 72 h 142"/>
                <a:gd name="T54" fmla="*/ 328 w 468"/>
                <a:gd name="T55" fmla="*/ 74 h 142"/>
                <a:gd name="T56" fmla="*/ 314 w 468"/>
                <a:gd name="T57" fmla="*/ 78 h 142"/>
                <a:gd name="T58" fmla="*/ 296 w 468"/>
                <a:gd name="T59" fmla="*/ 84 h 142"/>
                <a:gd name="T60" fmla="*/ 254 w 468"/>
                <a:gd name="T61" fmla="*/ 80 h 142"/>
                <a:gd name="T62" fmla="*/ 236 w 468"/>
                <a:gd name="T63" fmla="*/ 82 h 142"/>
                <a:gd name="T64" fmla="*/ 232 w 468"/>
                <a:gd name="T65" fmla="*/ 84 h 142"/>
                <a:gd name="T66" fmla="*/ 224 w 468"/>
                <a:gd name="T67" fmla="*/ 82 h 142"/>
                <a:gd name="T68" fmla="*/ 216 w 468"/>
                <a:gd name="T69" fmla="*/ 76 h 142"/>
                <a:gd name="T70" fmla="*/ 202 w 468"/>
                <a:gd name="T71" fmla="*/ 70 h 142"/>
                <a:gd name="T72" fmla="*/ 192 w 468"/>
                <a:gd name="T73" fmla="*/ 70 h 142"/>
                <a:gd name="T74" fmla="*/ 178 w 468"/>
                <a:gd name="T75" fmla="*/ 66 h 142"/>
                <a:gd name="T76" fmla="*/ 182 w 468"/>
                <a:gd name="T77" fmla="*/ 58 h 142"/>
                <a:gd name="T78" fmla="*/ 200 w 468"/>
                <a:gd name="T79" fmla="*/ 44 h 142"/>
                <a:gd name="T80" fmla="*/ 202 w 468"/>
                <a:gd name="T81" fmla="*/ 42 h 142"/>
                <a:gd name="T82" fmla="*/ 196 w 468"/>
                <a:gd name="T83" fmla="*/ 36 h 142"/>
                <a:gd name="T84" fmla="*/ 150 w 468"/>
                <a:gd name="T85" fmla="*/ 22 h 142"/>
                <a:gd name="T86" fmla="*/ 128 w 468"/>
                <a:gd name="T87" fmla="*/ 22 h 142"/>
                <a:gd name="T88" fmla="*/ 120 w 468"/>
                <a:gd name="T89" fmla="*/ 22 h 142"/>
                <a:gd name="T90" fmla="*/ 98 w 468"/>
                <a:gd name="T91" fmla="*/ 18 h 142"/>
                <a:gd name="T92" fmla="*/ 70 w 468"/>
                <a:gd name="T93" fmla="*/ 6 h 142"/>
                <a:gd name="T94" fmla="*/ 48 w 468"/>
                <a:gd name="T95" fmla="*/ 0 h 142"/>
                <a:gd name="T96" fmla="*/ 24 w 468"/>
                <a:gd name="T97" fmla="*/ 0 h 142"/>
                <a:gd name="T98" fmla="*/ 4 w 468"/>
                <a:gd name="T99" fmla="*/ 4 h 142"/>
                <a:gd name="T100" fmla="*/ 0 w 468"/>
                <a:gd name="T101" fmla="*/ 12 h 142"/>
                <a:gd name="T102" fmla="*/ 2 w 468"/>
                <a:gd name="T103" fmla="*/ 14 h 142"/>
                <a:gd name="T104" fmla="*/ 18 w 468"/>
                <a:gd name="T105" fmla="*/ 26 h 142"/>
                <a:gd name="T106" fmla="*/ 58 w 468"/>
                <a:gd name="T107" fmla="*/ 40 h 142"/>
                <a:gd name="T108" fmla="*/ 82 w 468"/>
                <a:gd name="T109" fmla="*/ 42 h 142"/>
                <a:gd name="T110" fmla="*/ 88 w 468"/>
                <a:gd name="T111" fmla="*/ 40 h 142"/>
                <a:gd name="T112" fmla="*/ 90 w 468"/>
                <a:gd name="T113" fmla="*/ 38 h 142"/>
                <a:gd name="T114" fmla="*/ 98 w 468"/>
                <a:gd name="T115" fmla="*/ 40 h 142"/>
                <a:gd name="T116" fmla="*/ 114 w 468"/>
                <a:gd name="T117" fmla="*/ 56 h 142"/>
                <a:gd name="T118" fmla="*/ 124 w 468"/>
                <a:gd name="T119" fmla="*/ 68 h 142"/>
                <a:gd name="T120" fmla="*/ 126 w 468"/>
                <a:gd name="T121" fmla="*/ 76 h 142"/>
                <a:gd name="T122" fmla="*/ 122 w 468"/>
                <a:gd name="T123" fmla="*/ 96 h 142"/>
                <a:gd name="T124" fmla="*/ 124 w 468"/>
                <a:gd name="T125" fmla="*/ 11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142">
                  <a:moveTo>
                    <a:pt x="124" y="110"/>
                  </a:moveTo>
                  <a:lnTo>
                    <a:pt x="124" y="110"/>
                  </a:lnTo>
                  <a:lnTo>
                    <a:pt x="128" y="118"/>
                  </a:lnTo>
                  <a:lnTo>
                    <a:pt x="132" y="122"/>
                  </a:lnTo>
                  <a:lnTo>
                    <a:pt x="134" y="124"/>
                  </a:lnTo>
                  <a:lnTo>
                    <a:pt x="138" y="124"/>
                  </a:lnTo>
                  <a:lnTo>
                    <a:pt x="146" y="124"/>
                  </a:lnTo>
                  <a:lnTo>
                    <a:pt x="152" y="124"/>
                  </a:lnTo>
                  <a:lnTo>
                    <a:pt x="156" y="128"/>
                  </a:lnTo>
                  <a:lnTo>
                    <a:pt x="156" y="128"/>
                  </a:lnTo>
                  <a:lnTo>
                    <a:pt x="168" y="134"/>
                  </a:lnTo>
                  <a:lnTo>
                    <a:pt x="180" y="138"/>
                  </a:lnTo>
                  <a:lnTo>
                    <a:pt x="190" y="138"/>
                  </a:lnTo>
                  <a:lnTo>
                    <a:pt x="196" y="136"/>
                  </a:lnTo>
                  <a:lnTo>
                    <a:pt x="200" y="134"/>
                  </a:lnTo>
                  <a:lnTo>
                    <a:pt x="200" y="134"/>
                  </a:lnTo>
                  <a:lnTo>
                    <a:pt x="214" y="122"/>
                  </a:lnTo>
                  <a:lnTo>
                    <a:pt x="216" y="122"/>
                  </a:lnTo>
                  <a:lnTo>
                    <a:pt x="220" y="124"/>
                  </a:lnTo>
                  <a:lnTo>
                    <a:pt x="220" y="124"/>
                  </a:lnTo>
                  <a:lnTo>
                    <a:pt x="224" y="130"/>
                  </a:lnTo>
                  <a:lnTo>
                    <a:pt x="228" y="132"/>
                  </a:lnTo>
                  <a:lnTo>
                    <a:pt x="236" y="136"/>
                  </a:lnTo>
                  <a:lnTo>
                    <a:pt x="246" y="138"/>
                  </a:lnTo>
                  <a:lnTo>
                    <a:pt x="272" y="140"/>
                  </a:lnTo>
                  <a:lnTo>
                    <a:pt x="310" y="142"/>
                  </a:lnTo>
                  <a:lnTo>
                    <a:pt x="310" y="142"/>
                  </a:lnTo>
                  <a:lnTo>
                    <a:pt x="330" y="140"/>
                  </a:lnTo>
                  <a:lnTo>
                    <a:pt x="342" y="138"/>
                  </a:lnTo>
                  <a:lnTo>
                    <a:pt x="350" y="136"/>
                  </a:lnTo>
                  <a:lnTo>
                    <a:pt x="356" y="132"/>
                  </a:lnTo>
                  <a:lnTo>
                    <a:pt x="362" y="126"/>
                  </a:lnTo>
                  <a:lnTo>
                    <a:pt x="366" y="126"/>
                  </a:lnTo>
                  <a:lnTo>
                    <a:pt x="372" y="128"/>
                  </a:lnTo>
                  <a:lnTo>
                    <a:pt x="372" y="128"/>
                  </a:lnTo>
                  <a:lnTo>
                    <a:pt x="378" y="130"/>
                  </a:lnTo>
                  <a:lnTo>
                    <a:pt x="388" y="132"/>
                  </a:lnTo>
                  <a:lnTo>
                    <a:pt x="408" y="136"/>
                  </a:lnTo>
                  <a:lnTo>
                    <a:pt x="428" y="136"/>
                  </a:lnTo>
                  <a:lnTo>
                    <a:pt x="444" y="134"/>
                  </a:lnTo>
                  <a:lnTo>
                    <a:pt x="444" y="134"/>
                  </a:lnTo>
                  <a:lnTo>
                    <a:pt x="450" y="130"/>
                  </a:lnTo>
                  <a:lnTo>
                    <a:pt x="454" y="126"/>
                  </a:lnTo>
                  <a:lnTo>
                    <a:pt x="460" y="122"/>
                  </a:lnTo>
                  <a:lnTo>
                    <a:pt x="462" y="116"/>
                  </a:lnTo>
                  <a:lnTo>
                    <a:pt x="466" y="102"/>
                  </a:lnTo>
                  <a:lnTo>
                    <a:pt x="468" y="90"/>
                  </a:lnTo>
                  <a:lnTo>
                    <a:pt x="468" y="90"/>
                  </a:lnTo>
                  <a:lnTo>
                    <a:pt x="466" y="88"/>
                  </a:lnTo>
                  <a:lnTo>
                    <a:pt x="462" y="84"/>
                  </a:lnTo>
                  <a:lnTo>
                    <a:pt x="446" y="80"/>
                  </a:lnTo>
                  <a:lnTo>
                    <a:pt x="424" y="76"/>
                  </a:lnTo>
                  <a:lnTo>
                    <a:pt x="400" y="74"/>
                  </a:lnTo>
                  <a:lnTo>
                    <a:pt x="372" y="72"/>
                  </a:lnTo>
                  <a:lnTo>
                    <a:pt x="348" y="72"/>
                  </a:lnTo>
                  <a:lnTo>
                    <a:pt x="328" y="74"/>
                  </a:lnTo>
                  <a:lnTo>
                    <a:pt x="314" y="78"/>
                  </a:lnTo>
                  <a:lnTo>
                    <a:pt x="314" y="78"/>
                  </a:lnTo>
                  <a:lnTo>
                    <a:pt x="306" y="82"/>
                  </a:lnTo>
                  <a:lnTo>
                    <a:pt x="296" y="84"/>
                  </a:lnTo>
                  <a:lnTo>
                    <a:pt x="274" y="82"/>
                  </a:lnTo>
                  <a:lnTo>
                    <a:pt x="254" y="80"/>
                  </a:lnTo>
                  <a:lnTo>
                    <a:pt x="244" y="80"/>
                  </a:lnTo>
                  <a:lnTo>
                    <a:pt x="236" y="82"/>
                  </a:lnTo>
                  <a:lnTo>
                    <a:pt x="236" y="82"/>
                  </a:lnTo>
                  <a:lnTo>
                    <a:pt x="232" y="84"/>
                  </a:lnTo>
                  <a:lnTo>
                    <a:pt x="226" y="84"/>
                  </a:lnTo>
                  <a:lnTo>
                    <a:pt x="224" y="82"/>
                  </a:lnTo>
                  <a:lnTo>
                    <a:pt x="220" y="80"/>
                  </a:lnTo>
                  <a:lnTo>
                    <a:pt x="216" y="76"/>
                  </a:lnTo>
                  <a:lnTo>
                    <a:pt x="210" y="74"/>
                  </a:lnTo>
                  <a:lnTo>
                    <a:pt x="202" y="70"/>
                  </a:lnTo>
                  <a:lnTo>
                    <a:pt x="192" y="70"/>
                  </a:lnTo>
                  <a:lnTo>
                    <a:pt x="192" y="70"/>
                  </a:lnTo>
                  <a:lnTo>
                    <a:pt x="182" y="68"/>
                  </a:lnTo>
                  <a:lnTo>
                    <a:pt x="178" y="66"/>
                  </a:lnTo>
                  <a:lnTo>
                    <a:pt x="178" y="62"/>
                  </a:lnTo>
                  <a:lnTo>
                    <a:pt x="182" y="58"/>
                  </a:lnTo>
                  <a:lnTo>
                    <a:pt x="192" y="50"/>
                  </a:lnTo>
                  <a:lnTo>
                    <a:pt x="200" y="44"/>
                  </a:lnTo>
                  <a:lnTo>
                    <a:pt x="200" y="44"/>
                  </a:lnTo>
                  <a:lnTo>
                    <a:pt x="202" y="42"/>
                  </a:lnTo>
                  <a:lnTo>
                    <a:pt x="200" y="40"/>
                  </a:lnTo>
                  <a:lnTo>
                    <a:pt x="196" y="36"/>
                  </a:lnTo>
                  <a:lnTo>
                    <a:pt x="176" y="28"/>
                  </a:lnTo>
                  <a:lnTo>
                    <a:pt x="150" y="22"/>
                  </a:lnTo>
                  <a:lnTo>
                    <a:pt x="138" y="22"/>
                  </a:lnTo>
                  <a:lnTo>
                    <a:pt x="128" y="22"/>
                  </a:lnTo>
                  <a:lnTo>
                    <a:pt x="128" y="22"/>
                  </a:lnTo>
                  <a:lnTo>
                    <a:pt x="120" y="22"/>
                  </a:lnTo>
                  <a:lnTo>
                    <a:pt x="112" y="22"/>
                  </a:lnTo>
                  <a:lnTo>
                    <a:pt x="98" y="18"/>
                  </a:lnTo>
                  <a:lnTo>
                    <a:pt x="70" y="6"/>
                  </a:lnTo>
                  <a:lnTo>
                    <a:pt x="70" y="6"/>
                  </a:lnTo>
                  <a:lnTo>
                    <a:pt x="60" y="2"/>
                  </a:lnTo>
                  <a:lnTo>
                    <a:pt x="48" y="0"/>
                  </a:lnTo>
                  <a:lnTo>
                    <a:pt x="36" y="0"/>
                  </a:lnTo>
                  <a:lnTo>
                    <a:pt x="24" y="0"/>
                  </a:lnTo>
                  <a:lnTo>
                    <a:pt x="12" y="2"/>
                  </a:lnTo>
                  <a:lnTo>
                    <a:pt x="4" y="4"/>
                  </a:lnTo>
                  <a:lnTo>
                    <a:pt x="0" y="8"/>
                  </a:lnTo>
                  <a:lnTo>
                    <a:pt x="0" y="12"/>
                  </a:lnTo>
                  <a:lnTo>
                    <a:pt x="2" y="14"/>
                  </a:lnTo>
                  <a:lnTo>
                    <a:pt x="2" y="14"/>
                  </a:lnTo>
                  <a:lnTo>
                    <a:pt x="8" y="20"/>
                  </a:lnTo>
                  <a:lnTo>
                    <a:pt x="18" y="26"/>
                  </a:lnTo>
                  <a:lnTo>
                    <a:pt x="44" y="36"/>
                  </a:lnTo>
                  <a:lnTo>
                    <a:pt x="58" y="40"/>
                  </a:lnTo>
                  <a:lnTo>
                    <a:pt x="72" y="42"/>
                  </a:lnTo>
                  <a:lnTo>
                    <a:pt x="82" y="42"/>
                  </a:lnTo>
                  <a:lnTo>
                    <a:pt x="84" y="42"/>
                  </a:lnTo>
                  <a:lnTo>
                    <a:pt x="88" y="40"/>
                  </a:lnTo>
                  <a:lnTo>
                    <a:pt x="88" y="40"/>
                  </a:lnTo>
                  <a:lnTo>
                    <a:pt x="90" y="38"/>
                  </a:lnTo>
                  <a:lnTo>
                    <a:pt x="94" y="38"/>
                  </a:lnTo>
                  <a:lnTo>
                    <a:pt x="98" y="40"/>
                  </a:lnTo>
                  <a:lnTo>
                    <a:pt x="104" y="44"/>
                  </a:lnTo>
                  <a:lnTo>
                    <a:pt x="114" y="56"/>
                  </a:lnTo>
                  <a:lnTo>
                    <a:pt x="124" y="68"/>
                  </a:lnTo>
                  <a:lnTo>
                    <a:pt x="124" y="68"/>
                  </a:lnTo>
                  <a:lnTo>
                    <a:pt x="126" y="72"/>
                  </a:lnTo>
                  <a:lnTo>
                    <a:pt x="126" y="76"/>
                  </a:lnTo>
                  <a:lnTo>
                    <a:pt x="124" y="84"/>
                  </a:lnTo>
                  <a:lnTo>
                    <a:pt x="122" y="96"/>
                  </a:lnTo>
                  <a:lnTo>
                    <a:pt x="122" y="102"/>
                  </a:lnTo>
                  <a:lnTo>
                    <a:pt x="124" y="110"/>
                  </a:lnTo>
                  <a:lnTo>
                    <a:pt x="124" y="11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4" name="Freeform 51"/>
            <p:cNvSpPr>
              <a:spLocks/>
            </p:cNvSpPr>
            <p:nvPr/>
          </p:nvSpPr>
          <p:spPr bwMode="auto">
            <a:xfrm>
              <a:off x="3660775" y="2914650"/>
              <a:ext cx="79375" cy="57150"/>
            </a:xfrm>
            <a:custGeom>
              <a:avLst/>
              <a:gdLst>
                <a:gd name="T0" fmla="*/ 4 w 50"/>
                <a:gd name="T1" fmla="*/ 34 h 36"/>
                <a:gd name="T2" fmla="*/ 4 w 50"/>
                <a:gd name="T3" fmla="*/ 34 h 36"/>
                <a:gd name="T4" fmla="*/ 12 w 50"/>
                <a:gd name="T5" fmla="*/ 36 h 36"/>
                <a:gd name="T6" fmla="*/ 20 w 50"/>
                <a:gd name="T7" fmla="*/ 34 h 36"/>
                <a:gd name="T8" fmla="*/ 28 w 50"/>
                <a:gd name="T9" fmla="*/ 32 h 36"/>
                <a:gd name="T10" fmla="*/ 36 w 50"/>
                <a:gd name="T11" fmla="*/ 26 h 36"/>
                <a:gd name="T12" fmla="*/ 42 w 50"/>
                <a:gd name="T13" fmla="*/ 20 h 36"/>
                <a:gd name="T14" fmla="*/ 48 w 50"/>
                <a:gd name="T15" fmla="*/ 14 h 36"/>
                <a:gd name="T16" fmla="*/ 50 w 50"/>
                <a:gd name="T17" fmla="*/ 8 h 36"/>
                <a:gd name="T18" fmla="*/ 50 w 50"/>
                <a:gd name="T19" fmla="*/ 2 h 36"/>
                <a:gd name="T20" fmla="*/ 50 w 50"/>
                <a:gd name="T21" fmla="*/ 2 h 36"/>
                <a:gd name="T22" fmla="*/ 50 w 50"/>
                <a:gd name="T23" fmla="*/ 2 h 36"/>
                <a:gd name="T24" fmla="*/ 46 w 50"/>
                <a:gd name="T25" fmla="*/ 0 h 36"/>
                <a:gd name="T26" fmla="*/ 40 w 50"/>
                <a:gd name="T27" fmla="*/ 2 h 36"/>
                <a:gd name="T28" fmla="*/ 28 w 50"/>
                <a:gd name="T29" fmla="*/ 4 h 36"/>
                <a:gd name="T30" fmla="*/ 18 w 50"/>
                <a:gd name="T31" fmla="*/ 8 h 36"/>
                <a:gd name="T32" fmla="*/ 8 w 50"/>
                <a:gd name="T33" fmla="*/ 14 h 36"/>
                <a:gd name="T34" fmla="*/ 2 w 50"/>
                <a:gd name="T35" fmla="*/ 20 h 36"/>
                <a:gd name="T36" fmla="*/ 0 w 50"/>
                <a:gd name="T37" fmla="*/ 24 h 36"/>
                <a:gd name="T38" fmla="*/ 0 w 50"/>
                <a:gd name="T39" fmla="*/ 28 h 36"/>
                <a:gd name="T40" fmla="*/ 2 w 50"/>
                <a:gd name="T41" fmla="*/ 30 h 36"/>
                <a:gd name="T42" fmla="*/ 4 w 50"/>
                <a:gd name="T43" fmla="*/ 34 h 36"/>
                <a:gd name="T44" fmla="*/ 4 w 50"/>
                <a:gd name="T45"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36">
                  <a:moveTo>
                    <a:pt x="4" y="34"/>
                  </a:moveTo>
                  <a:lnTo>
                    <a:pt x="4" y="34"/>
                  </a:lnTo>
                  <a:lnTo>
                    <a:pt x="12" y="36"/>
                  </a:lnTo>
                  <a:lnTo>
                    <a:pt x="20" y="34"/>
                  </a:lnTo>
                  <a:lnTo>
                    <a:pt x="28" y="32"/>
                  </a:lnTo>
                  <a:lnTo>
                    <a:pt x="36" y="26"/>
                  </a:lnTo>
                  <a:lnTo>
                    <a:pt x="42" y="20"/>
                  </a:lnTo>
                  <a:lnTo>
                    <a:pt x="48" y="14"/>
                  </a:lnTo>
                  <a:lnTo>
                    <a:pt x="50" y="8"/>
                  </a:lnTo>
                  <a:lnTo>
                    <a:pt x="50" y="2"/>
                  </a:lnTo>
                  <a:lnTo>
                    <a:pt x="50" y="2"/>
                  </a:lnTo>
                  <a:lnTo>
                    <a:pt x="50" y="2"/>
                  </a:lnTo>
                  <a:lnTo>
                    <a:pt x="46" y="0"/>
                  </a:lnTo>
                  <a:lnTo>
                    <a:pt x="40" y="2"/>
                  </a:lnTo>
                  <a:lnTo>
                    <a:pt x="28" y="4"/>
                  </a:lnTo>
                  <a:lnTo>
                    <a:pt x="18" y="8"/>
                  </a:lnTo>
                  <a:lnTo>
                    <a:pt x="8" y="14"/>
                  </a:lnTo>
                  <a:lnTo>
                    <a:pt x="2" y="20"/>
                  </a:lnTo>
                  <a:lnTo>
                    <a:pt x="0" y="24"/>
                  </a:lnTo>
                  <a:lnTo>
                    <a:pt x="0" y="28"/>
                  </a:lnTo>
                  <a:lnTo>
                    <a:pt x="2" y="30"/>
                  </a:lnTo>
                  <a:lnTo>
                    <a:pt x="4" y="34"/>
                  </a:lnTo>
                  <a:lnTo>
                    <a:pt x="4" y="3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5" name="Freeform 52"/>
            <p:cNvSpPr>
              <a:spLocks/>
            </p:cNvSpPr>
            <p:nvPr/>
          </p:nvSpPr>
          <p:spPr bwMode="auto">
            <a:xfrm>
              <a:off x="6867525" y="3413125"/>
              <a:ext cx="209550" cy="222250"/>
            </a:xfrm>
            <a:custGeom>
              <a:avLst/>
              <a:gdLst>
                <a:gd name="T0" fmla="*/ 28 w 132"/>
                <a:gd name="T1" fmla="*/ 140 h 140"/>
                <a:gd name="T2" fmla="*/ 50 w 132"/>
                <a:gd name="T3" fmla="*/ 136 h 140"/>
                <a:gd name="T4" fmla="*/ 76 w 132"/>
                <a:gd name="T5" fmla="*/ 120 h 140"/>
                <a:gd name="T6" fmla="*/ 80 w 132"/>
                <a:gd name="T7" fmla="*/ 118 h 140"/>
                <a:gd name="T8" fmla="*/ 92 w 132"/>
                <a:gd name="T9" fmla="*/ 114 h 140"/>
                <a:gd name="T10" fmla="*/ 104 w 132"/>
                <a:gd name="T11" fmla="*/ 116 h 140"/>
                <a:gd name="T12" fmla="*/ 108 w 132"/>
                <a:gd name="T13" fmla="*/ 114 h 140"/>
                <a:gd name="T14" fmla="*/ 114 w 132"/>
                <a:gd name="T15" fmla="*/ 102 h 140"/>
                <a:gd name="T16" fmla="*/ 116 w 132"/>
                <a:gd name="T17" fmla="*/ 84 h 140"/>
                <a:gd name="T18" fmla="*/ 108 w 132"/>
                <a:gd name="T19" fmla="*/ 50 h 140"/>
                <a:gd name="T20" fmla="*/ 108 w 132"/>
                <a:gd name="T21" fmla="*/ 48 h 140"/>
                <a:gd name="T22" fmla="*/ 114 w 132"/>
                <a:gd name="T23" fmla="*/ 42 h 140"/>
                <a:gd name="T24" fmla="*/ 130 w 132"/>
                <a:gd name="T25" fmla="*/ 34 h 140"/>
                <a:gd name="T26" fmla="*/ 132 w 132"/>
                <a:gd name="T27" fmla="*/ 30 h 140"/>
                <a:gd name="T28" fmla="*/ 130 w 132"/>
                <a:gd name="T29" fmla="*/ 20 h 140"/>
                <a:gd name="T30" fmla="*/ 114 w 132"/>
                <a:gd name="T31" fmla="*/ 2 h 140"/>
                <a:gd name="T32" fmla="*/ 110 w 132"/>
                <a:gd name="T33" fmla="*/ 0 h 140"/>
                <a:gd name="T34" fmla="*/ 96 w 132"/>
                <a:gd name="T35" fmla="*/ 2 h 140"/>
                <a:gd name="T36" fmla="*/ 82 w 132"/>
                <a:gd name="T37" fmla="*/ 8 h 140"/>
                <a:gd name="T38" fmla="*/ 76 w 132"/>
                <a:gd name="T39" fmla="*/ 8 h 140"/>
                <a:gd name="T40" fmla="*/ 58 w 132"/>
                <a:gd name="T41" fmla="*/ 4 h 140"/>
                <a:gd name="T42" fmla="*/ 50 w 132"/>
                <a:gd name="T43" fmla="*/ 10 h 140"/>
                <a:gd name="T44" fmla="*/ 50 w 132"/>
                <a:gd name="T45" fmla="*/ 14 h 140"/>
                <a:gd name="T46" fmla="*/ 52 w 132"/>
                <a:gd name="T47" fmla="*/ 18 h 140"/>
                <a:gd name="T48" fmla="*/ 60 w 132"/>
                <a:gd name="T49" fmla="*/ 22 h 140"/>
                <a:gd name="T50" fmla="*/ 62 w 132"/>
                <a:gd name="T51" fmla="*/ 26 h 140"/>
                <a:gd name="T52" fmla="*/ 62 w 132"/>
                <a:gd name="T53" fmla="*/ 28 h 140"/>
                <a:gd name="T54" fmla="*/ 54 w 132"/>
                <a:gd name="T55" fmla="*/ 32 h 140"/>
                <a:gd name="T56" fmla="*/ 40 w 132"/>
                <a:gd name="T57" fmla="*/ 38 h 140"/>
                <a:gd name="T58" fmla="*/ 36 w 132"/>
                <a:gd name="T59" fmla="*/ 40 h 140"/>
                <a:gd name="T60" fmla="*/ 26 w 132"/>
                <a:gd name="T61" fmla="*/ 38 h 140"/>
                <a:gd name="T62" fmla="*/ 14 w 132"/>
                <a:gd name="T63" fmla="*/ 36 h 140"/>
                <a:gd name="T64" fmla="*/ 10 w 132"/>
                <a:gd name="T65" fmla="*/ 38 h 140"/>
                <a:gd name="T66" fmla="*/ 8 w 132"/>
                <a:gd name="T67" fmla="*/ 42 h 140"/>
                <a:gd name="T68" fmla="*/ 16 w 132"/>
                <a:gd name="T69" fmla="*/ 52 h 140"/>
                <a:gd name="T70" fmla="*/ 14 w 132"/>
                <a:gd name="T71" fmla="*/ 58 h 140"/>
                <a:gd name="T72" fmla="*/ 12 w 132"/>
                <a:gd name="T73" fmla="*/ 64 h 140"/>
                <a:gd name="T74" fmla="*/ 26 w 132"/>
                <a:gd name="T75" fmla="*/ 78 h 140"/>
                <a:gd name="T76" fmla="*/ 30 w 132"/>
                <a:gd name="T77" fmla="*/ 82 h 140"/>
                <a:gd name="T78" fmla="*/ 30 w 132"/>
                <a:gd name="T79" fmla="*/ 86 h 140"/>
                <a:gd name="T80" fmla="*/ 22 w 132"/>
                <a:gd name="T81" fmla="*/ 94 h 140"/>
                <a:gd name="T82" fmla="*/ 20 w 132"/>
                <a:gd name="T83" fmla="*/ 100 h 140"/>
                <a:gd name="T84" fmla="*/ 18 w 132"/>
                <a:gd name="T85" fmla="*/ 104 h 140"/>
                <a:gd name="T86" fmla="*/ 12 w 132"/>
                <a:gd name="T87" fmla="*/ 110 h 140"/>
                <a:gd name="T88" fmla="*/ 2 w 132"/>
                <a:gd name="T89" fmla="*/ 118 h 140"/>
                <a:gd name="T90" fmla="*/ 0 w 132"/>
                <a:gd name="T91" fmla="*/ 122 h 140"/>
                <a:gd name="T92" fmla="*/ 8 w 132"/>
                <a:gd name="T93" fmla="*/ 132 h 140"/>
                <a:gd name="T94" fmla="*/ 28 w 132"/>
                <a:gd name="T9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 h="140">
                  <a:moveTo>
                    <a:pt x="28" y="140"/>
                  </a:moveTo>
                  <a:lnTo>
                    <a:pt x="28" y="140"/>
                  </a:lnTo>
                  <a:lnTo>
                    <a:pt x="38" y="138"/>
                  </a:lnTo>
                  <a:lnTo>
                    <a:pt x="50" y="136"/>
                  </a:lnTo>
                  <a:lnTo>
                    <a:pt x="64" y="130"/>
                  </a:lnTo>
                  <a:lnTo>
                    <a:pt x="76" y="120"/>
                  </a:lnTo>
                  <a:lnTo>
                    <a:pt x="76" y="120"/>
                  </a:lnTo>
                  <a:lnTo>
                    <a:pt x="80" y="118"/>
                  </a:lnTo>
                  <a:lnTo>
                    <a:pt x="84" y="116"/>
                  </a:lnTo>
                  <a:lnTo>
                    <a:pt x="92" y="114"/>
                  </a:lnTo>
                  <a:lnTo>
                    <a:pt x="100" y="116"/>
                  </a:lnTo>
                  <a:lnTo>
                    <a:pt x="104" y="116"/>
                  </a:lnTo>
                  <a:lnTo>
                    <a:pt x="108" y="114"/>
                  </a:lnTo>
                  <a:lnTo>
                    <a:pt x="108" y="114"/>
                  </a:lnTo>
                  <a:lnTo>
                    <a:pt x="112" y="110"/>
                  </a:lnTo>
                  <a:lnTo>
                    <a:pt x="114" y="102"/>
                  </a:lnTo>
                  <a:lnTo>
                    <a:pt x="116" y="94"/>
                  </a:lnTo>
                  <a:lnTo>
                    <a:pt x="116" y="84"/>
                  </a:lnTo>
                  <a:lnTo>
                    <a:pt x="112" y="64"/>
                  </a:lnTo>
                  <a:lnTo>
                    <a:pt x="108" y="50"/>
                  </a:lnTo>
                  <a:lnTo>
                    <a:pt x="108" y="50"/>
                  </a:lnTo>
                  <a:lnTo>
                    <a:pt x="108" y="48"/>
                  </a:lnTo>
                  <a:lnTo>
                    <a:pt x="108" y="46"/>
                  </a:lnTo>
                  <a:lnTo>
                    <a:pt x="114" y="42"/>
                  </a:lnTo>
                  <a:lnTo>
                    <a:pt x="122" y="38"/>
                  </a:lnTo>
                  <a:lnTo>
                    <a:pt x="130" y="34"/>
                  </a:lnTo>
                  <a:lnTo>
                    <a:pt x="130" y="34"/>
                  </a:lnTo>
                  <a:lnTo>
                    <a:pt x="132" y="30"/>
                  </a:lnTo>
                  <a:lnTo>
                    <a:pt x="132" y="26"/>
                  </a:lnTo>
                  <a:lnTo>
                    <a:pt x="130" y="20"/>
                  </a:lnTo>
                  <a:lnTo>
                    <a:pt x="122" y="12"/>
                  </a:lnTo>
                  <a:lnTo>
                    <a:pt x="114" y="2"/>
                  </a:lnTo>
                  <a:lnTo>
                    <a:pt x="114" y="2"/>
                  </a:lnTo>
                  <a:lnTo>
                    <a:pt x="110" y="0"/>
                  </a:lnTo>
                  <a:lnTo>
                    <a:pt x="106" y="0"/>
                  </a:lnTo>
                  <a:lnTo>
                    <a:pt x="96" y="2"/>
                  </a:lnTo>
                  <a:lnTo>
                    <a:pt x="86" y="8"/>
                  </a:lnTo>
                  <a:lnTo>
                    <a:pt x="82" y="8"/>
                  </a:lnTo>
                  <a:lnTo>
                    <a:pt x="76" y="8"/>
                  </a:lnTo>
                  <a:lnTo>
                    <a:pt x="76" y="8"/>
                  </a:lnTo>
                  <a:lnTo>
                    <a:pt x="68" y="6"/>
                  </a:lnTo>
                  <a:lnTo>
                    <a:pt x="58" y="4"/>
                  </a:lnTo>
                  <a:lnTo>
                    <a:pt x="52" y="8"/>
                  </a:lnTo>
                  <a:lnTo>
                    <a:pt x="50" y="10"/>
                  </a:lnTo>
                  <a:lnTo>
                    <a:pt x="50" y="14"/>
                  </a:lnTo>
                  <a:lnTo>
                    <a:pt x="50" y="14"/>
                  </a:lnTo>
                  <a:lnTo>
                    <a:pt x="50" y="16"/>
                  </a:lnTo>
                  <a:lnTo>
                    <a:pt x="52" y="18"/>
                  </a:lnTo>
                  <a:lnTo>
                    <a:pt x="56" y="22"/>
                  </a:lnTo>
                  <a:lnTo>
                    <a:pt x="60" y="22"/>
                  </a:lnTo>
                  <a:lnTo>
                    <a:pt x="62" y="24"/>
                  </a:lnTo>
                  <a:lnTo>
                    <a:pt x="62" y="26"/>
                  </a:lnTo>
                  <a:lnTo>
                    <a:pt x="62" y="26"/>
                  </a:lnTo>
                  <a:lnTo>
                    <a:pt x="62" y="28"/>
                  </a:lnTo>
                  <a:lnTo>
                    <a:pt x="60" y="30"/>
                  </a:lnTo>
                  <a:lnTo>
                    <a:pt x="54" y="32"/>
                  </a:lnTo>
                  <a:lnTo>
                    <a:pt x="48" y="34"/>
                  </a:lnTo>
                  <a:lnTo>
                    <a:pt x="40" y="38"/>
                  </a:lnTo>
                  <a:lnTo>
                    <a:pt x="40" y="38"/>
                  </a:lnTo>
                  <a:lnTo>
                    <a:pt x="36" y="40"/>
                  </a:lnTo>
                  <a:lnTo>
                    <a:pt x="32" y="40"/>
                  </a:lnTo>
                  <a:lnTo>
                    <a:pt x="26" y="38"/>
                  </a:lnTo>
                  <a:lnTo>
                    <a:pt x="18" y="36"/>
                  </a:lnTo>
                  <a:lnTo>
                    <a:pt x="14" y="36"/>
                  </a:lnTo>
                  <a:lnTo>
                    <a:pt x="10" y="38"/>
                  </a:lnTo>
                  <a:lnTo>
                    <a:pt x="10" y="38"/>
                  </a:lnTo>
                  <a:lnTo>
                    <a:pt x="8" y="40"/>
                  </a:lnTo>
                  <a:lnTo>
                    <a:pt x="8" y="42"/>
                  </a:lnTo>
                  <a:lnTo>
                    <a:pt x="12" y="46"/>
                  </a:lnTo>
                  <a:lnTo>
                    <a:pt x="16" y="52"/>
                  </a:lnTo>
                  <a:lnTo>
                    <a:pt x="16" y="54"/>
                  </a:lnTo>
                  <a:lnTo>
                    <a:pt x="14" y="58"/>
                  </a:lnTo>
                  <a:lnTo>
                    <a:pt x="14" y="58"/>
                  </a:lnTo>
                  <a:lnTo>
                    <a:pt x="12" y="64"/>
                  </a:lnTo>
                  <a:lnTo>
                    <a:pt x="14" y="68"/>
                  </a:lnTo>
                  <a:lnTo>
                    <a:pt x="26" y="78"/>
                  </a:lnTo>
                  <a:lnTo>
                    <a:pt x="26" y="78"/>
                  </a:lnTo>
                  <a:lnTo>
                    <a:pt x="30" y="82"/>
                  </a:lnTo>
                  <a:lnTo>
                    <a:pt x="30" y="84"/>
                  </a:lnTo>
                  <a:lnTo>
                    <a:pt x="30" y="86"/>
                  </a:lnTo>
                  <a:lnTo>
                    <a:pt x="28" y="88"/>
                  </a:lnTo>
                  <a:lnTo>
                    <a:pt x="22" y="94"/>
                  </a:lnTo>
                  <a:lnTo>
                    <a:pt x="20" y="96"/>
                  </a:lnTo>
                  <a:lnTo>
                    <a:pt x="20" y="100"/>
                  </a:lnTo>
                  <a:lnTo>
                    <a:pt x="20" y="100"/>
                  </a:lnTo>
                  <a:lnTo>
                    <a:pt x="18" y="104"/>
                  </a:lnTo>
                  <a:lnTo>
                    <a:pt x="18" y="108"/>
                  </a:lnTo>
                  <a:lnTo>
                    <a:pt x="12" y="110"/>
                  </a:lnTo>
                  <a:lnTo>
                    <a:pt x="6" y="114"/>
                  </a:lnTo>
                  <a:lnTo>
                    <a:pt x="2" y="118"/>
                  </a:lnTo>
                  <a:lnTo>
                    <a:pt x="2" y="118"/>
                  </a:lnTo>
                  <a:lnTo>
                    <a:pt x="0" y="122"/>
                  </a:lnTo>
                  <a:lnTo>
                    <a:pt x="2" y="124"/>
                  </a:lnTo>
                  <a:lnTo>
                    <a:pt x="8" y="132"/>
                  </a:lnTo>
                  <a:lnTo>
                    <a:pt x="18" y="138"/>
                  </a:lnTo>
                  <a:lnTo>
                    <a:pt x="28" y="140"/>
                  </a:lnTo>
                  <a:lnTo>
                    <a:pt x="28" y="14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6" name="Freeform 53"/>
            <p:cNvSpPr>
              <a:spLocks/>
            </p:cNvSpPr>
            <p:nvPr/>
          </p:nvSpPr>
          <p:spPr bwMode="auto">
            <a:xfrm>
              <a:off x="3511550" y="2714625"/>
              <a:ext cx="295275" cy="187325"/>
            </a:xfrm>
            <a:custGeom>
              <a:avLst/>
              <a:gdLst>
                <a:gd name="T0" fmla="*/ 186 w 186"/>
                <a:gd name="T1" fmla="*/ 92 h 118"/>
                <a:gd name="T2" fmla="*/ 180 w 186"/>
                <a:gd name="T3" fmla="*/ 84 h 118"/>
                <a:gd name="T4" fmla="*/ 154 w 186"/>
                <a:gd name="T5" fmla="*/ 72 h 118"/>
                <a:gd name="T6" fmla="*/ 148 w 186"/>
                <a:gd name="T7" fmla="*/ 62 h 118"/>
                <a:gd name="T8" fmla="*/ 148 w 186"/>
                <a:gd name="T9" fmla="*/ 58 h 118"/>
                <a:gd name="T10" fmla="*/ 128 w 186"/>
                <a:gd name="T11" fmla="*/ 44 h 118"/>
                <a:gd name="T12" fmla="*/ 94 w 186"/>
                <a:gd name="T13" fmla="*/ 30 h 118"/>
                <a:gd name="T14" fmla="*/ 74 w 186"/>
                <a:gd name="T15" fmla="*/ 20 h 118"/>
                <a:gd name="T16" fmla="*/ 62 w 186"/>
                <a:gd name="T17" fmla="*/ 10 h 118"/>
                <a:gd name="T18" fmla="*/ 62 w 186"/>
                <a:gd name="T19" fmla="*/ 6 h 118"/>
                <a:gd name="T20" fmla="*/ 56 w 186"/>
                <a:gd name="T21" fmla="*/ 0 h 118"/>
                <a:gd name="T22" fmla="*/ 46 w 186"/>
                <a:gd name="T23" fmla="*/ 2 h 118"/>
                <a:gd name="T24" fmla="*/ 36 w 186"/>
                <a:gd name="T25" fmla="*/ 10 h 118"/>
                <a:gd name="T26" fmla="*/ 30 w 186"/>
                <a:gd name="T27" fmla="*/ 24 h 118"/>
                <a:gd name="T28" fmla="*/ 28 w 186"/>
                <a:gd name="T29" fmla="*/ 36 h 118"/>
                <a:gd name="T30" fmla="*/ 22 w 186"/>
                <a:gd name="T31" fmla="*/ 50 h 118"/>
                <a:gd name="T32" fmla="*/ 24 w 186"/>
                <a:gd name="T33" fmla="*/ 62 h 118"/>
                <a:gd name="T34" fmla="*/ 22 w 186"/>
                <a:gd name="T35" fmla="*/ 74 h 118"/>
                <a:gd name="T36" fmla="*/ 14 w 186"/>
                <a:gd name="T37" fmla="*/ 82 h 118"/>
                <a:gd name="T38" fmla="*/ 0 w 186"/>
                <a:gd name="T39" fmla="*/ 94 h 118"/>
                <a:gd name="T40" fmla="*/ 0 w 186"/>
                <a:gd name="T41" fmla="*/ 98 h 118"/>
                <a:gd name="T42" fmla="*/ 6 w 186"/>
                <a:gd name="T43" fmla="*/ 102 h 118"/>
                <a:gd name="T44" fmla="*/ 24 w 186"/>
                <a:gd name="T45" fmla="*/ 98 h 118"/>
                <a:gd name="T46" fmla="*/ 34 w 186"/>
                <a:gd name="T47" fmla="*/ 96 h 118"/>
                <a:gd name="T48" fmla="*/ 40 w 186"/>
                <a:gd name="T49" fmla="*/ 100 h 118"/>
                <a:gd name="T50" fmla="*/ 40 w 186"/>
                <a:gd name="T51" fmla="*/ 110 h 118"/>
                <a:gd name="T52" fmla="*/ 44 w 186"/>
                <a:gd name="T53" fmla="*/ 116 h 118"/>
                <a:gd name="T54" fmla="*/ 50 w 186"/>
                <a:gd name="T55" fmla="*/ 118 h 118"/>
                <a:gd name="T56" fmla="*/ 62 w 186"/>
                <a:gd name="T57" fmla="*/ 116 h 118"/>
                <a:gd name="T58" fmla="*/ 88 w 186"/>
                <a:gd name="T59" fmla="*/ 100 h 118"/>
                <a:gd name="T60" fmla="*/ 94 w 186"/>
                <a:gd name="T61" fmla="*/ 92 h 118"/>
                <a:gd name="T62" fmla="*/ 108 w 186"/>
                <a:gd name="T63" fmla="*/ 84 h 118"/>
                <a:gd name="T64" fmla="*/ 130 w 186"/>
                <a:gd name="T65" fmla="*/ 92 h 118"/>
                <a:gd name="T66" fmla="*/ 138 w 186"/>
                <a:gd name="T67" fmla="*/ 96 h 118"/>
                <a:gd name="T68" fmla="*/ 164 w 186"/>
                <a:gd name="T69" fmla="*/ 102 h 118"/>
                <a:gd name="T70" fmla="*/ 178 w 186"/>
                <a:gd name="T71" fmla="*/ 100 h 118"/>
                <a:gd name="T72" fmla="*/ 186 w 186"/>
                <a:gd name="T73" fmla="*/ 9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18">
                  <a:moveTo>
                    <a:pt x="186" y="92"/>
                  </a:moveTo>
                  <a:lnTo>
                    <a:pt x="186" y="92"/>
                  </a:lnTo>
                  <a:lnTo>
                    <a:pt x="184" y="88"/>
                  </a:lnTo>
                  <a:lnTo>
                    <a:pt x="180" y="84"/>
                  </a:lnTo>
                  <a:lnTo>
                    <a:pt x="166" y="78"/>
                  </a:lnTo>
                  <a:lnTo>
                    <a:pt x="154" y="72"/>
                  </a:lnTo>
                  <a:lnTo>
                    <a:pt x="150" y="68"/>
                  </a:lnTo>
                  <a:lnTo>
                    <a:pt x="148" y="62"/>
                  </a:lnTo>
                  <a:lnTo>
                    <a:pt x="148" y="62"/>
                  </a:lnTo>
                  <a:lnTo>
                    <a:pt x="148" y="58"/>
                  </a:lnTo>
                  <a:lnTo>
                    <a:pt x="142" y="52"/>
                  </a:lnTo>
                  <a:lnTo>
                    <a:pt x="128" y="44"/>
                  </a:lnTo>
                  <a:lnTo>
                    <a:pt x="110" y="38"/>
                  </a:lnTo>
                  <a:lnTo>
                    <a:pt x="94" y="30"/>
                  </a:lnTo>
                  <a:lnTo>
                    <a:pt x="94" y="30"/>
                  </a:lnTo>
                  <a:lnTo>
                    <a:pt x="74" y="20"/>
                  </a:lnTo>
                  <a:lnTo>
                    <a:pt x="64" y="14"/>
                  </a:lnTo>
                  <a:lnTo>
                    <a:pt x="62" y="10"/>
                  </a:lnTo>
                  <a:lnTo>
                    <a:pt x="62" y="6"/>
                  </a:lnTo>
                  <a:lnTo>
                    <a:pt x="62" y="6"/>
                  </a:lnTo>
                  <a:lnTo>
                    <a:pt x="60" y="2"/>
                  </a:lnTo>
                  <a:lnTo>
                    <a:pt x="56" y="0"/>
                  </a:lnTo>
                  <a:lnTo>
                    <a:pt x="52" y="0"/>
                  </a:lnTo>
                  <a:lnTo>
                    <a:pt x="46" y="2"/>
                  </a:lnTo>
                  <a:lnTo>
                    <a:pt x="42" y="4"/>
                  </a:lnTo>
                  <a:lnTo>
                    <a:pt x="36" y="10"/>
                  </a:lnTo>
                  <a:lnTo>
                    <a:pt x="32" y="16"/>
                  </a:lnTo>
                  <a:lnTo>
                    <a:pt x="30" y="24"/>
                  </a:lnTo>
                  <a:lnTo>
                    <a:pt x="30" y="24"/>
                  </a:lnTo>
                  <a:lnTo>
                    <a:pt x="28" y="36"/>
                  </a:lnTo>
                  <a:lnTo>
                    <a:pt x="24" y="42"/>
                  </a:lnTo>
                  <a:lnTo>
                    <a:pt x="22" y="50"/>
                  </a:lnTo>
                  <a:lnTo>
                    <a:pt x="24" y="62"/>
                  </a:lnTo>
                  <a:lnTo>
                    <a:pt x="24" y="62"/>
                  </a:lnTo>
                  <a:lnTo>
                    <a:pt x="24" y="68"/>
                  </a:lnTo>
                  <a:lnTo>
                    <a:pt x="22" y="74"/>
                  </a:lnTo>
                  <a:lnTo>
                    <a:pt x="18" y="78"/>
                  </a:lnTo>
                  <a:lnTo>
                    <a:pt x="14" y="82"/>
                  </a:lnTo>
                  <a:lnTo>
                    <a:pt x="4" y="90"/>
                  </a:lnTo>
                  <a:lnTo>
                    <a:pt x="0" y="94"/>
                  </a:lnTo>
                  <a:lnTo>
                    <a:pt x="0" y="98"/>
                  </a:lnTo>
                  <a:lnTo>
                    <a:pt x="0" y="98"/>
                  </a:lnTo>
                  <a:lnTo>
                    <a:pt x="2" y="100"/>
                  </a:lnTo>
                  <a:lnTo>
                    <a:pt x="6" y="102"/>
                  </a:lnTo>
                  <a:lnTo>
                    <a:pt x="14" y="100"/>
                  </a:lnTo>
                  <a:lnTo>
                    <a:pt x="24" y="98"/>
                  </a:lnTo>
                  <a:lnTo>
                    <a:pt x="34" y="96"/>
                  </a:lnTo>
                  <a:lnTo>
                    <a:pt x="34" y="96"/>
                  </a:lnTo>
                  <a:lnTo>
                    <a:pt x="38" y="98"/>
                  </a:lnTo>
                  <a:lnTo>
                    <a:pt x="40" y="100"/>
                  </a:lnTo>
                  <a:lnTo>
                    <a:pt x="40" y="106"/>
                  </a:lnTo>
                  <a:lnTo>
                    <a:pt x="40" y="110"/>
                  </a:lnTo>
                  <a:lnTo>
                    <a:pt x="42" y="114"/>
                  </a:lnTo>
                  <a:lnTo>
                    <a:pt x="44" y="116"/>
                  </a:lnTo>
                  <a:lnTo>
                    <a:pt x="50" y="118"/>
                  </a:lnTo>
                  <a:lnTo>
                    <a:pt x="50" y="118"/>
                  </a:lnTo>
                  <a:lnTo>
                    <a:pt x="54" y="118"/>
                  </a:lnTo>
                  <a:lnTo>
                    <a:pt x="62" y="116"/>
                  </a:lnTo>
                  <a:lnTo>
                    <a:pt x="76" y="110"/>
                  </a:lnTo>
                  <a:lnTo>
                    <a:pt x="88" y="100"/>
                  </a:lnTo>
                  <a:lnTo>
                    <a:pt x="94" y="92"/>
                  </a:lnTo>
                  <a:lnTo>
                    <a:pt x="94" y="92"/>
                  </a:lnTo>
                  <a:lnTo>
                    <a:pt x="100" y="86"/>
                  </a:lnTo>
                  <a:lnTo>
                    <a:pt x="108" y="84"/>
                  </a:lnTo>
                  <a:lnTo>
                    <a:pt x="118" y="86"/>
                  </a:lnTo>
                  <a:lnTo>
                    <a:pt x="130" y="92"/>
                  </a:lnTo>
                  <a:lnTo>
                    <a:pt x="130" y="92"/>
                  </a:lnTo>
                  <a:lnTo>
                    <a:pt x="138" y="96"/>
                  </a:lnTo>
                  <a:lnTo>
                    <a:pt x="146" y="98"/>
                  </a:lnTo>
                  <a:lnTo>
                    <a:pt x="164" y="102"/>
                  </a:lnTo>
                  <a:lnTo>
                    <a:pt x="172" y="100"/>
                  </a:lnTo>
                  <a:lnTo>
                    <a:pt x="178" y="100"/>
                  </a:lnTo>
                  <a:lnTo>
                    <a:pt x="184" y="96"/>
                  </a:lnTo>
                  <a:lnTo>
                    <a:pt x="186" y="92"/>
                  </a:lnTo>
                  <a:lnTo>
                    <a:pt x="186" y="9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7" name="Freeform 54"/>
            <p:cNvSpPr>
              <a:spLocks/>
            </p:cNvSpPr>
            <p:nvPr/>
          </p:nvSpPr>
          <p:spPr bwMode="auto">
            <a:xfrm>
              <a:off x="8086725" y="1470025"/>
              <a:ext cx="403225" cy="130175"/>
            </a:xfrm>
            <a:custGeom>
              <a:avLst/>
              <a:gdLst>
                <a:gd name="T0" fmla="*/ 16 w 254"/>
                <a:gd name="T1" fmla="*/ 32 h 82"/>
                <a:gd name="T2" fmla="*/ 10 w 254"/>
                <a:gd name="T3" fmla="*/ 36 h 82"/>
                <a:gd name="T4" fmla="*/ 12 w 254"/>
                <a:gd name="T5" fmla="*/ 40 h 82"/>
                <a:gd name="T6" fmla="*/ 34 w 254"/>
                <a:gd name="T7" fmla="*/ 48 h 82"/>
                <a:gd name="T8" fmla="*/ 94 w 254"/>
                <a:gd name="T9" fmla="*/ 42 h 82"/>
                <a:gd name="T10" fmla="*/ 112 w 254"/>
                <a:gd name="T11" fmla="*/ 44 h 82"/>
                <a:gd name="T12" fmla="*/ 106 w 254"/>
                <a:gd name="T13" fmla="*/ 48 h 82"/>
                <a:gd name="T14" fmla="*/ 56 w 254"/>
                <a:gd name="T15" fmla="*/ 60 h 82"/>
                <a:gd name="T16" fmla="*/ 54 w 254"/>
                <a:gd name="T17" fmla="*/ 62 h 82"/>
                <a:gd name="T18" fmla="*/ 86 w 254"/>
                <a:gd name="T19" fmla="*/ 72 h 82"/>
                <a:gd name="T20" fmla="*/ 118 w 254"/>
                <a:gd name="T21" fmla="*/ 70 h 82"/>
                <a:gd name="T22" fmla="*/ 122 w 254"/>
                <a:gd name="T23" fmla="*/ 70 h 82"/>
                <a:gd name="T24" fmla="*/ 152 w 254"/>
                <a:gd name="T25" fmla="*/ 82 h 82"/>
                <a:gd name="T26" fmla="*/ 168 w 254"/>
                <a:gd name="T27" fmla="*/ 78 h 82"/>
                <a:gd name="T28" fmla="*/ 182 w 254"/>
                <a:gd name="T29" fmla="*/ 74 h 82"/>
                <a:gd name="T30" fmla="*/ 214 w 254"/>
                <a:gd name="T31" fmla="*/ 64 h 82"/>
                <a:gd name="T32" fmla="*/ 216 w 254"/>
                <a:gd name="T33" fmla="*/ 58 h 82"/>
                <a:gd name="T34" fmla="*/ 238 w 254"/>
                <a:gd name="T35" fmla="*/ 46 h 82"/>
                <a:gd name="T36" fmla="*/ 254 w 254"/>
                <a:gd name="T37" fmla="*/ 28 h 82"/>
                <a:gd name="T38" fmla="*/ 246 w 254"/>
                <a:gd name="T39" fmla="*/ 22 h 82"/>
                <a:gd name="T40" fmla="*/ 206 w 254"/>
                <a:gd name="T41" fmla="*/ 20 h 82"/>
                <a:gd name="T42" fmla="*/ 190 w 254"/>
                <a:gd name="T43" fmla="*/ 14 h 82"/>
                <a:gd name="T44" fmla="*/ 162 w 254"/>
                <a:gd name="T45" fmla="*/ 12 h 82"/>
                <a:gd name="T46" fmla="*/ 156 w 254"/>
                <a:gd name="T47" fmla="*/ 20 h 82"/>
                <a:gd name="T48" fmla="*/ 144 w 254"/>
                <a:gd name="T49" fmla="*/ 22 h 82"/>
                <a:gd name="T50" fmla="*/ 142 w 254"/>
                <a:gd name="T51" fmla="*/ 10 h 82"/>
                <a:gd name="T52" fmla="*/ 134 w 254"/>
                <a:gd name="T53" fmla="*/ 2 h 82"/>
                <a:gd name="T54" fmla="*/ 124 w 254"/>
                <a:gd name="T55" fmla="*/ 6 h 82"/>
                <a:gd name="T56" fmla="*/ 122 w 254"/>
                <a:gd name="T57" fmla="*/ 18 h 82"/>
                <a:gd name="T58" fmla="*/ 124 w 254"/>
                <a:gd name="T59" fmla="*/ 30 h 82"/>
                <a:gd name="T60" fmla="*/ 112 w 254"/>
                <a:gd name="T61" fmla="*/ 28 h 82"/>
                <a:gd name="T62" fmla="*/ 102 w 254"/>
                <a:gd name="T63" fmla="*/ 18 h 82"/>
                <a:gd name="T64" fmla="*/ 98 w 254"/>
                <a:gd name="T65" fmla="*/ 16 h 82"/>
                <a:gd name="T66" fmla="*/ 82 w 254"/>
                <a:gd name="T67" fmla="*/ 20 h 82"/>
                <a:gd name="T68" fmla="*/ 78 w 254"/>
                <a:gd name="T69" fmla="*/ 14 h 82"/>
                <a:gd name="T70" fmla="*/ 56 w 254"/>
                <a:gd name="T71" fmla="*/ 2 h 82"/>
                <a:gd name="T72" fmla="*/ 50 w 254"/>
                <a:gd name="T73" fmla="*/ 2 h 82"/>
                <a:gd name="T74" fmla="*/ 52 w 254"/>
                <a:gd name="T75" fmla="*/ 12 h 82"/>
                <a:gd name="T76" fmla="*/ 48 w 254"/>
                <a:gd name="T77" fmla="*/ 14 h 82"/>
                <a:gd name="T78" fmla="*/ 32 w 254"/>
                <a:gd name="T79" fmla="*/ 6 h 82"/>
                <a:gd name="T80" fmla="*/ 32 w 254"/>
                <a:gd name="T81" fmla="*/ 12 h 82"/>
                <a:gd name="T82" fmla="*/ 34 w 254"/>
                <a:gd name="T83" fmla="*/ 22 h 82"/>
                <a:gd name="T84" fmla="*/ 26 w 254"/>
                <a:gd name="T85" fmla="*/ 16 h 82"/>
                <a:gd name="T86" fmla="*/ 12 w 254"/>
                <a:gd name="T87" fmla="*/ 8 h 82"/>
                <a:gd name="T88" fmla="*/ 6 w 254"/>
                <a:gd name="T89" fmla="*/ 12 h 82"/>
                <a:gd name="T90" fmla="*/ 2 w 254"/>
                <a:gd name="T91" fmla="*/ 18 h 82"/>
                <a:gd name="T92" fmla="*/ 4 w 254"/>
                <a:gd name="T93"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4" h="82">
                  <a:moveTo>
                    <a:pt x="16" y="30"/>
                  </a:moveTo>
                  <a:lnTo>
                    <a:pt x="16" y="30"/>
                  </a:lnTo>
                  <a:lnTo>
                    <a:pt x="16" y="32"/>
                  </a:lnTo>
                  <a:lnTo>
                    <a:pt x="16" y="32"/>
                  </a:lnTo>
                  <a:lnTo>
                    <a:pt x="14" y="34"/>
                  </a:lnTo>
                  <a:lnTo>
                    <a:pt x="10" y="36"/>
                  </a:lnTo>
                  <a:lnTo>
                    <a:pt x="10" y="38"/>
                  </a:lnTo>
                  <a:lnTo>
                    <a:pt x="12" y="40"/>
                  </a:lnTo>
                  <a:lnTo>
                    <a:pt x="12" y="40"/>
                  </a:lnTo>
                  <a:lnTo>
                    <a:pt x="16" y="44"/>
                  </a:lnTo>
                  <a:lnTo>
                    <a:pt x="22" y="46"/>
                  </a:lnTo>
                  <a:lnTo>
                    <a:pt x="34" y="48"/>
                  </a:lnTo>
                  <a:lnTo>
                    <a:pt x="48" y="48"/>
                  </a:lnTo>
                  <a:lnTo>
                    <a:pt x="64" y="46"/>
                  </a:lnTo>
                  <a:lnTo>
                    <a:pt x="94" y="42"/>
                  </a:lnTo>
                  <a:lnTo>
                    <a:pt x="104" y="42"/>
                  </a:lnTo>
                  <a:lnTo>
                    <a:pt x="112" y="44"/>
                  </a:lnTo>
                  <a:lnTo>
                    <a:pt x="112" y="44"/>
                  </a:lnTo>
                  <a:lnTo>
                    <a:pt x="112" y="44"/>
                  </a:lnTo>
                  <a:lnTo>
                    <a:pt x="112" y="46"/>
                  </a:lnTo>
                  <a:lnTo>
                    <a:pt x="106" y="48"/>
                  </a:lnTo>
                  <a:lnTo>
                    <a:pt x="86" y="52"/>
                  </a:lnTo>
                  <a:lnTo>
                    <a:pt x="64" y="58"/>
                  </a:lnTo>
                  <a:lnTo>
                    <a:pt x="56" y="60"/>
                  </a:lnTo>
                  <a:lnTo>
                    <a:pt x="54" y="62"/>
                  </a:lnTo>
                  <a:lnTo>
                    <a:pt x="54" y="62"/>
                  </a:lnTo>
                  <a:lnTo>
                    <a:pt x="54" y="62"/>
                  </a:lnTo>
                  <a:lnTo>
                    <a:pt x="58" y="66"/>
                  </a:lnTo>
                  <a:lnTo>
                    <a:pt x="64" y="68"/>
                  </a:lnTo>
                  <a:lnTo>
                    <a:pt x="86" y="72"/>
                  </a:lnTo>
                  <a:lnTo>
                    <a:pt x="106" y="72"/>
                  </a:lnTo>
                  <a:lnTo>
                    <a:pt x="114" y="72"/>
                  </a:lnTo>
                  <a:lnTo>
                    <a:pt x="118" y="70"/>
                  </a:lnTo>
                  <a:lnTo>
                    <a:pt x="118" y="70"/>
                  </a:lnTo>
                  <a:lnTo>
                    <a:pt x="120" y="70"/>
                  </a:lnTo>
                  <a:lnTo>
                    <a:pt x="122" y="70"/>
                  </a:lnTo>
                  <a:lnTo>
                    <a:pt x="130" y="74"/>
                  </a:lnTo>
                  <a:lnTo>
                    <a:pt x="138" y="78"/>
                  </a:lnTo>
                  <a:lnTo>
                    <a:pt x="152" y="82"/>
                  </a:lnTo>
                  <a:lnTo>
                    <a:pt x="152" y="82"/>
                  </a:lnTo>
                  <a:lnTo>
                    <a:pt x="162" y="82"/>
                  </a:lnTo>
                  <a:lnTo>
                    <a:pt x="168" y="78"/>
                  </a:lnTo>
                  <a:lnTo>
                    <a:pt x="174" y="76"/>
                  </a:lnTo>
                  <a:lnTo>
                    <a:pt x="182" y="74"/>
                  </a:lnTo>
                  <a:lnTo>
                    <a:pt x="182" y="74"/>
                  </a:lnTo>
                  <a:lnTo>
                    <a:pt x="194" y="72"/>
                  </a:lnTo>
                  <a:lnTo>
                    <a:pt x="204" y="70"/>
                  </a:lnTo>
                  <a:lnTo>
                    <a:pt x="214" y="64"/>
                  </a:lnTo>
                  <a:lnTo>
                    <a:pt x="216" y="62"/>
                  </a:lnTo>
                  <a:lnTo>
                    <a:pt x="216" y="58"/>
                  </a:lnTo>
                  <a:lnTo>
                    <a:pt x="216" y="58"/>
                  </a:lnTo>
                  <a:lnTo>
                    <a:pt x="218" y="56"/>
                  </a:lnTo>
                  <a:lnTo>
                    <a:pt x="224" y="52"/>
                  </a:lnTo>
                  <a:lnTo>
                    <a:pt x="238" y="46"/>
                  </a:lnTo>
                  <a:lnTo>
                    <a:pt x="250" y="38"/>
                  </a:lnTo>
                  <a:lnTo>
                    <a:pt x="254" y="32"/>
                  </a:lnTo>
                  <a:lnTo>
                    <a:pt x="254" y="28"/>
                  </a:lnTo>
                  <a:lnTo>
                    <a:pt x="254" y="28"/>
                  </a:lnTo>
                  <a:lnTo>
                    <a:pt x="252" y="24"/>
                  </a:lnTo>
                  <a:lnTo>
                    <a:pt x="246" y="22"/>
                  </a:lnTo>
                  <a:lnTo>
                    <a:pt x="230" y="20"/>
                  </a:lnTo>
                  <a:lnTo>
                    <a:pt x="214" y="20"/>
                  </a:lnTo>
                  <a:lnTo>
                    <a:pt x="206" y="20"/>
                  </a:lnTo>
                  <a:lnTo>
                    <a:pt x="200" y="18"/>
                  </a:lnTo>
                  <a:lnTo>
                    <a:pt x="200" y="18"/>
                  </a:lnTo>
                  <a:lnTo>
                    <a:pt x="190" y="14"/>
                  </a:lnTo>
                  <a:lnTo>
                    <a:pt x="178" y="12"/>
                  </a:lnTo>
                  <a:lnTo>
                    <a:pt x="166" y="10"/>
                  </a:lnTo>
                  <a:lnTo>
                    <a:pt x="162" y="12"/>
                  </a:lnTo>
                  <a:lnTo>
                    <a:pt x="160" y="14"/>
                  </a:lnTo>
                  <a:lnTo>
                    <a:pt x="160" y="14"/>
                  </a:lnTo>
                  <a:lnTo>
                    <a:pt x="156" y="20"/>
                  </a:lnTo>
                  <a:lnTo>
                    <a:pt x="152" y="22"/>
                  </a:lnTo>
                  <a:lnTo>
                    <a:pt x="148" y="22"/>
                  </a:lnTo>
                  <a:lnTo>
                    <a:pt x="144" y="22"/>
                  </a:lnTo>
                  <a:lnTo>
                    <a:pt x="144" y="22"/>
                  </a:lnTo>
                  <a:lnTo>
                    <a:pt x="144" y="16"/>
                  </a:lnTo>
                  <a:lnTo>
                    <a:pt x="142" y="10"/>
                  </a:lnTo>
                  <a:lnTo>
                    <a:pt x="140" y="6"/>
                  </a:lnTo>
                  <a:lnTo>
                    <a:pt x="138" y="4"/>
                  </a:lnTo>
                  <a:lnTo>
                    <a:pt x="134" y="2"/>
                  </a:lnTo>
                  <a:lnTo>
                    <a:pt x="130" y="4"/>
                  </a:lnTo>
                  <a:lnTo>
                    <a:pt x="130" y="4"/>
                  </a:lnTo>
                  <a:lnTo>
                    <a:pt x="124" y="6"/>
                  </a:lnTo>
                  <a:lnTo>
                    <a:pt x="122" y="10"/>
                  </a:lnTo>
                  <a:lnTo>
                    <a:pt x="120" y="14"/>
                  </a:lnTo>
                  <a:lnTo>
                    <a:pt x="122" y="18"/>
                  </a:lnTo>
                  <a:lnTo>
                    <a:pt x="124" y="26"/>
                  </a:lnTo>
                  <a:lnTo>
                    <a:pt x="124" y="28"/>
                  </a:lnTo>
                  <a:lnTo>
                    <a:pt x="124" y="30"/>
                  </a:lnTo>
                  <a:lnTo>
                    <a:pt x="124" y="30"/>
                  </a:lnTo>
                  <a:lnTo>
                    <a:pt x="120" y="30"/>
                  </a:lnTo>
                  <a:lnTo>
                    <a:pt x="112" y="28"/>
                  </a:lnTo>
                  <a:lnTo>
                    <a:pt x="106" y="24"/>
                  </a:lnTo>
                  <a:lnTo>
                    <a:pt x="104" y="22"/>
                  </a:lnTo>
                  <a:lnTo>
                    <a:pt x="102" y="18"/>
                  </a:lnTo>
                  <a:lnTo>
                    <a:pt x="102" y="18"/>
                  </a:lnTo>
                  <a:lnTo>
                    <a:pt x="102" y="16"/>
                  </a:lnTo>
                  <a:lnTo>
                    <a:pt x="98" y="16"/>
                  </a:lnTo>
                  <a:lnTo>
                    <a:pt x="92" y="18"/>
                  </a:lnTo>
                  <a:lnTo>
                    <a:pt x="84" y="20"/>
                  </a:lnTo>
                  <a:lnTo>
                    <a:pt x="82" y="20"/>
                  </a:lnTo>
                  <a:lnTo>
                    <a:pt x="80" y="18"/>
                  </a:lnTo>
                  <a:lnTo>
                    <a:pt x="80" y="18"/>
                  </a:lnTo>
                  <a:lnTo>
                    <a:pt x="78" y="14"/>
                  </a:lnTo>
                  <a:lnTo>
                    <a:pt x="76" y="10"/>
                  </a:lnTo>
                  <a:lnTo>
                    <a:pt x="66" y="4"/>
                  </a:lnTo>
                  <a:lnTo>
                    <a:pt x="56" y="2"/>
                  </a:lnTo>
                  <a:lnTo>
                    <a:pt x="50" y="0"/>
                  </a:lnTo>
                  <a:lnTo>
                    <a:pt x="50" y="0"/>
                  </a:lnTo>
                  <a:lnTo>
                    <a:pt x="50" y="2"/>
                  </a:lnTo>
                  <a:lnTo>
                    <a:pt x="50" y="4"/>
                  </a:lnTo>
                  <a:lnTo>
                    <a:pt x="52" y="8"/>
                  </a:lnTo>
                  <a:lnTo>
                    <a:pt x="52" y="12"/>
                  </a:lnTo>
                  <a:lnTo>
                    <a:pt x="52" y="12"/>
                  </a:lnTo>
                  <a:lnTo>
                    <a:pt x="50" y="14"/>
                  </a:lnTo>
                  <a:lnTo>
                    <a:pt x="48" y="14"/>
                  </a:lnTo>
                  <a:lnTo>
                    <a:pt x="44" y="12"/>
                  </a:lnTo>
                  <a:lnTo>
                    <a:pt x="32" y="6"/>
                  </a:lnTo>
                  <a:lnTo>
                    <a:pt x="32" y="6"/>
                  </a:lnTo>
                  <a:lnTo>
                    <a:pt x="32" y="8"/>
                  </a:lnTo>
                  <a:lnTo>
                    <a:pt x="30" y="8"/>
                  </a:lnTo>
                  <a:lnTo>
                    <a:pt x="32" y="12"/>
                  </a:lnTo>
                  <a:lnTo>
                    <a:pt x="34" y="18"/>
                  </a:lnTo>
                  <a:lnTo>
                    <a:pt x="34" y="22"/>
                  </a:lnTo>
                  <a:lnTo>
                    <a:pt x="34" y="22"/>
                  </a:lnTo>
                  <a:lnTo>
                    <a:pt x="32" y="22"/>
                  </a:lnTo>
                  <a:lnTo>
                    <a:pt x="30" y="22"/>
                  </a:lnTo>
                  <a:lnTo>
                    <a:pt x="26" y="16"/>
                  </a:lnTo>
                  <a:lnTo>
                    <a:pt x="20" y="10"/>
                  </a:lnTo>
                  <a:lnTo>
                    <a:pt x="16" y="8"/>
                  </a:lnTo>
                  <a:lnTo>
                    <a:pt x="12" y="8"/>
                  </a:lnTo>
                  <a:lnTo>
                    <a:pt x="12" y="8"/>
                  </a:lnTo>
                  <a:lnTo>
                    <a:pt x="8" y="10"/>
                  </a:lnTo>
                  <a:lnTo>
                    <a:pt x="6" y="12"/>
                  </a:lnTo>
                  <a:lnTo>
                    <a:pt x="4" y="16"/>
                  </a:lnTo>
                  <a:lnTo>
                    <a:pt x="2" y="18"/>
                  </a:lnTo>
                  <a:lnTo>
                    <a:pt x="2" y="18"/>
                  </a:lnTo>
                  <a:lnTo>
                    <a:pt x="0" y="18"/>
                  </a:lnTo>
                  <a:lnTo>
                    <a:pt x="0" y="20"/>
                  </a:lnTo>
                  <a:lnTo>
                    <a:pt x="4" y="22"/>
                  </a:lnTo>
                  <a:lnTo>
                    <a:pt x="16" y="30"/>
                  </a:lnTo>
                  <a:lnTo>
                    <a:pt x="16" y="3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8" name="Freeform 55"/>
            <p:cNvSpPr>
              <a:spLocks/>
            </p:cNvSpPr>
            <p:nvPr/>
          </p:nvSpPr>
          <p:spPr bwMode="auto">
            <a:xfrm>
              <a:off x="9271000" y="1441450"/>
              <a:ext cx="142875" cy="38100"/>
            </a:xfrm>
            <a:custGeom>
              <a:avLst/>
              <a:gdLst>
                <a:gd name="T0" fmla="*/ 44 w 90"/>
                <a:gd name="T1" fmla="*/ 16 h 24"/>
                <a:gd name="T2" fmla="*/ 44 w 90"/>
                <a:gd name="T3" fmla="*/ 16 h 24"/>
                <a:gd name="T4" fmla="*/ 52 w 90"/>
                <a:gd name="T5" fmla="*/ 12 h 24"/>
                <a:gd name="T6" fmla="*/ 58 w 90"/>
                <a:gd name="T7" fmla="*/ 8 h 24"/>
                <a:gd name="T8" fmla="*/ 66 w 90"/>
                <a:gd name="T9" fmla="*/ 8 h 24"/>
                <a:gd name="T10" fmla="*/ 72 w 90"/>
                <a:gd name="T11" fmla="*/ 8 h 24"/>
                <a:gd name="T12" fmla="*/ 84 w 90"/>
                <a:gd name="T13" fmla="*/ 10 h 24"/>
                <a:gd name="T14" fmla="*/ 88 w 90"/>
                <a:gd name="T15" fmla="*/ 10 h 24"/>
                <a:gd name="T16" fmla="*/ 90 w 90"/>
                <a:gd name="T17" fmla="*/ 8 h 24"/>
                <a:gd name="T18" fmla="*/ 90 w 90"/>
                <a:gd name="T19" fmla="*/ 8 h 24"/>
                <a:gd name="T20" fmla="*/ 90 w 90"/>
                <a:gd name="T21" fmla="*/ 4 h 24"/>
                <a:gd name="T22" fmla="*/ 86 w 90"/>
                <a:gd name="T23" fmla="*/ 2 h 24"/>
                <a:gd name="T24" fmla="*/ 72 w 90"/>
                <a:gd name="T25" fmla="*/ 0 h 24"/>
                <a:gd name="T26" fmla="*/ 56 w 90"/>
                <a:gd name="T27" fmla="*/ 0 h 24"/>
                <a:gd name="T28" fmla="*/ 48 w 90"/>
                <a:gd name="T29" fmla="*/ 2 h 24"/>
                <a:gd name="T30" fmla="*/ 42 w 90"/>
                <a:gd name="T31" fmla="*/ 4 h 24"/>
                <a:gd name="T32" fmla="*/ 42 w 90"/>
                <a:gd name="T33" fmla="*/ 4 h 24"/>
                <a:gd name="T34" fmla="*/ 36 w 90"/>
                <a:gd name="T35" fmla="*/ 6 h 24"/>
                <a:gd name="T36" fmla="*/ 28 w 90"/>
                <a:gd name="T37" fmla="*/ 8 h 24"/>
                <a:gd name="T38" fmla="*/ 14 w 90"/>
                <a:gd name="T39" fmla="*/ 8 h 24"/>
                <a:gd name="T40" fmla="*/ 2 w 90"/>
                <a:gd name="T41" fmla="*/ 10 h 24"/>
                <a:gd name="T42" fmla="*/ 0 w 90"/>
                <a:gd name="T43" fmla="*/ 12 h 24"/>
                <a:gd name="T44" fmla="*/ 0 w 90"/>
                <a:gd name="T45" fmla="*/ 14 h 24"/>
                <a:gd name="T46" fmla="*/ 0 w 90"/>
                <a:gd name="T47" fmla="*/ 14 h 24"/>
                <a:gd name="T48" fmla="*/ 6 w 90"/>
                <a:gd name="T49" fmla="*/ 20 h 24"/>
                <a:gd name="T50" fmla="*/ 16 w 90"/>
                <a:gd name="T51" fmla="*/ 24 h 24"/>
                <a:gd name="T52" fmla="*/ 22 w 90"/>
                <a:gd name="T53" fmla="*/ 24 h 24"/>
                <a:gd name="T54" fmla="*/ 30 w 90"/>
                <a:gd name="T55" fmla="*/ 24 h 24"/>
                <a:gd name="T56" fmla="*/ 38 w 90"/>
                <a:gd name="T57" fmla="*/ 22 h 24"/>
                <a:gd name="T58" fmla="*/ 44 w 90"/>
                <a:gd name="T59" fmla="*/ 16 h 24"/>
                <a:gd name="T60" fmla="*/ 44 w 90"/>
                <a:gd name="T61"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0" h="24">
                  <a:moveTo>
                    <a:pt x="44" y="16"/>
                  </a:moveTo>
                  <a:lnTo>
                    <a:pt x="44" y="16"/>
                  </a:lnTo>
                  <a:lnTo>
                    <a:pt x="52" y="12"/>
                  </a:lnTo>
                  <a:lnTo>
                    <a:pt x="58" y="8"/>
                  </a:lnTo>
                  <a:lnTo>
                    <a:pt x="66" y="8"/>
                  </a:lnTo>
                  <a:lnTo>
                    <a:pt x="72" y="8"/>
                  </a:lnTo>
                  <a:lnTo>
                    <a:pt x="84" y="10"/>
                  </a:lnTo>
                  <a:lnTo>
                    <a:pt x="88" y="10"/>
                  </a:lnTo>
                  <a:lnTo>
                    <a:pt x="90" y="8"/>
                  </a:lnTo>
                  <a:lnTo>
                    <a:pt x="90" y="8"/>
                  </a:lnTo>
                  <a:lnTo>
                    <a:pt x="90" y="4"/>
                  </a:lnTo>
                  <a:lnTo>
                    <a:pt x="86" y="2"/>
                  </a:lnTo>
                  <a:lnTo>
                    <a:pt x="72" y="0"/>
                  </a:lnTo>
                  <a:lnTo>
                    <a:pt x="56" y="0"/>
                  </a:lnTo>
                  <a:lnTo>
                    <a:pt x="48" y="2"/>
                  </a:lnTo>
                  <a:lnTo>
                    <a:pt x="42" y="4"/>
                  </a:lnTo>
                  <a:lnTo>
                    <a:pt x="42" y="4"/>
                  </a:lnTo>
                  <a:lnTo>
                    <a:pt x="36" y="6"/>
                  </a:lnTo>
                  <a:lnTo>
                    <a:pt x="28" y="8"/>
                  </a:lnTo>
                  <a:lnTo>
                    <a:pt x="14" y="8"/>
                  </a:lnTo>
                  <a:lnTo>
                    <a:pt x="2" y="10"/>
                  </a:lnTo>
                  <a:lnTo>
                    <a:pt x="0" y="12"/>
                  </a:lnTo>
                  <a:lnTo>
                    <a:pt x="0" y="14"/>
                  </a:lnTo>
                  <a:lnTo>
                    <a:pt x="0" y="14"/>
                  </a:lnTo>
                  <a:lnTo>
                    <a:pt x="6" y="20"/>
                  </a:lnTo>
                  <a:lnTo>
                    <a:pt x="16" y="24"/>
                  </a:lnTo>
                  <a:lnTo>
                    <a:pt x="22" y="24"/>
                  </a:lnTo>
                  <a:lnTo>
                    <a:pt x="30" y="24"/>
                  </a:lnTo>
                  <a:lnTo>
                    <a:pt x="38" y="22"/>
                  </a:lnTo>
                  <a:lnTo>
                    <a:pt x="44" y="16"/>
                  </a:lnTo>
                  <a:lnTo>
                    <a:pt x="44" y="1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69" name="Freeform 56"/>
            <p:cNvSpPr>
              <a:spLocks/>
            </p:cNvSpPr>
            <p:nvPr/>
          </p:nvSpPr>
          <p:spPr bwMode="auto">
            <a:xfrm>
              <a:off x="7791450" y="1514475"/>
              <a:ext cx="587375" cy="333375"/>
            </a:xfrm>
            <a:custGeom>
              <a:avLst/>
              <a:gdLst>
                <a:gd name="T0" fmla="*/ 24 w 370"/>
                <a:gd name="T1" fmla="*/ 68 h 210"/>
                <a:gd name="T2" fmla="*/ 46 w 370"/>
                <a:gd name="T3" fmla="*/ 108 h 210"/>
                <a:gd name="T4" fmla="*/ 84 w 370"/>
                <a:gd name="T5" fmla="*/ 110 h 210"/>
                <a:gd name="T6" fmla="*/ 100 w 370"/>
                <a:gd name="T7" fmla="*/ 88 h 210"/>
                <a:gd name="T8" fmla="*/ 112 w 370"/>
                <a:gd name="T9" fmla="*/ 76 h 210"/>
                <a:gd name="T10" fmla="*/ 114 w 370"/>
                <a:gd name="T11" fmla="*/ 96 h 210"/>
                <a:gd name="T12" fmla="*/ 146 w 370"/>
                <a:gd name="T13" fmla="*/ 86 h 210"/>
                <a:gd name="T14" fmla="*/ 148 w 370"/>
                <a:gd name="T15" fmla="*/ 102 h 210"/>
                <a:gd name="T16" fmla="*/ 116 w 370"/>
                <a:gd name="T17" fmla="*/ 114 h 210"/>
                <a:gd name="T18" fmla="*/ 74 w 370"/>
                <a:gd name="T19" fmla="*/ 130 h 210"/>
                <a:gd name="T20" fmla="*/ 88 w 370"/>
                <a:gd name="T21" fmla="*/ 140 h 210"/>
                <a:gd name="T22" fmla="*/ 154 w 370"/>
                <a:gd name="T23" fmla="*/ 136 h 210"/>
                <a:gd name="T24" fmla="*/ 128 w 370"/>
                <a:gd name="T25" fmla="*/ 142 h 210"/>
                <a:gd name="T26" fmla="*/ 104 w 370"/>
                <a:gd name="T27" fmla="*/ 154 h 210"/>
                <a:gd name="T28" fmla="*/ 78 w 370"/>
                <a:gd name="T29" fmla="*/ 158 h 210"/>
                <a:gd name="T30" fmla="*/ 106 w 370"/>
                <a:gd name="T31" fmla="*/ 180 h 210"/>
                <a:gd name="T32" fmla="*/ 132 w 370"/>
                <a:gd name="T33" fmla="*/ 184 h 210"/>
                <a:gd name="T34" fmla="*/ 118 w 370"/>
                <a:gd name="T35" fmla="*/ 194 h 210"/>
                <a:gd name="T36" fmla="*/ 142 w 370"/>
                <a:gd name="T37" fmla="*/ 206 h 210"/>
                <a:gd name="T38" fmla="*/ 160 w 370"/>
                <a:gd name="T39" fmla="*/ 202 h 210"/>
                <a:gd name="T40" fmla="*/ 190 w 370"/>
                <a:gd name="T41" fmla="*/ 152 h 210"/>
                <a:gd name="T42" fmla="*/ 202 w 370"/>
                <a:gd name="T43" fmla="*/ 130 h 210"/>
                <a:gd name="T44" fmla="*/ 214 w 370"/>
                <a:gd name="T45" fmla="*/ 120 h 210"/>
                <a:gd name="T46" fmla="*/ 224 w 370"/>
                <a:gd name="T47" fmla="*/ 96 h 210"/>
                <a:gd name="T48" fmla="*/ 260 w 370"/>
                <a:gd name="T49" fmla="*/ 84 h 210"/>
                <a:gd name="T50" fmla="*/ 262 w 370"/>
                <a:gd name="T51" fmla="*/ 92 h 210"/>
                <a:gd name="T52" fmla="*/ 258 w 370"/>
                <a:gd name="T53" fmla="*/ 108 h 210"/>
                <a:gd name="T54" fmla="*/ 276 w 370"/>
                <a:gd name="T55" fmla="*/ 122 h 210"/>
                <a:gd name="T56" fmla="*/ 270 w 370"/>
                <a:gd name="T57" fmla="*/ 148 h 210"/>
                <a:gd name="T58" fmla="*/ 282 w 370"/>
                <a:gd name="T59" fmla="*/ 158 h 210"/>
                <a:gd name="T60" fmla="*/ 310 w 370"/>
                <a:gd name="T61" fmla="*/ 156 h 210"/>
                <a:gd name="T62" fmla="*/ 318 w 370"/>
                <a:gd name="T63" fmla="*/ 170 h 210"/>
                <a:gd name="T64" fmla="*/ 362 w 370"/>
                <a:gd name="T65" fmla="*/ 142 h 210"/>
                <a:gd name="T66" fmla="*/ 362 w 370"/>
                <a:gd name="T67" fmla="*/ 130 h 210"/>
                <a:gd name="T68" fmla="*/ 328 w 370"/>
                <a:gd name="T69" fmla="*/ 130 h 210"/>
                <a:gd name="T70" fmla="*/ 330 w 370"/>
                <a:gd name="T71" fmla="*/ 116 h 210"/>
                <a:gd name="T72" fmla="*/ 300 w 370"/>
                <a:gd name="T73" fmla="*/ 108 h 210"/>
                <a:gd name="T74" fmla="*/ 294 w 370"/>
                <a:gd name="T75" fmla="*/ 94 h 210"/>
                <a:gd name="T76" fmla="*/ 282 w 370"/>
                <a:gd name="T77" fmla="*/ 76 h 210"/>
                <a:gd name="T78" fmla="*/ 262 w 370"/>
                <a:gd name="T79" fmla="*/ 64 h 210"/>
                <a:gd name="T80" fmla="*/ 248 w 370"/>
                <a:gd name="T81" fmla="*/ 62 h 210"/>
                <a:gd name="T82" fmla="*/ 238 w 370"/>
                <a:gd name="T83" fmla="*/ 58 h 210"/>
                <a:gd name="T84" fmla="*/ 210 w 370"/>
                <a:gd name="T85" fmla="*/ 52 h 210"/>
                <a:gd name="T86" fmla="*/ 198 w 370"/>
                <a:gd name="T87" fmla="*/ 30 h 210"/>
                <a:gd name="T88" fmla="*/ 178 w 370"/>
                <a:gd name="T89" fmla="*/ 40 h 210"/>
                <a:gd name="T90" fmla="*/ 184 w 370"/>
                <a:gd name="T91" fmla="*/ 16 h 210"/>
                <a:gd name="T92" fmla="*/ 156 w 370"/>
                <a:gd name="T93" fmla="*/ 14 h 210"/>
                <a:gd name="T94" fmla="*/ 142 w 370"/>
                <a:gd name="T95" fmla="*/ 0 h 210"/>
                <a:gd name="T96" fmla="*/ 136 w 370"/>
                <a:gd name="T97" fmla="*/ 12 h 210"/>
                <a:gd name="T98" fmla="*/ 136 w 370"/>
                <a:gd name="T99" fmla="*/ 28 h 210"/>
                <a:gd name="T100" fmla="*/ 148 w 370"/>
                <a:gd name="T101" fmla="*/ 66 h 210"/>
                <a:gd name="T102" fmla="*/ 120 w 370"/>
                <a:gd name="T103" fmla="*/ 32 h 210"/>
                <a:gd name="T104" fmla="*/ 100 w 370"/>
                <a:gd name="T105" fmla="*/ 18 h 210"/>
                <a:gd name="T106" fmla="*/ 90 w 370"/>
                <a:gd name="T107" fmla="*/ 46 h 210"/>
                <a:gd name="T108" fmla="*/ 74 w 370"/>
                <a:gd name="T109" fmla="*/ 34 h 210"/>
                <a:gd name="T110" fmla="*/ 68 w 370"/>
                <a:gd name="T111" fmla="*/ 26 h 210"/>
                <a:gd name="T112" fmla="*/ 76 w 370"/>
                <a:gd name="T113" fmla="*/ 12 h 210"/>
                <a:gd name="T114" fmla="*/ 48 w 370"/>
                <a:gd name="T115" fmla="*/ 16 h 210"/>
                <a:gd name="T116" fmla="*/ 26 w 370"/>
                <a:gd name="T117" fmla="*/ 16 h 210"/>
                <a:gd name="T118" fmla="*/ 6 w 370"/>
                <a:gd name="T119" fmla="*/ 26 h 210"/>
                <a:gd name="T120" fmla="*/ 6 w 370"/>
                <a:gd name="T121" fmla="*/ 54 h 210"/>
                <a:gd name="T122" fmla="*/ 26 w 370"/>
                <a:gd name="T123" fmla="*/ 5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0" h="210">
                  <a:moveTo>
                    <a:pt x="34" y="50"/>
                  </a:moveTo>
                  <a:lnTo>
                    <a:pt x="34" y="50"/>
                  </a:lnTo>
                  <a:lnTo>
                    <a:pt x="36" y="52"/>
                  </a:lnTo>
                  <a:lnTo>
                    <a:pt x="36" y="54"/>
                  </a:lnTo>
                  <a:lnTo>
                    <a:pt x="32" y="60"/>
                  </a:lnTo>
                  <a:lnTo>
                    <a:pt x="24" y="68"/>
                  </a:lnTo>
                  <a:lnTo>
                    <a:pt x="18" y="78"/>
                  </a:lnTo>
                  <a:lnTo>
                    <a:pt x="18" y="78"/>
                  </a:lnTo>
                  <a:lnTo>
                    <a:pt x="18" y="82"/>
                  </a:lnTo>
                  <a:lnTo>
                    <a:pt x="20" y="86"/>
                  </a:lnTo>
                  <a:lnTo>
                    <a:pt x="26" y="94"/>
                  </a:lnTo>
                  <a:lnTo>
                    <a:pt x="46" y="108"/>
                  </a:lnTo>
                  <a:lnTo>
                    <a:pt x="46" y="108"/>
                  </a:lnTo>
                  <a:lnTo>
                    <a:pt x="50" y="110"/>
                  </a:lnTo>
                  <a:lnTo>
                    <a:pt x="54" y="112"/>
                  </a:lnTo>
                  <a:lnTo>
                    <a:pt x="64" y="114"/>
                  </a:lnTo>
                  <a:lnTo>
                    <a:pt x="76" y="112"/>
                  </a:lnTo>
                  <a:lnTo>
                    <a:pt x="84" y="110"/>
                  </a:lnTo>
                  <a:lnTo>
                    <a:pt x="84" y="110"/>
                  </a:lnTo>
                  <a:lnTo>
                    <a:pt x="88" y="104"/>
                  </a:lnTo>
                  <a:lnTo>
                    <a:pt x="90" y="98"/>
                  </a:lnTo>
                  <a:lnTo>
                    <a:pt x="94" y="92"/>
                  </a:lnTo>
                  <a:lnTo>
                    <a:pt x="96" y="90"/>
                  </a:lnTo>
                  <a:lnTo>
                    <a:pt x="100" y="88"/>
                  </a:lnTo>
                  <a:lnTo>
                    <a:pt x="100" y="88"/>
                  </a:lnTo>
                  <a:lnTo>
                    <a:pt x="104" y="88"/>
                  </a:lnTo>
                  <a:lnTo>
                    <a:pt x="106" y="84"/>
                  </a:lnTo>
                  <a:lnTo>
                    <a:pt x="108" y="80"/>
                  </a:lnTo>
                  <a:lnTo>
                    <a:pt x="112" y="76"/>
                  </a:lnTo>
                  <a:lnTo>
                    <a:pt x="112" y="76"/>
                  </a:lnTo>
                  <a:lnTo>
                    <a:pt x="118" y="76"/>
                  </a:lnTo>
                  <a:lnTo>
                    <a:pt x="120" y="80"/>
                  </a:lnTo>
                  <a:lnTo>
                    <a:pt x="120" y="86"/>
                  </a:lnTo>
                  <a:lnTo>
                    <a:pt x="116" y="94"/>
                  </a:lnTo>
                  <a:lnTo>
                    <a:pt x="116" y="94"/>
                  </a:lnTo>
                  <a:lnTo>
                    <a:pt x="114" y="96"/>
                  </a:lnTo>
                  <a:lnTo>
                    <a:pt x="114" y="98"/>
                  </a:lnTo>
                  <a:lnTo>
                    <a:pt x="120" y="98"/>
                  </a:lnTo>
                  <a:lnTo>
                    <a:pt x="130" y="96"/>
                  </a:lnTo>
                  <a:lnTo>
                    <a:pt x="138" y="90"/>
                  </a:lnTo>
                  <a:lnTo>
                    <a:pt x="138" y="90"/>
                  </a:lnTo>
                  <a:lnTo>
                    <a:pt x="146" y="86"/>
                  </a:lnTo>
                  <a:lnTo>
                    <a:pt x="148" y="86"/>
                  </a:lnTo>
                  <a:lnTo>
                    <a:pt x="150" y="88"/>
                  </a:lnTo>
                  <a:lnTo>
                    <a:pt x="150" y="92"/>
                  </a:lnTo>
                  <a:lnTo>
                    <a:pt x="150" y="100"/>
                  </a:lnTo>
                  <a:lnTo>
                    <a:pt x="150" y="100"/>
                  </a:lnTo>
                  <a:lnTo>
                    <a:pt x="148" y="102"/>
                  </a:lnTo>
                  <a:lnTo>
                    <a:pt x="144" y="104"/>
                  </a:lnTo>
                  <a:lnTo>
                    <a:pt x="136" y="106"/>
                  </a:lnTo>
                  <a:lnTo>
                    <a:pt x="126" y="110"/>
                  </a:lnTo>
                  <a:lnTo>
                    <a:pt x="120" y="112"/>
                  </a:lnTo>
                  <a:lnTo>
                    <a:pt x="116" y="114"/>
                  </a:lnTo>
                  <a:lnTo>
                    <a:pt x="116" y="114"/>
                  </a:lnTo>
                  <a:lnTo>
                    <a:pt x="114" y="118"/>
                  </a:lnTo>
                  <a:lnTo>
                    <a:pt x="108" y="120"/>
                  </a:lnTo>
                  <a:lnTo>
                    <a:pt x="96" y="122"/>
                  </a:lnTo>
                  <a:lnTo>
                    <a:pt x="84" y="124"/>
                  </a:lnTo>
                  <a:lnTo>
                    <a:pt x="78" y="126"/>
                  </a:lnTo>
                  <a:lnTo>
                    <a:pt x="74" y="130"/>
                  </a:lnTo>
                  <a:lnTo>
                    <a:pt x="74" y="130"/>
                  </a:lnTo>
                  <a:lnTo>
                    <a:pt x="72" y="134"/>
                  </a:lnTo>
                  <a:lnTo>
                    <a:pt x="72" y="136"/>
                  </a:lnTo>
                  <a:lnTo>
                    <a:pt x="74" y="138"/>
                  </a:lnTo>
                  <a:lnTo>
                    <a:pt x="76" y="140"/>
                  </a:lnTo>
                  <a:lnTo>
                    <a:pt x="88" y="140"/>
                  </a:lnTo>
                  <a:lnTo>
                    <a:pt x="98" y="140"/>
                  </a:lnTo>
                  <a:lnTo>
                    <a:pt x="98" y="140"/>
                  </a:lnTo>
                  <a:lnTo>
                    <a:pt x="128" y="136"/>
                  </a:lnTo>
                  <a:lnTo>
                    <a:pt x="142" y="136"/>
                  </a:lnTo>
                  <a:lnTo>
                    <a:pt x="154" y="136"/>
                  </a:lnTo>
                  <a:lnTo>
                    <a:pt x="154" y="136"/>
                  </a:lnTo>
                  <a:lnTo>
                    <a:pt x="156" y="138"/>
                  </a:lnTo>
                  <a:lnTo>
                    <a:pt x="156" y="138"/>
                  </a:lnTo>
                  <a:lnTo>
                    <a:pt x="152" y="140"/>
                  </a:lnTo>
                  <a:lnTo>
                    <a:pt x="142" y="142"/>
                  </a:lnTo>
                  <a:lnTo>
                    <a:pt x="128" y="142"/>
                  </a:lnTo>
                  <a:lnTo>
                    <a:pt x="128" y="142"/>
                  </a:lnTo>
                  <a:lnTo>
                    <a:pt x="118" y="144"/>
                  </a:lnTo>
                  <a:lnTo>
                    <a:pt x="110" y="146"/>
                  </a:lnTo>
                  <a:lnTo>
                    <a:pt x="106" y="150"/>
                  </a:lnTo>
                  <a:lnTo>
                    <a:pt x="104" y="152"/>
                  </a:lnTo>
                  <a:lnTo>
                    <a:pt x="104" y="152"/>
                  </a:lnTo>
                  <a:lnTo>
                    <a:pt x="104" y="154"/>
                  </a:lnTo>
                  <a:lnTo>
                    <a:pt x="102" y="154"/>
                  </a:lnTo>
                  <a:lnTo>
                    <a:pt x="92" y="154"/>
                  </a:lnTo>
                  <a:lnTo>
                    <a:pt x="84" y="154"/>
                  </a:lnTo>
                  <a:lnTo>
                    <a:pt x="80" y="156"/>
                  </a:lnTo>
                  <a:lnTo>
                    <a:pt x="78" y="158"/>
                  </a:lnTo>
                  <a:lnTo>
                    <a:pt x="78" y="158"/>
                  </a:lnTo>
                  <a:lnTo>
                    <a:pt x="80" y="162"/>
                  </a:lnTo>
                  <a:lnTo>
                    <a:pt x="82" y="166"/>
                  </a:lnTo>
                  <a:lnTo>
                    <a:pt x="90" y="170"/>
                  </a:lnTo>
                  <a:lnTo>
                    <a:pt x="100" y="176"/>
                  </a:lnTo>
                  <a:lnTo>
                    <a:pt x="104" y="178"/>
                  </a:lnTo>
                  <a:lnTo>
                    <a:pt x="106" y="180"/>
                  </a:lnTo>
                  <a:lnTo>
                    <a:pt x="106" y="180"/>
                  </a:lnTo>
                  <a:lnTo>
                    <a:pt x="108" y="182"/>
                  </a:lnTo>
                  <a:lnTo>
                    <a:pt x="110" y="184"/>
                  </a:lnTo>
                  <a:lnTo>
                    <a:pt x="118" y="184"/>
                  </a:lnTo>
                  <a:lnTo>
                    <a:pt x="126" y="182"/>
                  </a:lnTo>
                  <a:lnTo>
                    <a:pt x="132" y="184"/>
                  </a:lnTo>
                  <a:lnTo>
                    <a:pt x="132" y="184"/>
                  </a:lnTo>
                  <a:lnTo>
                    <a:pt x="134" y="184"/>
                  </a:lnTo>
                  <a:lnTo>
                    <a:pt x="134" y="186"/>
                  </a:lnTo>
                  <a:lnTo>
                    <a:pt x="128" y="188"/>
                  </a:lnTo>
                  <a:lnTo>
                    <a:pt x="118" y="194"/>
                  </a:lnTo>
                  <a:lnTo>
                    <a:pt x="118" y="194"/>
                  </a:lnTo>
                  <a:lnTo>
                    <a:pt x="118" y="194"/>
                  </a:lnTo>
                  <a:lnTo>
                    <a:pt x="120" y="196"/>
                  </a:lnTo>
                  <a:lnTo>
                    <a:pt x="128" y="198"/>
                  </a:lnTo>
                  <a:lnTo>
                    <a:pt x="136" y="202"/>
                  </a:lnTo>
                  <a:lnTo>
                    <a:pt x="142" y="206"/>
                  </a:lnTo>
                  <a:lnTo>
                    <a:pt x="142" y="206"/>
                  </a:lnTo>
                  <a:lnTo>
                    <a:pt x="146" y="210"/>
                  </a:lnTo>
                  <a:lnTo>
                    <a:pt x="152" y="210"/>
                  </a:lnTo>
                  <a:lnTo>
                    <a:pt x="158" y="206"/>
                  </a:lnTo>
                  <a:lnTo>
                    <a:pt x="158" y="204"/>
                  </a:lnTo>
                  <a:lnTo>
                    <a:pt x="160" y="202"/>
                  </a:lnTo>
                  <a:lnTo>
                    <a:pt x="160" y="202"/>
                  </a:lnTo>
                  <a:lnTo>
                    <a:pt x="162" y="190"/>
                  </a:lnTo>
                  <a:lnTo>
                    <a:pt x="168" y="176"/>
                  </a:lnTo>
                  <a:lnTo>
                    <a:pt x="178" y="162"/>
                  </a:lnTo>
                  <a:lnTo>
                    <a:pt x="184" y="156"/>
                  </a:lnTo>
                  <a:lnTo>
                    <a:pt x="190" y="152"/>
                  </a:lnTo>
                  <a:lnTo>
                    <a:pt x="190" y="152"/>
                  </a:lnTo>
                  <a:lnTo>
                    <a:pt x="200" y="148"/>
                  </a:lnTo>
                  <a:lnTo>
                    <a:pt x="202" y="144"/>
                  </a:lnTo>
                  <a:lnTo>
                    <a:pt x="202" y="142"/>
                  </a:lnTo>
                  <a:lnTo>
                    <a:pt x="200" y="136"/>
                  </a:lnTo>
                  <a:lnTo>
                    <a:pt x="202" y="130"/>
                  </a:lnTo>
                  <a:lnTo>
                    <a:pt x="202" y="130"/>
                  </a:lnTo>
                  <a:lnTo>
                    <a:pt x="202" y="126"/>
                  </a:lnTo>
                  <a:lnTo>
                    <a:pt x="204" y="124"/>
                  </a:lnTo>
                  <a:lnTo>
                    <a:pt x="210" y="124"/>
                  </a:lnTo>
                  <a:lnTo>
                    <a:pt x="214" y="122"/>
                  </a:lnTo>
                  <a:lnTo>
                    <a:pt x="214" y="122"/>
                  </a:lnTo>
                  <a:lnTo>
                    <a:pt x="214" y="120"/>
                  </a:lnTo>
                  <a:lnTo>
                    <a:pt x="214" y="120"/>
                  </a:lnTo>
                  <a:lnTo>
                    <a:pt x="212" y="114"/>
                  </a:lnTo>
                  <a:lnTo>
                    <a:pt x="212" y="108"/>
                  </a:lnTo>
                  <a:lnTo>
                    <a:pt x="216" y="104"/>
                  </a:lnTo>
                  <a:lnTo>
                    <a:pt x="224" y="96"/>
                  </a:lnTo>
                  <a:lnTo>
                    <a:pt x="224" y="96"/>
                  </a:lnTo>
                  <a:lnTo>
                    <a:pt x="232" y="90"/>
                  </a:lnTo>
                  <a:lnTo>
                    <a:pt x="238" y="90"/>
                  </a:lnTo>
                  <a:lnTo>
                    <a:pt x="246" y="90"/>
                  </a:lnTo>
                  <a:lnTo>
                    <a:pt x="256" y="86"/>
                  </a:lnTo>
                  <a:lnTo>
                    <a:pt x="256" y="86"/>
                  </a:lnTo>
                  <a:lnTo>
                    <a:pt x="260" y="84"/>
                  </a:lnTo>
                  <a:lnTo>
                    <a:pt x="264" y="84"/>
                  </a:lnTo>
                  <a:lnTo>
                    <a:pt x="270" y="86"/>
                  </a:lnTo>
                  <a:lnTo>
                    <a:pt x="270" y="88"/>
                  </a:lnTo>
                  <a:lnTo>
                    <a:pt x="268" y="90"/>
                  </a:lnTo>
                  <a:lnTo>
                    <a:pt x="266" y="92"/>
                  </a:lnTo>
                  <a:lnTo>
                    <a:pt x="262" y="92"/>
                  </a:lnTo>
                  <a:lnTo>
                    <a:pt x="262" y="92"/>
                  </a:lnTo>
                  <a:lnTo>
                    <a:pt x="258" y="94"/>
                  </a:lnTo>
                  <a:lnTo>
                    <a:pt x="254" y="96"/>
                  </a:lnTo>
                  <a:lnTo>
                    <a:pt x="254" y="98"/>
                  </a:lnTo>
                  <a:lnTo>
                    <a:pt x="254" y="102"/>
                  </a:lnTo>
                  <a:lnTo>
                    <a:pt x="258" y="108"/>
                  </a:lnTo>
                  <a:lnTo>
                    <a:pt x="266" y="114"/>
                  </a:lnTo>
                  <a:lnTo>
                    <a:pt x="266" y="114"/>
                  </a:lnTo>
                  <a:lnTo>
                    <a:pt x="270" y="116"/>
                  </a:lnTo>
                  <a:lnTo>
                    <a:pt x="272" y="118"/>
                  </a:lnTo>
                  <a:lnTo>
                    <a:pt x="272" y="122"/>
                  </a:lnTo>
                  <a:lnTo>
                    <a:pt x="276" y="122"/>
                  </a:lnTo>
                  <a:lnTo>
                    <a:pt x="276" y="122"/>
                  </a:lnTo>
                  <a:lnTo>
                    <a:pt x="278" y="124"/>
                  </a:lnTo>
                  <a:lnTo>
                    <a:pt x="280" y="126"/>
                  </a:lnTo>
                  <a:lnTo>
                    <a:pt x="280" y="132"/>
                  </a:lnTo>
                  <a:lnTo>
                    <a:pt x="278" y="140"/>
                  </a:lnTo>
                  <a:lnTo>
                    <a:pt x="270" y="148"/>
                  </a:lnTo>
                  <a:lnTo>
                    <a:pt x="270" y="148"/>
                  </a:lnTo>
                  <a:lnTo>
                    <a:pt x="268" y="152"/>
                  </a:lnTo>
                  <a:lnTo>
                    <a:pt x="266" y="156"/>
                  </a:lnTo>
                  <a:lnTo>
                    <a:pt x="268" y="158"/>
                  </a:lnTo>
                  <a:lnTo>
                    <a:pt x="270" y="158"/>
                  </a:lnTo>
                  <a:lnTo>
                    <a:pt x="282" y="158"/>
                  </a:lnTo>
                  <a:lnTo>
                    <a:pt x="296" y="154"/>
                  </a:lnTo>
                  <a:lnTo>
                    <a:pt x="296" y="154"/>
                  </a:lnTo>
                  <a:lnTo>
                    <a:pt x="304" y="152"/>
                  </a:lnTo>
                  <a:lnTo>
                    <a:pt x="308" y="152"/>
                  </a:lnTo>
                  <a:lnTo>
                    <a:pt x="310" y="154"/>
                  </a:lnTo>
                  <a:lnTo>
                    <a:pt x="310" y="156"/>
                  </a:lnTo>
                  <a:lnTo>
                    <a:pt x="310" y="162"/>
                  </a:lnTo>
                  <a:lnTo>
                    <a:pt x="310" y="166"/>
                  </a:lnTo>
                  <a:lnTo>
                    <a:pt x="312" y="168"/>
                  </a:lnTo>
                  <a:lnTo>
                    <a:pt x="312" y="168"/>
                  </a:lnTo>
                  <a:lnTo>
                    <a:pt x="314" y="170"/>
                  </a:lnTo>
                  <a:lnTo>
                    <a:pt x="318" y="170"/>
                  </a:lnTo>
                  <a:lnTo>
                    <a:pt x="328" y="166"/>
                  </a:lnTo>
                  <a:lnTo>
                    <a:pt x="338" y="160"/>
                  </a:lnTo>
                  <a:lnTo>
                    <a:pt x="346" y="152"/>
                  </a:lnTo>
                  <a:lnTo>
                    <a:pt x="346" y="152"/>
                  </a:lnTo>
                  <a:lnTo>
                    <a:pt x="354" y="146"/>
                  </a:lnTo>
                  <a:lnTo>
                    <a:pt x="362" y="142"/>
                  </a:lnTo>
                  <a:lnTo>
                    <a:pt x="368" y="140"/>
                  </a:lnTo>
                  <a:lnTo>
                    <a:pt x="370" y="138"/>
                  </a:lnTo>
                  <a:lnTo>
                    <a:pt x="370" y="136"/>
                  </a:lnTo>
                  <a:lnTo>
                    <a:pt x="370" y="136"/>
                  </a:lnTo>
                  <a:lnTo>
                    <a:pt x="368" y="132"/>
                  </a:lnTo>
                  <a:lnTo>
                    <a:pt x="362" y="130"/>
                  </a:lnTo>
                  <a:lnTo>
                    <a:pt x="356" y="130"/>
                  </a:lnTo>
                  <a:lnTo>
                    <a:pt x="350" y="132"/>
                  </a:lnTo>
                  <a:lnTo>
                    <a:pt x="350" y="132"/>
                  </a:lnTo>
                  <a:lnTo>
                    <a:pt x="342" y="132"/>
                  </a:lnTo>
                  <a:lnTo>
                    <a:pt x="334" y="132"/>
                  </a:lnTo>
                  <a:lnTo>
                    <a:pt x="328" y="130"/>
                  </a:lnTo>
                  <a:lnTo>
                    <a:pt x="326" y="128"/>
                  </a:lnTo>
                  <a:lnTo>
                    <a:pt x="328" y="126"/>
                  </a:lnTo>
                  <a:lnTo>
                    <a:pt x="328" y="126"/>
                  </a:lnTo>
                  <a:lnTo>
                    <a:pt x="332" y="122"/>
                  </a:lnTo>
                  <a:lnTo>
                    <a:pt x="332" y="118"/>
                  </a:lnTo>
                  <a:lnTo>
                    <a:pt x="330" y="116"/>
                  </a:lnTo>
                  <a:lnTo>
                    <a:pt x="324" y="114"/>
                  </a:lnTo>
                  <a:lnTo>
                    <a:pt x="324" y="114"/>
                  </a:lnTo>
                  <a:lnTo>
                    <a:pt x="314" y="114"/>
                  </a:lnTo>
                  <a:lnTo>
                    <a:pt x="306" y="112"/>
                  </a:lnTo>
                  <a:lnTo>
                    <a:pt x="300" y="110"/>
                  </a:lnTo>
                  <a:lnTo>
                    <a:pt x="300" y="108"/>
                  </a:lnTo>
                  <a:lnTo>
                    <a:pt x="302" y="106"/>
                  </a:lnTo>
                  <a:lnTo>
                    <a:pt x="302" y="106"/>
                  </a:lnTo>
                  <a:lnTo>
                    <a:pt x="304" y="106"/>
                  </a:lnTo>
                  <a:lnTo>
                    <a:pt x="304" y="104"/>
                  </a:lnTo>
                  <a:lnTo>
                    <a:pt x="300" y="98"/>
                  </a:lnTo>
                  <a:lnTo>
                    <a:pt x="294" y="94"/>
                  </a:lnTo>
                  <a:lnTo>
                    <a:pt x="286" y="92"/>
                  </a:lnTo>
                  <a:lnTo>
                    <a:pt x="286" y="92"/>
                  </a:lnTo>
                  <a:lnTo>
                    <a:pt x="282" y="90"/>
                  </a:lnTo>
                  <a:lnTo>
                    <a:pt x="280" y="86"/>
                  </a:lnTo>
                  <a:lnTo>
                    <a:pt x="282" y="76"/>
                  </a:lnTo>
                  <a:lnTo>
                    <a:pt x="282" y="76"/>
                  </a:lnTo>
                  <a:lnTo>
                    <a:pt x="280" y="74"/>
                  </a:lnTo>
                  <a:lnTo>
                    <a:pt x="278" y="72"/>
                  </a:lnTo>
                  <a:lnTo>
                    <a:pt x="270" y="68"/>
                  </a:lnTo>
                  <a:lnTo>
                    <a:pt x="264" y="66"/>
                  </a:lnTo>
                  <a:lnTo>
                    <a:pt x="262" y="66"/>
                  </a:lnTo>
                  <a:lnTo>
                    <a:pt x="262" y="64"/>
                  </a:lnTo>
                  <a:lnTo>
                    <a:pt x="262" y="64"/>
                  </a:lnTo>
                  <a:lnTo>
                    <a:pt x="262" y="64"/>
                  </a:lnTo>
                  <a:lnTo>
                    <a:pt x="262" y="62"/>
                  </a:lnTo>
                  <a:lnTo>
                    <a:pt x="258" y="60"/>
                  </a:lnTo>
                  <a:lnTo>
                    <a:pt x="252" y="60"/>
                  </a:lnTo>
                  <a:lnTo>
                    <a:pt x="248" y="62"/>
                  </a:lnTo>
                  <a:lnTo>
                    <a:pt x="248" y="62"/>
                  </a:lnTo>
                  <a:lnTo>
                    <a:pt x="244" y="64"/>
                  </a:lnTo>
                  <a:lnTo>
                    <a:pt x="242" y="64"/>
                  </a:lnTo>
                  <a:lnTo>
                    <a:pt x="238" y="62"/>
                  </a:lnTo>
                  <a:lnTo>
                    <a:pt x="238" y="58"/>
                  </a:lnTo>
                  <a:lnTo>
                    <a:pt x="238" y="58"/>
                  </a:lnTo>
                  <a:lnTo>
                    <a:pt x="236" y="56"/>
                  </a:lnTo>
                  <a:lnTo>
                    <a:pt x="234" y="54"/>
                  </a:lnTo>
                  <a:lnTo>
                    <a:pt x="228" y="52"/>
                  </a:lnTo>
                  <a:lnTo>
                    <a:pt x="212" y="52"/>
                  </a:lnTo>
                  <a:lnTo>
                    <a:pt x="212" y="52"/>
                  </a:lnTo>
                  <a:lnTo>
                    <a:pt x="210" y="52"/>
                  </a:lnTo>
                  <a:lnTo>
                    <a:pt x="208" y="50"/>
                  </a:lnTo>
                  <a:lnTo>
                    <a:pt x="206" y="44"/>
                  </a:lnTo>
                  <a:lnTo>
                    <a:pt x="204" y="38"/>
                  </a:lnTo>
                  <a:lnTo>
                    <a:pt x="202" y="32"/>
                  </a:lnTo>
                  <a:lnTo>
                    <a:pt x="202" y="32"/>
                  </a:lnTo>
                  <a:lnTo>
                    <a:pt x="198" y="30"/>
                  </a:lnTo>
                  <a:lnTo>
                    <a:pt x="196" y="30"/>
                  </a:lnTo>
                  <a:lnTo>
                    <a:pt x="190" y="34"/>
                  </a:lnTo>
                  <a:lnTo>
                    <a:pt x="184" y="40"/>
                  </a:lnTo>
                  <a:lnTo>
                    <a:pt x="178" y="42"/>
                  </a:lnTo>
                  <a:lnTo>
                    <a:pt x="178" y="42"/>
                  </a:lnTo>
                  <a:lnTo>
                    <a:pt x="178" y="40"/>
                  </a:lnTo>
                  <a:lnTo>
                    <a:pt x="178" y="38"/>
                  </a:lnTo>
                  <a:lnTo>
                    <a:pt x="180" y="34"/>
                  </a:lnTo>
                  <a:lnTo>
                    <a:pt x="186" y="22"/>
                  </a:lnTo>
                  <a:lnTo>
                    <a:pt x="186" y="22"/>
                  </a:lnTo>
                  <a:lnTo>
                    <a:pt x="186" y="18"/>
                  </a:lnTo>
                  <a:lnTo>
                    <a:pt x="184" y="16"/>
                  </a:lnTo>
                  <a:lnTo>
                    <a:pt x="174" y="12"/>
                  </a:lnTo>
                  <a:lnTo>
                    <a:pt x="164" y="10"/>
                  </a:lnTo>
                  <a:lnTo>
                    <a:pt x="160" y="10"/>
                  </a:lnTo>
                  <a:lnTo>
                    <a:pt x="158" y="12"/>
                  </a:lnTo>
                  <a:lnTo>
                    <a:pt x="158" y="12"/>
                  </a:lnTo>
                  <a:lnTo>
                    <a:pt x="156" y="14"/>
                  </a:lnTo>
                  <a:lnTo>
                    <a:pt x="154" y="14"/>
                  </a:lnTo>
                  <a:lnTo>
                    <a:pt x="152" y="10"/>
                  </a:lnTo>
                  <a:lnTo>
                    <a:pt x="148" y="4"/>
                  </a:lnTo>
                  <a:lnTo>
                    <a:pt x="142" y="0"/>
                  </a:lnTo>
                  <a:lnTo>
                    <a:pt x="142" y="0"/>
                  </a:lnTo>
                  <a:lnTo>
                    <a:pt x="142" y="0"/>
                  </a:lnTo>
                  <a:lnTo>
                    <a:pt x="140" y="0"/>
                  </a:lnTo>
                  <a:lnTo>
                    <a:pt x="140" y="4"/>
                  </a:lnTo>
                  <a:lnTo>
                    <a:pt x="138" y="10"/>
                  </a:lnTo>
                  <a:lnTo>
                    <a:pt x="138" y="12"/>
                  </a:lnTo>
                  <a:lnTo>
                    <a:pt x="136" y="12"/>
                  </a:lnTo>
                  <a:lnTo>
                    <a:pt x="136" y="12"/>
                  </a:lnTo>
                  <a:lnTo>
                    <a:pt x="132" y="14"/>
                  </a:lnTo>
                  <a:lnTo>
                    <a:pt x="130" y="18"/>
                  </a:lnTo>
                  <a:lnTo>
                    <a:pt x="128" y="22"/>
                  </a:lnTo>
                  <a:lnTo>
                    <a:pt x="132" y="26"/>
                  </a:lnTo>
                  <a:lnTo>
                    <a:pt x="132" y="26"/>
                  </a:lnTo>
                  <a:lnTo>
                    <a:pt x="136" y="28"/>
                  </a:lnTo>
                  <a:lnTo>
                    <a:pt x="140" y="34"/>
                  </a:lnTo>
                  <a:lnTo>
                    <a:pt x="146" y="46"/>
                  </a:lnTo>
                  <a:lnTo>
                    <a:pt x="148" y="58"/>
                  </a:lnTo>
                  <a:lnTo>
                    <a:pt x="150" y="66"/>
                  </a:lnTo>
                  <a:lnTo>
                    <a:pt x="150" y="66"/>
                  </a:lnTo>
                  <a:lnTo>
                    <a:pt x="148" y="66"/>
                  </a:lnTo>
                  <a:lnTo>
                    <a:pt x="144" y="64"/>
                  </a:lnTo>
                  <a:lnTo>
                    <a:pt x="134" y="56"/>
                  </a:lnTo>
                  <a:lnTo>
                    <a:pt x="124" y="44"/>
                  </a:lnTo>
                  <a:lnTo>
                    <a:pt x="122" y="38"/>
                  </a:lnTo>
                  <a:lnTo>
                    <a:pt x="120" y="32"/>
                  </a:lnTo>
                  <a:lnTo>
                    <a:pt x="120" y="32"/>
                  </a:lnTo>
                  <a:lnTo>
                    <a:pt x="116" y="24"/>
                  </a:lnTo>
                  <a:lnTo>
                    <a:pt x="110" y="16"/>
                  </a:lnTo>
                  <a:lnTo>
                    <a:pt x="104" y="14"/>
                  </a:lnTo>
                  <a:lnTo>
                    <a:pt x="102" y="16"/>
                  </a:lnTo>
                  <a:lnTo>
                    <a:pt x="100" y="18"/>
                  </a:lnTo>
                  <a:lnTo>
                    <a:pt x="100" y="18"/>
                  </a:lnTo>
                  <a:lnTo>
                    <a:pt x="98" y="24"/>
                  </a:lnTo>
                  <a:lnTo>
                    <a:pt x="92" y="30"/>
                  </a:lnTo>
                  <a:lnTo>
                    <a:pt x="90" y="34"/>
                  </a:lnTo>
                  <a:lnTo>
                    <a:pt x="90" y="40"/>
                  </a:lnTo>
                  <a:lnTo>
                    <a:pt x="90" y="40"/>
                  </a:lnTo>
                  <a:lnTo>
                    <a:pt x="90" y="46"/>
                  </a:lnTo>
                  <a:lnTo>
                    <a:pt x="88" y="48"/>
                  </a:lnTo>
                  <a:lnTo>
                    <a:pt x="84" y="48"/>
                  </a:lnTo>
                  <a:lnTo>
                    <a:pt x="82" y="44"/>
                  </a:lnTo>
                  <a:lnTo>
                    <a:pt x="82" y="44"/>
                  </a:lnTo>
                  <a:lnTo>
                    <a:pt x="80" y="40"/>
                  </a:lnTo>
                  <a:lnTo>
                    <a:pt x="74" y="34"/>
                  </a:lnTo>
                  <a:lnTo>
                    <a:pt x="68" y="30"/>
                  </a:lnTo>
                  <a:lnTo>
                    <a:pt x="62" y="28"/>
                  </a:lnTo>
                  <a:lnTo>
                    <a:pt x="62" y="28"/>
                  </a:lnTo>
                  <a:lnTo>
                    <a:pt x="62" y="28"/>
                  </a:lnTo>
                  <a:lnTo>
                    <a:pt x="62" y="28"/>
                  </a:lnTo>
                  <a:lnTo>
                    <a:pt x="68" y="26"/>
                  </a:lnTo>
                  <a:lnTo>
                    <a:pt x="84" y="20"/>
                  </a:lnTo>
                  <a:lnTo>
                    <a:pt x="84" y="20"/>
                  </a:lnTo>
                  <a:lnTo>
                    <a:pt x="88" y="18"/>
                  </a:lnTo>
                  <a:lnTo>
                    <a:pt x="88" y="16"/>
                  </a:lnTo>
                  <a:lnTo>
                    <a:pt x="84" y="14"/>
                  </a:lnTo>
                  <a:lnTo>
                    <a:pt x="76" y="12"/>
                  </a:lnTo>
                  <a:lnTo>
                    <a:pt x="70" y="14"/>
                  </a:lnTo>
                  <a:lnTo>
                    <a:pt x="70" y="14"/>
                  </a:lnTo>
                  <a:lnTo>
                    <a:pt x="64" y="16"/>
                  </a:lnTo>
                  <a:lnTo>
                    <a:pt x="56" y="16"/>
                  </a:lnTo>
                  <a:lnTo>
                    <a:pt x="50" y="16"/>
                  </a:lnTo>
                  <a:lnTo>
                    <a:pt x="48" y="16"/>
                  </a:lnTo>
                  <a:lnTo>
                    <a:pt x="46" y="18"/>
                  </a:lnTo>
                  <a:lnTo>
                    <a:pt x="46" y="18"/>
                  </a:lnTo>
                  <a:lnTo>
                    <a:pt x="42" y="20"/>
                  </a:lnTo>
                  <a:lnTo>
                    <a:pt x="38" y="20"/>
                  </a:lnTo>
                  <a:lnTo>
                    <a:pt x="26" y="16"/>
                  </a:lnTo>
                  <a:lnTo>
                    <a:pt x="26" y="16"/>
                  </a:lnTo>
                  <a:lnTo>
                    <a:pt x="24" y="16"/>
                  </a:lnTo>
                  <a:lnTo>
                    <a:pt x="20" y="18"/>
                  </a:lnTo>
                  <a:lnTo>
                    <a:pt x="16" y="22"/>
                  </a:lnTo>
                  <a:lnTo>
                    <a:pt x="10" y="26"/>
                  </a:lnTo>
                  <a:lnTo>
                    <a:pt x="8" y="26"/>
                  </a:lnTo>
                  <a:lnTo>
                    <a:pt x="6" y="26"/>
                  </a:lnTo>
                  <a:lnTo>
                    <a:pt x="6" y="26"/>
                  </a:lnTo>
                  <a:lnTo>
                    <a:pt x="4" y="26"/>
                  </a:lnTo>
                  <a:lnTo>
                    <a:pt x="2" y="28"/>
                  </a:lnTo>
                  <a:lnTo>
                    <a:pt x="0" y="34"/>
                  </a:lnTo>
                  <a:lnTo>
                    <a:pt x="0" y="42"/>
                  </a:lnTo>
                  <a:lnTo>
                    <a:pt x="6" y="54"/>
                  </a:lnTo>
                  <a:lnTo>
                    <a:pt x="6" y="54"/>
                  </a:lnTo>
                  <a:lnTo>
                    <a:pt x="8" y="58"/>
                  </a:lnTo>
                  <a:lnTo>
                    <a:pt x="12" y="58"/>
                  </a:lnTo>
                  <a:lnTo>
                    <a:pt x="16" y="58"/>
                  </a:lnTo>
                  <a:lnTo>
                    <a:pt x="18" y="56"/>
                  </a:lnTo>
                  <a:lnTo>
                    <a:pt x="26" y="52"/>
                  </a:lnTo>
                  <a:lnTo>
                    <a:pt x="30" y="50"/>
                  </a:lnTo>
                  <a:lnTo>
                    <a:pt x="34" y="50"/>
                  </a:lnTo>
                  <a:lnTo>
                    <a:pt x="34" y="5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0" name="Freeform 57"/>
            <p:cNvSpPr>
              <a:spLocks/>
            </p:cNvSpPr>
            <p:nvPr/>
          </p:nvSpPr>
          <p:spPr bwMode="auto">
            <a:xfrm>
              <a:off x="9398000" y="2444750"/>
              <a:ext cx="95250" cy="57150"/>
            </a:xfrm>
            <a:custGeom>
              <a:avLst/>
              <a:gdLst>
                <a:gd name="T0" fmla="*/ 6 w 60"/>
                <a:gd name="T1" fmla="*/ 28 h 36"/>
                <a:gd name="T2" fmla="*/ 6 w 60"/>
                <a:gd name="T3" fmla="*/ 28 h 36"/>
                <a:gd name="T4" fmla="*/ 14 w 60"/>
                <a:gd name="T5" fmla="*/ 34 h 36"/>
                <a:gd name="T6" fmla="*/ 20 w 60"/>
                <a:gd name="T7" fmla="*/ 36 h 36"/>
                <a:gd name="T8" fmla="*/ 28 w 60"/>
                <a:gd name="T9" fmla="*/ 34 h 36"/>
                <a:gd name="T10" fmla="*/ 34 w 60"/>
                <a:gd name="T11" fmla="*/ 32 h 36"/>
                <a:gd name="T12" fmla="*/ 46 w 60"/>
                <a:gd name="T13" fmla="*/ 22 h 36"/>
                <a:gd name="T14" fmla="*/ 52 w 60"/>
                <a:gd name="T15" fmla="*/ 20 h 36"/>
                <a:gd name="T16" fmla="*/ 56 w 60"/>
                <a:gd name="T17" fmla="*/ 18 h 36"/>
                <a:gd name="T18" fmla="*/ 56 w 60"/>
                <a:gd name="T19" fmla="*/ 18 h 36"/>
                <a:gd name="T20" fmla="*/ 58 w 60"/>
                <a:gd name="T21" fmla="*/ 16 h 36"/>
                <a:gd name="T22" fmla="*/ 60 w 60"/>
                <a:gd name="T23" fmla="*/ 14 h 36"/>
                <a:gd name="T24" fmla="*/ 54 w 60"/>
                <a:gd name="T25" fmla="*/ 10 h 36"/>
                <a:gd name="T26" fmla="*/ 44 w 60"/>
                <a:gd name="T27" fmla="*/ 4 h 36"/>
                <a:gd name="T28" fmla="*/ 32 w 60"/>
                <a:gd name="T29" fmla="*/ 0 h 36"/>
                <a:gd name="T30" fmla="*/ 32 w 60"/>
                <a:gd name="T31" fmla="*/ 0 h 36"/>
                <a:gd name="T32" fmla="*/ 26 w 60"/>
                <a:gd name="T33" fmla="*/ 0 h 36"/>
                <a:gd name="T34" fmla="*/ 18 w 60"/>
                <a:gd name="T35" fmla="*/ 0 h 36"/>
                <a:gd name="T36" fmla="*/ 12 w 60"/>
                <a:gd name="T37" fmla="*/ 2 h 36"/>
                <a:gd name="T38" fmla="*/ 6 w 60"/>
                <a:gd name="T39" fmla="*/ 6 h 36"/>
                <a:gd name="T40" fmla="*/ 2 w 60"/>
                <a:gd name="T41" fmla="*/ 12 h 36"/>
                <a:gd name="T42" fmla="*/ 0 w 60"/>
                <a:gd name="T43" fmla="*/ 16 h 36"/>
                <a:gd name="T44" fmla="*/ 2 w 60"/>
                <a:gd name="T45" fmla="*/ 22 h 36"/>
                <a:gd name="T46" fmla="*/ 6 w 60"/>
                <a:gd name="T47" fmla="*/ 28 h 36"/>
                <a:gd name="T48" fmla="*/ 6 w 60"/>
                <a:gd name="T4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36">
                  <a:moveTo>
                    <a:pt x="6" y="28"/>
                  </a:moveTo>
                  <a:lnTo>
                    <a:pt x="6" y="28"/>
                  </a:lnTo>
                  <a:lnTo>
                    <a:pt x="14" y="34"/>
                  </a:lnTo>
                  <a:lnTo>
                    <a:pt x="20" y="36"/>
                  </a:lnTo>
                  <a:lnTo>
                    <a:pt x="28" y="34"/>
                  </a:lnTo>
                  <a:lnTo>
                    <a:pt x="34" y="32"/>
                  </a:lnTo>
                  <a:lnTo>
                    <a:pt x="46" y="22"/>
                  </a:lnTo>
                  <a:lnTo>
                    <a:pt x="52" y="20"/>
                  </a:lnTo>
                  <a:lnTo>
                    <a:pt x="56" y="18"/>
                  </a:lnTo>
                  <a:lnTo>
                    <a:pt x="56" y="18"/>
                  </a:lnTo>
                  <a:lnTo>
                    <a:pt x="58" y="16"/>
                  </a:lnTo>
                  <a:lnTo>
                    <a:pt x="60" y="14"/>
                  </a:lnTo>
                  <a:lnTo>
                    <a:pt x="54" y="10"/>
                  </a:lnTo>
                  <a:lnTo>
                    <a:pt x="44" y="4"/>
                  </a:lnTo>
                  <a:lnTo>
                    <a:pt x="32" y="0"/>
                  </a:lnTo>
                  <a:lnTo>
                    <a:pt x="32" y="0"/>
                  </a:lnTo>
                  <a:lnTo>
                    <a:pt x="26" y="0"/>
                  </a:lnTo>
                  <a:lnTo>
                    <a:pt x="18" y="0"/>
                  </a:lnTo>
                  <a:lnTo>
                    <a:pt x="12" y="2"/>
                  </a:lnTo>
                  <a:lnTo>
                    <a:pt x="6" y="6"/>
                  </a:lnTo>
                  <a:lnTo>
                    <a:pt x="2" y="12"/>
                  </a:lnTo>
                  <a:lnTo>
                    <a:pt x="0" y="16"/>
                  </a:lnTo>
                  <a:lnTo>
                    <a:pt x="2" y="22"/>
                  </a:lnTo>
                  <a:lnTo>
                    <a:pt x="6" y="28"/>
                  </a:lnTo>
                  <a:lnTo>
                    <a:pt x="6" y="2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1" name="Freeform 58"/>
            <p:cNvSpPr>
              <a:spLocks/>
            </p:cNvSpPr>
            <p:nvPr/>
          </p:nvSpPr>
          <p:spPr bwMode="auto">
            <a:xfrm>
              <a:off x="7029450" y="3184525"/>
              <a:ext cx="368300" cy="539750"/>
            </a:xfrm>
            <a:custGeom>
              <a:avLst/>
              <a:gdLst>
                <a:gd name="T0" fmla="*/ 22 w 232"/>
                <a:gd name="T1" fmla="*/ 78 h 340"/>
                <a:gd name="T2" fmla="*/ 12 w 232"/>
                <a:gd name="T3" fmla="*/ 96 h 340"/>
                <a:gd name="T4" fmla="*/ 26 w 232"/>
                <a:gd name="T5" fmla="*/ 108 h 340"/>
                <a:gd name="T6" fmla="*/ 6 w 232"/>
                <a:gd name="T7" fmla="*/ 120 h 340"/>
                <a:gd name="T8" fmla="*/ 6 w 232"/>
                <a:gd name="T9" fmla="*/ 126 h 340"/>
                <a:gd name="T10" fmla="*/ 24 w 232"/>
                <a:gd name="T11" fmla="*/ 118 h 340"/>
                <a:gd name="T12" fmla="*/ 34 w 232"/>
                <a:gd name="T13" fmla="*/ 134 h 340"/>
                <a:gd name="T14" fmla="*/ 48 w 232"/>
                <a:gd name="T15" fmla="*/ 114 h 340"/>
                <a:gd name="T16" fmla="*/ 50 w 232"/>
                <a:gd name="T17" fmla="*/ 120 h 340"/>
                <a:gd name="T18" fmla="*/ 52 w 232"/>
                <a:gd name="T19" fmla="*/ 138 h 340"/>
                <a:gd name="T20" fmla="*/ 44 w 232"/>
                <a:gd name="T21" fmla="*/ 160 h 340"/>
                <a:gd name="T22" fmla="*/ 82 w 232"/>
                <a:gd name="T23" fmla="*/ 156 h 340"/>
                <a:gd name="T24" fmla="*/ 92 w 232"/>
                <a:gd name="T25" fmla="*/ 158 h 340"/>
                <a:gd name="T26" fmla="*/ 88 w 232"/>
                <a:gd name="T27" fmla="*/ 178 h 340"/>
                <a:gd name="T28" fmla="*/ 100 w 232"/>
                <a:gd name="T29" fmla="*/ 190 h 340"/>
                <a:gd name="T30" fmla="*/ 98 w 232"/>
                <a:gd name="T31" fmla="*/ 214 h 340"/>
                <a:gd name="T32" fmla="*/ 74 w 232"/>
                <a:gd name="T33" fmla="*/ 218 h 340"/>
                <a:gd name="T34" fmla="*/ 62 w 232"/>
                <a:gd name="T35" fmla="*/ 216 h 340"/>
                <a:gd name="T36" fmla="*/ 54 w 232"/>
                <a:gd name="T37" fmla="*/ 234 h 340"/>
                <a:gd name="T38" fmla="*/ 66 w 232"/>
                <a:gd name="T39" fmla="*/ 244 h 340"/>
                <a:gd name="T40" fmla="*/ 62 w 232"/>
                <a:gd name="T41" fmla="*/ 258 h 340"/>
                <a:gd name="T42" fmla="*/ 38 w 232"/>
                <a:gd name="T43" fmla="*/ 270 h 340"/>
                <a:gd name="T44" fmla="*/ 54 w 232"/>
                <a:gd name="T45" fmla="*/ 278 h 340"/>
                <a:gd name="T46" fmla="*/ 70 w 232"/>
                <a:gd name="T47" fmla="*/ 282 h 340"/>
                <a:gd name="T48" fmla="*/ 98 w 232"/>
                <a:gd name="T49" fmla="*/ 286 h 340"/>
                <a:gd name="T50" fmla="*/ 100 w 232"/>
                <a:gd name="T51" fmla="*/ 292 h 340"/>
                <a:gd name="T52" fmla="*/ 70 w 232"/>
                <a:gd name="T53" fmla="*/ 296 h 340"/>
                <a:gd name="T54" fmla="*/ 36 w 232"/>
                <a:gd name="T55" fmla="*/ 336 h 340"/>
                <a:gd name="T56" fmla="*/ 42 w 232"/>
                <a:gd name="T57" fmla="*/ 336 h 340"/>
                <a:gd name="T58" fmla="*/ 68 w 232"/>
                <a:gd name="T59" fmla="*/ 328 h 340"/>
                <a:gd name="T60" fmla="*/ 80 w 232"/>
                <a:gd name="T61" fmla="*/ 330 h 340"/>
                <a:gd name="T62" fmla="*/ 88 w 232"/>
                <a:gd name="T63" fmla="*/ 320 h 340"/>
                <a:gd name="T64" fmla="*/ 108 w 232"/>
                <a:gd name="T65" fmla="*/ 316 h 340"/>
                <a:gd name="T66" fmla="*/ 132 w 232"/>
                <a:gd name="T67" fmla="*/ 310 h 340"/>
                <a:gd name="T68" fmla="*/ 152 w 232"/>
                <a:gd name="T69" fmla="*/ 316 h 340"/>
                <a:gd name="T70" fmla="*/ 202 w 232"/>
                <a:gd name="T71" fmla="*/ 304 h 340"/>
                <a:gd name="T72" fmla="*/ 220 w 232"/>
                <a:gd name="T73" fmla="*/ 290 h 340"/>
                <a:gd name="T74" fmla="*/ 204 w 232"/>
                <a:gd name="T75" fmla="*/ 278 h 340"/>
                <a:gd name="T76" fmla="*/ 232 w 232"/>
                <a:gd name="T77" fmla="*/ 246 h 340"/>
                <a:gd name="T78" fmla="*/ 210 w 232"/>
                <a:gd name="T79" fmla="*/ 230 h 340"/>
                <a:gd name="T80" fmla="*/ 198 w 232"/>
                <a:gd name="T81" fmla="*/ 236 h 340"/>
                <a:gd name="T82" fmla="*/ 190 w 232"/>
                <a:gd name="T83" fmla="*/ 222 h 340"/>
                <a:gd name="T84" fmla="*/ 184 w 232"/>
                <a:gd name="T85" fmla="*/ 210 h 340"/>
                <a:gd name="T86" fmla="*/ 176 w 232"/>
                <a:gd name="T87" fmla="*/ 184 h 340"/>
                <a:gd name="T88" fmla="*/ 156 w 232"/>
                <a:gd name="T89" fmla="*/ 166 h 340"/>
                <a:gd name="T90" fmla="*/ 142 w 232"/>
                <a:gd name="T91" fmla="*/ 136 h 340"/>
                <a:gd name="T92" fmla="*/ 124 w 232"/>
                <a:gd name="T93" fmla="*/ 122 h 340"/>
                <a:gd name="T94" fmla="*/ 98 w 232"/>
                <a:gd name="T95" fmla="*/ 116 h 340"/>
                <a:gd name="T96" fmla="*/ 110 w 232"/>
                <a:gd name="T97" fmla="*/ 100 h 340"/>
                <a:gd name="T98" fmla="*/ 130 w 232"/>
                <a:gd name="T99" fmla="*/ 52 h 340"/>
                <a:gd name="T100" fmla="*/ 92 w 232"/>
                <a:gd name="T101" fmla="*/ 48 h 340"/>
                <a:gd name="T102" fmla="*/ 68 w 232"/>
                <a:gd name="T103" fmla="*/ 44 h 340"/>
                <a:gd name="T104" fmla="*/ 84 w 232"/>
                <a:gd name="T105" fmla="*/ 30 h 340"/>
                <a:gd name="T106" fmla="*/ 96 w 232"/>
                <a:gd name="T107" fmla="*/ 10 h 340"/>
                <a:gd name="T108" fmla="*/ 94 w 232"/>
                <a:gd name="T109" fmla="*/ 0 h 340"/>
                <a:gd name="T110" fmla="*/ 84 w 232"/>
                <a:gd name="T111" fmla="*/ 12 h 340"/>
                <a:gd name="T112" fmla="*/ 50 w 232"/>
                <a:gd name="T113" fmla="*/ 14 h 340"/>
                <a:gd name="T114" fmla="*/ 38 w 232"/>
                <a:gd name="T115" fmla="*/ 36 h 340"/>
                <a:gd name="T116" fmla="*/ 26 w 232"/>
                <a:gd name="T117" fmla="*/ 54 h 340"/>
                <a:gd name="T118" fmla="*/ 18 w 232"/>
                <a:gd name="T119" fmla="*/ 62 h 340"/>
                <a:gd name="T120" fmla="*/ 2 w 232"/>
                <a:gd name="T121" fmla="*/ 56 h 340"/>
                <a:gd name="T122" fmla="*/ 22 w 232"/>
                <a:gd name="T123" fmla="*/ 7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 h="340">
                  <a:moveTo>
                    <a:pt x="22" y="72"/>
                  </a:moveTo>
                  <a:lnTo>
                    <a:pt x="22" y="72"/>
                  </a:lnTo>
                  <a:lnTo>
                    <a:pt x="24" y="74"/>
                  </a:lnTo>
                  <a:lnTo>
                    <a:pt x="24" y="74"/>
                  </a:lnTo>
                  <a:lnTo>
                    <a:pt x="22" y="78"/>
                  </a:lnTo>
                  <a:lnTo>
                    <a:pt x="16" y="86"/>
                  </a:lnTo>
                  <a:lnTo>
                    <a:pt x="12" y="88"/>
                  </a:lnTo>
                  <a:lnTo>
                    <a:pt x="12" y="92"/>
                  </a:lnTo>
                  <a:lnTo>
                    <a:pt x="12" y="92"/>
                  </a:lnTo>
                  <a:lnTo>
                    <a:pt x="12" y="96"/>
                  </a:lnTo>
                  <a:lnTo>
                    <a:pt x="12" y="98"/>
                  </a:lnTo>
                  <a:lnTo>
                    <a:pt x="18" y="102"/>
                  </a:lnTo>
                  <a:lnTo>
                    <a:pt x="22" y="104"/>
                  </a:lnTo>
                  <a:lnTo>
                    <a:pt x="24" y="104"/>
                  </a:lnTo>
                  <a:lnTo>
                    <a:pt x="26" y="108"/>
                  </a:lnTo>
                  <a:lnTo>
                    <a:pt x="26" y="108"/>
                  </a:lnTo>
                  <a:lnTo>
                    <a:pt x="26" y="110"/>
                  </a:lnTo>
                  <a:lnTo>
                    <a:pt x="22" y="112"/>
                  </a:lnTo>
                  <a:lnTo>
                    <a:pt x="14" y="116"/>
                  </a:lnTo>
                  <a:lnTo>
                    <a:pt x="6" y="120"/>
                  </a:lnTo>
                  <a:lnTo>
                    <a:pt x="4" y="122"/>
                  </a:lnTo>
                  <a:lnTo>
                    <a:pt x="4" y="124"/>
                  </a:lnTo>
                  <a:lnTo>
                    <a:pt x="4" y="124"/>
                  </a:lnTo>
                  <a:lnTo>
                    <a:pt x="4" y="126"/>
                  </a:lnTo>
                  <a:lnTo>
                    <a:pt x="6" y="126"/>
                  </a:lnTo>
                  <a:lnTo>
                    <a:pt x="10" y="124"/>
                  </a:lnTo>
                  <a:lnTo>
                    <a:pt x="22" y="118"/>
                  </a:lnTo>
                  <a:lnTo>
                    <a:pt x="22" y="118"/>
                  </a:lnTo>
                  <a:lnTo>
                    <a:pt x="24" y="118"/>
                  </a:lnTo>
                  <a:lnTo>
                    <a:pt x="24" y="118"/>
                  </a:lnTo>
                  <a:lnTo>
                    <a:pt x="26" y="126"/>
                  </a:lnTo>
                  <a:lnTo>
                    <a:pt x="26" y="132"/>
                  </a:lnTo>
                  <a:lnTo>
                    <a:pt x="30" y="134"/>
                  </a:lnTo>
                  <a:lnTo>
                    <a:pt x="34" y="134"/>
                  </a:lnTo>
                  <a:lnTo>
                    <a:pt x="34" y="134"/>
                  </a:lnTo>
                  <a:lnTo>
                    <a:pt x="38" y="132"/>
                  </a:lnTo>
                  <a:lnTo>
                    <a:pt x="42" y="130"/>
                  </a:lnTo>
                  <a:lnTo>
                    <a:pt x="46" y="122"/>
                  </a:lnTo>
                  <a:lnTo>
                    <a:pt x="46" y="116"/>
                  </a:lnTo>
                  <a:lnTo>
                    <a:pt x="48" y="114"/>
                  </a:lnTo>
                  <a:lnTo>
                    <a:pt x="50" y="112"/>
                  </a:lnTo>
                  <a:lnTo>
                    <a:pt x="50" y="112"/>
                  </a:lnTo>
                  <a:lnTo>
                    <a:pt x="52" y="114"/>
                  </a:lnTo>
                  <a:lnTo>
                    <a:pt x="52" y="114"/>
                  </a:lnTo>
                  <a:lnTo>
                    <a:pt x="50" y="120"/>
                  </a:lnTo>
                  <a:lnTo>
                    <a:pt x="50" y="126"/>
                  </a:lnTo>
                  <a:lnTo>
                    <a:pt x="52" y="132"/>
                  </a:lnTo>
                  <a:lnTo>
                    <a:pt x="52" y="132"/>
                  </a:lnTo>
                  <a:lnTo>
                    <a:pt x="52" y="134"/>
                  </a:lnTo>
                  <a:lnTo>
                    <a:pt x="52" y="138"/>
                  </a:lnTo>
                  <a:lnTo>
                    <a:pt x="48" y="146"/>
                  </a:lnTo>
                  <a:lnTo>
                    <a:pt x="44" y="154"/>
                  </a:lnTo>
                  <a:lnTo>
                    <a:pt x="42" y="158"/>
                  </a:lnTo>
                  <a:lnTo>
                    <a:pt x="42" y="158"/>
                  </a:lnTo>
                  <a:lnTo>
                    <a:pt x="44" y="160"/>
                  </a:lnTo>
                  <a:lnTo>
                    <a:pt x="48" y="162"/>
                  </a:lnTo>
                  <a:lnTo>
                    <a:pt x="58" y="162"/>
                  </a:lnTo>
                  <a:lnTo>
                    <a:pt x="72" y="160"/>
                  </a:lnTo>
                  <a:lnTo>
                    <a:pt x="76" y="158"/>
                  </a:lnTo>
                  <a:lnTo>
                    <a:pt x="82" y="156"/>
                  </a:lnTo>
                  <a:lnTo>
                    <a:pt x="82" y="156"/>
                  </a:lnTo>
                  <a:lnTo>
                    <a:pt x="86" y="152"/>
                  </a:lnTo>
                  <a:lnTo>
                    <a:pt x="90" y="152"/>
                  </a:lnTo>
                  <a:lnTo>
                    <a:pt x="90" y="152"/>
                  </a:lnTo>
                  <a:lnTo>
                    <a:pt x="92" y="158"/>
                  </a:lnTo>
                  <a:lnTo>
                    <a:pt x="88" y="164"/>
                  </a:lnTo>
                  <a:lnTo>
                    <a:pt x="88" y="164"/>
                  </a:lnTo>
                  <a:lnTo>
                    <a:pt x="86" y="168"/>
                  </a:lnTo>
                  <a:lnTo>
                    <a:pt x="86" y="174"/>
                  </a:lnTo>
                  <a:lnTo>
                    <a:pt x="88" y="178"/>
                  </a:lnTo>
                  <a:lnTo>
                    <a:pt x="92" y="180"/>
                  </a:lnTo>
                  <a:lnTo>
                    <a:pt x="92" y="180"/>
                  </a:lnTo>
                  <a:lnTo>
                    <a:pt x="100" y="184"/>
                  </a:lnTo>
                  <a:lnTo>
                    <a:pt x="102" y="186"/>
                  </a:lnTo>
                  <a:lnTo>
                    <a:pt x="100" y="190"/>
                  </a:lnTo>
                  <a:lnTo>
                    <a:pt x="100" y="190"/>
                  </a:lnTo>
                  <a:lnTo>
                    <a:pt x="98" y="196"/>
                  </a:lnTo>
                  <a:lnTo>
                    <a:pt x="98" y="202"/>
                  </a:lnTo>
                  <a:lnTo>
                    <a:pt x="98" y="210"/>
                  </a:lnTo>
                  <a:lnTo>
                    <a:pt x="98" y="214"/>
                  </a:lnTo>
                  <a:lnTo>
                    <a:pt x="98" y="214"/>
                  </a:lnTo>
                  <a:lnTo>
                    <a:pt x="96" y="216"/>
                  </a:lnTo>
                  <a:lnTo>
                    <a:pt x="92" y="218"/>
                  </a:lnTo>
                  <a:lnTo>
                    <a:pt x="84" y="220"/>
                  </a:lnTo>
                  <a:lnTo>
                    <a:pt x="74" y="218"/>
                  </a:lnTo>
                  <a:lnTo>
                    <a:pt x="70" y="216"/>
                  </a:lnTo>
                  <a:lnTo>
                    <a:pt x="70" y="216"/>
                  </a:lnTo>
                  <a:lnTo>
                    <a:pt x="68" y="214"/>
                  </a:lnTo>
                  <a:lnTo>
                    <a:pt x="64" y="214"/>
                  </a:lnTo>
                  <a:lnTo>
                    <a:pt x="62" y="216"/>
                  </a:lnTo>
                  <a:lnTo>
                    <a:pt x="62" y="220"/>
                  </a:lnTo>
                  <a:lnTo>
                    <a:pt x="62" y="220"/>
                  </a:lnTo>
                  <a:lnTo>
                    <a:pt x="62" y="224"/>
                  </a:lnTo>
                  <a:lnTo>
                    <a:pt x="58" y="230"/>
                  </a:lnTo>
                  <a:lnTo>
                    <a:pt x="54" y="234"/>
                  </a:lnTo>
                  <a:lnTo>
                    <a:pt x="54" y="238"/>
                  </a:lnTo>
                  <a:lnTo>
                    <a:pt x="54" y="238"/>
                  </a:lnTo>
                  <a:lnTo>
                    <a:pt x="56" y="240"/>
                  </a:lnTo>
                  <a:lnTo>
                    <a:pt x="62" y="242"/>
                  </a:lnTo>
                  <a:lnTo>
                    <a:pt x="66" y="244"/>
                  </a:lnTo>
                  <a:lnTo>
                    <a:pt x="68" y="246"/>
                  </a:lnTo>
                  <a:lnTo>
                    <a:pt x="70" y="248"/>
                  </a:lnTo>
                  <a:lnTo>
                    <a:pt x="70" y="248"/>
                  </a:lnTo>
                  <a:lnTo>
                    <a:pt x="68" y="252"/>
                  </a:lnTo>
                  <a:lnTo>
                    <a:pt x="62" y="258"/>
                  </a:lnTo>
                  <a:lnTo>
                    <a:pt x="54" y="262"/>
                  </a:lnTo>
                  <a:lnTo>
                    <a:pt x="44" y="266"/>
                  </a:lnTo>
                  <a:lnTo>
                    <a:pt x="44" y="266"/>
                  </a:lnTo>
                  <a:lnTo>
                    <a:pt x="38" y="268"/>
                  </a:lnTo>
                  <a:lnTo>
                    <a:pt x="38" y="270"/>
                  </a:lnTo>
                  <a:lnTo>
                    <a:pt x="38" y="274"/>
                  </a:lnTo>
                  <a:lnTo>
                    <a:pt x="40" y="276"/>
                  </a:lnTo>
                  <a:lnTo>
                    <a:pt x="46" y="278"/>
                  </a:lnTo>
                  <a:lnTo>
                    <a:pt x="50" y="278"/>
                  </a:lnTo>
                  <a:lnTo>
                    <a:pt x="54" y="278"/>
                  </a:lnTo>
                  <a:lnTo>
                    <a:pt x="54" y="278"/>
                  </a:lnTo>
                  <a:lnTo>
                    <a:pt x="58" y="276"/>
                  </a:lnTo>
                  <a:lnTo>
                    <a:pt x="60" y="278"/>
                  </a:lnTo>
                  <a:lnTo>
                    <a:pt x="64" y="280"/>
                  </a:lnTo>
                  <a:lnTo>
                    <a:pt x="70" y="282"/>
                  </a:lnTo>
                  <a:lnTo>
                    <a:pt x="70" y="282"/>
                  </a:lnTo>
                  <a:lnTo>
                    <a:pt x="78" y="282"/>
                  </a:lnTo>
                  <a:lnTo>
                    <a:pt x="84" y="286"/>
                  </a:lnTo>
                  <a:lnTo>
                    <a:pt x="90" y="286"/>
                  </a:lnTo>
                  <a:lnTo>
                    <a:pt x="98" y="286"/>
                  </a:lnTo>
                  <a:lnTo>
                    <a:pt x="98" y="286"/>
                  </a:lnTo>
                  <a:lnTo>
                    <a:pt x="104" y="284"/>
                  </a:lnTo>
                  <a:lnTo>
                    <a:pt x="108" y="284"/>
                  </a:lnTo>
                  <a:lnTo>
                    <a:pt x="106" y="288"/>
                  </a:lnTo>
                  <a:lnTo>
                    <a:pt x="100" y="292"/>
                  </a:lnTo>
                  <a:lnTo>
                    <a:pt x="100" y="292"/>
                  </a:lnTo>
                  <a:lnTo>
                    <a:pt x="94" y="296"/>
                  </a:lnTo>
                  <a:lnTo>
                    <a:pt x="86" y="296"/>
                  </a:lnTo>
                  <a:lnTo>
                    <a:pt x="78" y="294"/>
                  </a:lnTo>
                  <a:lnTo>
                    <a:pt x="70" y="296"/>
                  </a:lnTo>
                  <a:lnTo>
                    <a:pt x="70" y="296"/>
                  </a:lnTo>
                  <a:lnTo>
                    <a:pt x="60" y="304"/>
                  </a:lnTo>
                  <a:lnTo>
                    <a:pt x="48" y="316"/>
                  </a:lnTo>
                  <a:lnTo>
                    <a:pt x="38" y="330"/>
                  </a:lnTo>
                  <a:lnTo>
                    <a:pt x="36" y="336"/>
                  </a:lnTo>
                  <a:lnTo>
                    <a:pt x="36" y="338"/>
                  </a:lnTo>
                  <a:lnTo>
                    <a:pt x="36" y="338"/>
                  </a:lnTo>
                  <a:lnTo>
                    <a:pt x="38" y="340"/>
                  </a:lnTo>
                  <a:lnTo>
                    <a:pt x="38" y="340"/>
                  </a:lnTo>
                  <a:lnTo>
                    <a:pt x="42" y="336"/>
                  </a:lnTo>
                  <a:lnTo>
                    <a:pt x="48" y="332"/>
                  </a:lnTo>
                  <a:lnTo>
                    <a:pt x="56" y="328"/>
                  </a:lnTo>
                  <a:lnTo>
                    <a:pt x="56" y="328"/>
                  </a:lnTo>
                  <a:lnTo>
                    <a:pt x="64" y="326"/>
                  </a:lnTo>
                  <a:lnTo>
                    <a:pt x="68" y="328"/>
                  </a:lnTo>
                  <a:lnTo>
                    <a:pt x="72" y="330"/>
                  </a:lnTo>
                  <a:lnTo>
                    <a:pt x="76" y="332"/>
                  </a:lnTo>
                  <a:lnTo>
                    <a:pt x="76" y="332"/>
                  </a:lnTo>
                  <a:lnTo>
                    <a:pt x="78" y="332"/>
                  </a:lnTo>
                  <a:lnTo>
                    <a:pt x="80" y="330"/>
                  </a:lnTo>
                  <a:lnTo>
                    <a:pt x="82" y="326"/>
                  </a:lnTo>
                  <a:lnTo>
                    <a:pt x="86" y="322"/>
                  </a:lnTo>
                  <a:lnTo>
                    <a:pt x="86" y="320"/>
                  </a:lnTo>
                  <a:lnTo>
                    <a:pt x="88" y="320"/>
                  </a:lnTo>
                  <a:lnTo>
                    <a:pt x="88" y="320"/>
                  </a:lnTo>
                  <a:lnTo>
                    <a:pt x="92" y="320"/>
                  </a:lnTo>
                  <a:lnTo>
                    <a:pt x="96" y="318"/>
                  </a:lnTo>
                  <a:lnTo>
                    <a:pt x="102" y="316"/>
                  </a:lnTo>
                  <a:lnTo>
                    <a:pt x="108" y="316"/>
                  </a:lnTo>
                  <a:lnTo>
                    <a:pt x="108" y="316"/>
                  </a:lnTo>
                  <a:lnTo>
                    <a:pt x="114" y="318"/>
                  </a:lnTo>
                  <a:lnTo>
                    <a:pt x="120" y="316"/>
                  </a:lnTo>
                  <a:lnTo>
                    <a:pt x="130" y="310"/>
                  </a:lnTo>
                  <a:lnTo>
                    <a:pt x="130" y="310"/>
                  </a:lnTo>
                  <a:lnTo>
                    <a:pt x="132" y="310"/>
                  </a:lnTo>
                  <a:lnTo>
                    <a:pt x="134" y="310"/>
                  </a:lnTo>
                  <a:lnTo>
                    <a:pt x="140" y="312"/>
                  </a:lnTo>
                  <a:lnTo>
                    <a:pt x="146" y="316"/>
                  </a:lnTo>
                  <a:lnTo>
                    <a:pt x="152" y="316"/>
                  </a:lnTo>
                  <a:lnTo>
                    <a:pt x="152" y="316"/>
                  </a:lnTo>
                  <a:lnTo>
                    <a:pt x="164" y="312"/>
                  </a:lnTo>
                  <a:lnTo>
                    <a:pt x="182" y="310"/>
                  </a:lnTo>
                  <a:lnTo>
                    <a:pt x="182" y="310"/>
                  </a:lnTo>
                  <a:lnTo>
                    <a:pt x="190" y="308"/>
                  </a:lnTo>
                  <a:lnTo>
                    <a:pt x="202" y="304"/>
                  </a:lnTo>
                  <a:lnTo>
                    <a:pt x="212" y="300"/>
                  </a:lnTo>
                  <a:lnTo>
                    <a:pt x="220" y="294"/>
                  </a:lnTo>
                  <a:lnTo>
                    <a:pt x="220" y="294"/>
                  </a:lnTo>
                  <a:lnTo>
                    <a:pt x="222" y="292"/>
                  </a:lnTo>
                  <a:lnTo>
                    <a:pt x="220" y="290"/>
                  </a:lnTo>
                  <a:lnTo>
                    <a:pt x="208" y="290"/>
                  </a:lnTo>
                  <a:lnTo>
                    <a:pt x="208" y="290"/>
                  </a:lnTo>
                  <a:lnTo>
                    <a:pt x="204" y="288"/>
                  </a:lnTo>
                  <a:lnTo>
                    <a:pt x="202" y="284"/>
                  </a:lnTo>
                  <a:lnTo>
                    <a:pt x="204" y="278"/>
                  </a:lnTo>
                  <a:lnTo>
                    <a:pt x="210" y="272"/>
                  </a:lnTo>
                  <a:lnTo>
                    <a:pt x="210" y="272"/>
                  </a:lnTo>
                  <a:lnTo>
                    <a:pt x="224" y="262"/>
                  </a:lnTo>
                  <a:lnTo>
                    <a:pt x="230" y="254"/>
                  </a:lnTo>
                  <a:lnTo>
                    <a:pt x="232" y="246"/>
                  </a:lnTo>
                  <a:lnTo>
                    <a:pt x="232" y="246"/>
                  </a:lnTo>
                  <a:lnTo>
                    <a:pt x="232" y="242"/>
                  </a:lnTo>
                  <a:lnTo>
                    <a:pt x="228" y="238"/>
                  </a:lnTo>
                  <a:lnTo>
                    <a:pt x="220" y="232"/>
                  </a:lnTo>
                  <a:lnTo>
                    <a:pt x="210" y="230"/>
                  </a:lnTo>
                  <a:lnTo>
                    <a:pt x="206" y="230"/>
                  </a:lnTo>
                  <a:lnTo>
                    <a:pt x="204" y="232"/>
                  </a:lnTo>
                  <a:lnTo>
                    <a:pt x="204" y="232"/>
                  </a:lnTo>
                  <a:lnTo>
                    <a:pt x="202" y="236"/>
                  </a:lnTo>
                  <a:lnTo>
                    <a:pt x="198" y="236"/>
                  </a:lnTo>
                  <a:lnTo>
                    <a:pt x="194" y="236"/>
                  </a:lnTo>
                  <a:lnTo>
                    <a:pt x="190" y="230"/>
                  </a:lnTo>
                  <a:lnTo>
                    <a:pt x="190" y="230"/>
                  </a:lnTo>
                  <a:lnTo>
                    <a:pt x="190" y="226"/>
                  </a:lnTo>
                  <a:lnTo>
                    <a:pt x="190" y="222"/>
                  </a:lnTo>
                  <a:lnTo>
                    <a:pt x="192" y="218"/>
                  </a:lnTo>
                  <a:lnTo>
                    <a:pt x="190" y="216"/>
                  </a:lnTo>
                  <a:lnTo>
                    <a:pt x="190" y="216"/>
                  </a:lnTo>
                  <a:lnTo>
                    <a:pt x="186" y="214"/>
                  </a:lnTo>
                  <a:lnTo>
                    <a:pt x="184" y="210"/>
                  </a:lnTo>
                  <a:lnTo>
                    <a:pt x="182" y="206"/>
                  </a:lnTo>
                  <a:lnTo>
                    <a:pt x="182" y="202"/>
                  </a:lnTo>
                  <a:lnTo>
                    <a:pt x="182" y="202"/>
                  </a:lnTo>
                  <a:lnTo>
                    <a:pt x="180" y="194"/>
                  </a:lnTo>
                  <a:lnTo>
                    <a:pt x="176" y="184"/>
                  </a:lnTo>
                  <a:lnTo>
                    <a:pt x="170" y="174"/>
                  </a:lnTo>
                  <a:lnTo>
                    <a:pt x="166" y="170"/>
                  </a:lnTo>
                  <a:lnTo>
                    <a:pt x="160" y="168"/>
                  </a:lnTo>
                  <a:lnTo>
                    <a:pt x="160" y="168"/>
                  </a:lnTo>
                  <a:lnTo>
                    <a:pt x="156" y="166"/>
                  </a:lnTo>
                  <a:lnTo>
                    <a:pt x="152" y="164"/>
                  </a:lnTo>
                  <a:lnTo>
                    <a:pt x="148" y="154"/>
                  </a:lnTo>
                  <a:lnTo>
                    <a:pt x="144" y="144"/>
                  </a:lnTo>
                  <a:lnTo>
                    <a:pt x="142" y="136"/>
                  </a:lnTo>
                  <a:lnTo>
                    <a:pt x="142" y="136"/>
                  </a:lnTo>
                  <a:lnTo>
                    <a:pt x="140" y="130"/>
                  </a:lnTo>
                  <a:lnTo>
                    <a:pt x="136" y="128"/>
                  </a:lnTo>
                  <a:lnTo>
                    <a:pt x="130" y="126"/>
                  </a:lnTo>
                  <a:lnTo>
                    <a:pt x="124" y="122"/>
                  </a:lnTo>
                  <a:lnTo>
                    <a:pt x="124" y="122"/>
                  </a:lnTo>
                  <a:lnTo>
                    <a:pt x="118" y="116"/>
                  </a:lnTo>
                  <a:lnTo>
                    <a:pt x="112" y="116"/>
                  </a:lnTo>
                  <a:lnTo>
                    <a:pt x="100" y="118"/>
                  </a:lnTo>
                  <a:lnTo>
                    <a:pt x="100" y="118"/>
                  </a:lnTo>
                  <a:lnTo>
                    <a:pt x="98" y="116"/>
                  </a:lnTo>
                  <a:lnTo>
                    <a:pt x="98" y="116"/>
                  </a:lnTo>
                  <a:lnTo>
                    <a:pt x="98" y="112"/>
                  </a:lnTo>
                  <a:lnTo>
                    <a:pt x="104" y="106"/>
                  </a:lnTo>
                  <a:lnTo>
                    <a:pt x="110" y="100"/>
                  </a:lnTo>
                  <a:lnTo>
                    <a:pt x="110" y="100"/>
                  </a:lnTo>
                  <a:lnTo>
                    <a:pt x="114" y="96"/>
                  </a:lnTo>
                  <a:lnTo>
                    <a:pt x="116" y="90"/>
                  </a:lnTo>
                  <a:lnTo>
                    <a:pt x="124" y="76"/>
                  </a:lnTo>
                  <a:lnTo>
                    <a:pt x="128" y="62"/>
                  </a:lnTo>
                  <a:lnTo>
                    <a:pt x="130" y="52"/>
                  </a:lnTo>
                  <a:lnTo>
                    <a:pt x="130" y="52"/>
                  </a:lnTo>
                  <a:lnTo>
                    <a:pt x="128" y="50"/>
                  </a:lnTo>
                  <a:lnTo>
                    <a:pt x="124" y="48"/>
                  </a:lnTo>
                  <a:lnTo>
                    <a:pt x="108" y="46"/>
                  </a:lnTo>
                  <a:lnTo>
                    <a:pt x="92" y="48"/>
                  </a:lnTo>
                  <a:lnTo>
                    <a:pt x="80" y="50"/>
                  </a:lnTo>
                  <a:lnTo>
                    <a:pt x="80" y="50"/>
                  </a:lnTo>
                  <a:lnTo>
                    <a:pt x="74" y="50"/>
                  </a:lnTo>
                  <a:lnTo>
                    <a:pt x="70" y="48"/>
                  </a:lnTo>
                  <a:lnTo>
                    <a:pt x="68" y="44"/>
                  </a:lnTo>
                  <a:lnTo>
                    <a:pt x="70" y="42"/>
                  </a:lnTo>
                  <a:lnTo>
                    <a:pt x="70" y="40"/>
                  </a:lnTo>
                  <a:lnTo>
                    <a:pt x="70" y="40"/>
                  </a:lnTo>
                  <a:lnTo>
                    <a:pt x="78" y="36"/>
                  </a:lnTo>
                  <a:lnTo>
                    <a:pt x="84" y="30"/>
                  </a:lnTo>
                  <a:lnTo>
                    <a:pt x="90" y="24"/>
                  </a:lnTo>
                  <a:lnTo>
                    <a:pt x="92" y="18"/>
                  </a:lnTo>
                  <a:lnTo>
                    <a:pt x="92" y="18"/>
                  </a:lnTo>
                  <a:lnTo>
                    <a:pt x="92" y="14"/>
                  </a:lnTo>
                  <a:lnTo>
                    <a:pt x="96" y="10"/>
                  </a:lnTo>
                  <a:lnTo>
                    <a:pt x="98" y="6"/>
                  </a:lnTo>
                  <a:lnTo>
                    <a:pt x="98" y="4"/>
                  </a:lnTo>
                  <a:lnTo>
                    <a:pt x="96" y="2"/>
                  </a:lnTo>
                  <a:lnTo>
                    <a:pt x="96" y="2"/>
                  </a:lnTo>
                  <a:lnTo>
                    <a:pt x="94" y="0"/>
                  </a:lnTo>
                  <a:lnTo>
                    <a:pt x="92" y="2"/>
                  </a:lnTo>
                  <a:lnTo>
                    <a:pt x="90" y="4"/>
                  </a:lnTo>
                  <a:lnTo>
                    <a:pt x="86" y="8"/>
                  </a:lnTo>
                  <a:lnTo>
                    <a:pt x="84" y="12"/>
                  </a:lnTo>
                  <a:lnTo>
                    <a:pt x="84" y="12"/>
                  </a:lnTo>
                  <a:lnTo>
                    <a:pt x="78" y="16"/>
                  </a:lnTo>
                  <a:lnTo>
                    <a:pt x="72" y="16"/>
                  </a:lnTo>
                  <a:lnTo>
                    <a:pt x="54" y="14"/>
                  </a:lnTo>
                  <a:lnTo>
                    <a:pt x="54" y="14"/>
                  </a:lnTo>
                  <a:lnTo>
                    <a:pt x="50" y="14"/>
                  </a:lnTo>
                  <a:lnTo>
                    <a:pt x="46" y="14"/>
                  </a:lnTo>
                  <a:lnTo>
                    <a:pt x="40" y="22"/>
                  </a:lnTo>
                  <a:lnTo>
                    <a:pt x="38" y="30"/>
                  </a:lnTo>
                  <a:lnTo>
                    <a:pt x="38" y="36"/>
                  </a:lnTo>
                  <a:lnTo>
                    <a:pt x="38" y="36"/>
                  </a:lnTo>
                  <a:lnTo>
                    <a:pt x="36" y="42"/>
                  </a:lnTo>
                  <a:lnTo>
                    <a:pt x="30" y="46"/>
                  </a:lnTo>
                  <a:lnTo>
                    <a:pt x="26" y="50"/>
                  </a:lnTo>
                  <a:lnTo>
                    <a:pt x="24" y="52"/>
                  </a:lnTo>
                  <a:lnTo>
                    <a:pt x="26" y="54"/>
                  </a:lnTo>
                  <a:lnTo>
                    <a:pt x="26" y="54"/>
                  </a:lnTo>
                  <a:lnTo>
                    <a:pt x="26" y="60"/>
                  </a:lnTo>
                  <a:lnTo>
                    <a:pt x="24" y="62"/>
                  </a:lnTo>
                  <a:lnTo>
                    <a:pt x="22" y="64"/>
                  </a:lnTo>
                  <a:lnTo>
                    <a:pt x="18" y="62"/>
                  </a:lnTo>
                  <a:lnTo>
                    <a:pt x="18" y="62"/>
                  </a:lnTo>
                  <a:lnTo>
                    <a:pt x="12" y="56"/>
                  </a:lnTo>
                  <a:lnTo>
                    <a:pt x="8" y="54"/>
                  </a:lnTo>
                  <a:lnTo>
                    <a:pt x="2" y="56"/>
                  </a:lnTo>
                  <a:lnTo>
                    <a:pt x="2" y="56"/>
                  </a:lnTo>
                  <a:lnTo>
                    <a:pt x="0" y="60"/>
                  </a:lnTo>
                  <a:lnTo>
                    <a:pt x="0" y="62"/>
                  </a:lnTo>
                  <a:lnTo>
                    <a:pt x="4" y="66"/>
                  </a:lnTo>
                  <a:lnTo>
                    <a:pt x="12" y="70"/>
                  </a:lnTo>
                  <a:lnTo>
                    <a:pt x="22" y="72"/>
                  </a:lnTo>
                  <a:lnTo>
                    <a:pt x="22" y="7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2" name="Freeform 59"/>
            <p:cNvSpPr>
              <a:spLocks/>
            </p:cNvSpPr>
            <p:nvPr/>
          </p:nvSpPr>
          <p:spPr bwMode="auto">
            <a:xfrm>
              <a:off x="7772400" y="1635125"/>
              <a:ext cx="63500" cy="60325"/>
            </a:xfrm>
            <a:custGeom>
              <a:avLst/>
              <a:gdLst>
                <a:gd name="T0" fmla="*/ 20 w 40"/>
                <a:gd name="T1" fmla="*/ 24 h 38"/>
                <a:gd name="T2" fmla="*/ 20 w 40"/>
                <a:gd name="T3" fmla="*/ 24 h 38"/>
                <a:gd name="T4" fmla="*/ 26 w 40"/>
                <a:gd name="T5" fmla="*/ 26 h 38"/>
                <a:gd name="T6" fmla="*/ 30 w 40"/>
                <a:gd name="T7" fmla="*/ 32 h 38"/>
                <a:gd name="T8" fmla="*/ 36 w 40"/>
                <a:gd name="T9" fmla="*/ 36 h 38"/>
                <a:gd name="T10" fmla="*/ 40 w 40"/>
                <a:gd name="T11" fmla="*/ 38 h 38"/>
                <a:gd name="T12" fmla="*/ 40 w 40"/>
                <a:gd name="T13" fmla="*/ 38 h 38"/>
                <a:gd name="T14" fmla="*/ 40 w 40"/>
                <a:gd name="T15" fmla="*/ 34 h 38"/>
                <a:gd name="T16" fmla="*/ 36 w 40"/>
                <a:gd name="T17" fmla="*/ 28 h 38"/>
                <a:gd name="T18" fmla="*/ 22 w 40"/>
                <a:gd name="T19" fmla="*/ 14 h 38"/>
                <a:gd name="T20" fmla="*/ 22 w 40"/>
                <a:gd name="T21" fmla="*/ 14 h 38"/>
                <a:gd name="T22" fmla="*/ 14 w 40"/>
                <a:gd name="T23" fmla="*/ 2 h 38"/>
                <a:gd name="T24" fmla="*/ 10 w 40"/>
                <a:gd name="T25" fmla="*/ 0 h 38"/>
                <a:gd name="T26" fmla="*/ 4 w 40"/>
                <a:gd name="T27" fmla="*/ 0 h 38"/>
                <a:gd name="T28" fmla="*/ 4 w 40"/>
                <a:gd name="T29" fmla="*/ 0 h 38"/>
                <a:gd name="T30" fmla="*/ 2 w 40"/>
                <a:gd name="T31" fmla="*/ 2 h 38"/>
                <a:gd name="T32" fmla="*/ 0 w 40"/>
                <a:gd name="T33" fmla="*/ 4 h 38"/>
                <a:gd name="T34" fmla="*/ 6 w 40"/>
                <a:gd name="T35" fmla="*/ 12 h 38"/>
                <a:gd name="T36" fmla="*/ 14 w 40"/>
                <a:gd name="T37" fmla="*/ 20 h 38"/>
                <a:gd name="T38" fmla="*/ 20 w 40"/>
                <a:gd name="T39" fmla="*/ 24 h 38"/>
                <a:gd name="T40" fmla="*/ 20 w 40"/>
                <a:gd name="T41"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38">
                  <a:moveTo>
                    <a:pt x="20" y="24"/>
                  </a:moveTo>
                  <a:lnTo>
                    <a:pt x="20" y="24"/>
                  </a:lnTo>
                  <a:lnTo>
                    <a:pt x="26" y="26"/>
                  </a:lnTo>
                  <a:lnTo>
                    <a:pt x="30" y="32"/>
                  </a:lnTo>
                  <a:lnTo>
                    <a:pt x="36" y="36"/>
                  </a:lnTo>
                  <a:lnTo>
                    <a:pt x="40" y="38"/>
                  </a:lnTo>
                  <a:lnTo>
                    <a:pt x="40" y="38"/>
                  </a:lnTo>
                  <a:lnTo>
                    <a:pt x="40" y="34"/>
                  </a:lnTo>
                  <a:lnTo>
                    <a:pt x="36" y="28"/>
                  </a:lnTo>
                  <a:lnTo>
                    <a:pt x="22" y="14"/>
                  </a:lnTo>
                  <a:lnTo>
                    <a:pt x="22" y="14"/>
                  </a:lnTo>
                  <a:lnTo>
                    <a:pt x="14" y="2"/>
                  </a:lnTo>
                  <a:lnTo>
                    <a:pt x="10" y="0"/>
                  </a:lnTo>
                  <a:lnTo>
                    <a:pt x="4" y="0"/>
                  </a:lnTo>
                  <a:lnTo>
                    <a:pt x="4" y="0"/>
                  </a:lnTo>
                  <a:lnTo>
                    <a:pt x="2" y="2"/>
                  </a:lnTo>
                  <a:lnTo>
                    <a:pt x="0" y="4"/>
                  </a:lnTo>
                  <a:lnTo>
                    <a:pt x="6" y="12"/>
                  </a:lnTo>
                  <a:lnTo>
                    <a:pt x="14" y="20"/>
                  </a:lnTo>
                  <a:lnTo>
                    <a:pt x="20" y="24"/>
                  </a:lnTo>
                  <a:lnTo>
                    <a:pt x="20" y="2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3" name="Freeform 60"/>
            <p:cNvSpPr>
              <a:spLocks/>
            </p:cNvSpPr>
            <p:nvPr/>
          </p:nvSpPr>
          <p:spPr bwMode="auto">
            <a:xfrm>
              <a:off x="11969750" y="5232400"/>
              <a:ext cx="98425" cy="76200"/>
            </a:xfrm>
            <a:custGeom>
              <a:avLst/>
              <a:gdLst>
                <a:gd name="T0" fmla="*/ 48 w 62"/>
                <a:gd name="T1" fmla="*/ 34 h 48"/>
                <a:gd name="T2" fmla="*/ 48 w 62"/>
                <a:gd name="T3" fmla="*/ 34 h 48"/>
                <a:gd name="T4" fmla="*/ 50 w 62"/>
                <a:gd name="T5" fmla="*/ 26 h 48"/>
                <a:gd name="T6" fmla="*/ 56 w 62"/>
                <a:gd name="T7" fmla="*/ 18 h 48"/>
                <a:gd name="T8" fmla="*/ 62 w 62"/>
                <a:gd name="T9" fmla="*/ 10 h 48"/>
                <a:gd name="T10" fmla="*/ 62 w 62"/>
                <a:gd name="T11" fmla="*/ 6 h 48"/>
                <a:gd name="T12" fmla="*/ 62 w 62"/>
                <a:gd name="T13" fmla="*/ 2 h 48"/>
                <a:gd name="T14" fmla="*/ 62 w 62"/>
                <a:gd name="T15" fmla="*/ 2 h 48"/>
                <a:gd name="T16" fmla="*/ 60 w 62"/>
                <a:gd name="T17" fmla="*/ 0 h 48"/>
                <a:gd name="T18" fmla="*/ 58 w 62"/>
                <a:gd name="T19" fmla="*/ 0 h 48"/>
                <a:gd name="T20" fmla="*/ 48 w 62"/>
                <a:gd name="T21" fmla="*/ 0 h 48"/>
                <a:gd name="T22" fmla="*/ 28 w 62"/>
                <a:gd name="T23" fmla="*/ 0 h 48"/>
                <a:gd name="T24" fmla="*/ 28 w 62"/>
                <a:gd name="T25" fmla="*/ 0 h 48"/>
                <a:gd name="T26" fmla="*/ 18 w 62"/>
                <a:gd name="T27" fmla="*/ 2 h 48"/>
                <a:gd name="T28" fmla="*/ 12 w 62"/>
                <a:gd name="T29" fmla="*/ 6 h 48"/>
                <a:gd name="T30" fmla="*/ 8 w 62"/>
                <a:gd name="T31" fmla="*/ 10 h 48"/>
                <a:gd name="T32" fmla="*/ 4 w 62"/>
                <a:gd name="T33" fmla="*/ 16 h 48"/>
                <a:gd name="T34" fmla="*/ 0 w 62"/>
                <a:gd name="T35" fmla="*/ 22 h 48"/>
                <a:gd name="T36" fmla="*/ 0 w 62"/>
                <a:gd name="T37" fmla="*/ 30 h 48"/>
                <a:gd name="T38" fmla="*/ 2 w 62"/>
                <a:gd name="T39" fmla="*/ 36 h 48"/>
                <a:gd name="T40" fmla="*/ 2 w 62"/>
                <a:gd name="T41" fmla="*/ 36 h 48"/>
                <a:gd name="T42" fmla="*/ 6 w 62"/>
                <a:gd name="T43" fmla="*/ 44 h 48"/>
                <a:gd name="T44" fmla="*/ 14 w 62"/>
                <a:gd name="T45" fmla="*/ 48 h 48"/>
                <a:gd name="T46" fmla="*/ 20 w 62"/>
                <a:gd name="T47" fmla="*/ 48 h 48"/>
                <a:gd name="T48" fmla="*/ 28 w 62"/>
                <a:gd name="T49" fmla="*/ 48 h 48"/>
                <a:gd name="T50" fmla="*/ 36 w 62"/>
                <a:gd name="T51" fmla="*/ 46 h 48"/>
                <a:gd name="T52" fmla="*/ 42 w 62"/>
                <a:gd name="T53" fmla="*/ 42 h 48"/>
                <a:gd name="T54" fmla="*/ 46 w 62"/>
                <a:gd name="T55" fmla="*/ 38 h 48"/>
                <a:gd name="T56" fmla="*/ 48 w 62"/>
                <a:gd name="T57" fmla="*/ 34 h 48"/>
                <a:gd name="T58" fmla="*/ 48 w 62"/>
                <a:gd name="T59"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48">
                  <a:moveTo>
                    <a:pt x="48" y="34"/>
                  </a:moveTo>
                  <a:lnTo>
                    <a:pt x="48" y="34"/>
                  </a:lnTo>
                  <a:lnTo>
                    <a:pt x="50" y="26"/>
                  </a:lnTo>
                  <a:lnTo>
                    <a:pt x="56" y="18"/>
                  </a:lnTo>
                  <a:lnTo>
                    <a:pt x="62" y="10"/>
                  </a:lnTo>
                  <a:lnTo>
                    <a:pt x="62" y="6"/>
                  </a:lnTo>
                  <a:lnTo>
                    <a:pt x="62" y="2"/>
                  </a:lnTo>
                  <a:lnTo>
                    <a:pt x="62" y="2"/>
                  </a:lnTo>
                  <a:lnTo>
                    <a:pt x="60" y="0"/>
                  </a:lnTo>
                  <a:lnTo>
                    <a:pt x="58" y="0"/>
                  </a:lnTo>
                  <a:lnTo>
                    <a:pt x="48" y="0"/>
                  </a:lnTo>
                  <a:lnTo>
                    <a:pt x="28" y="0"/>
                  </a:lnTo>
                  <a:lnTo>
                    <a:pt x="28" y="0"/>
                  </a:lnTo>
                  <a:lnTo>
                    <a:pt x="18" y="2"/>
                  </a:lnTo>
                  <a:lnTo>
                    <a:pt x="12" y="6"/>
                  </a:lnTo>
                  <a:lnTo>
                    <a:pt x="8" y="10"/>
                  </a:lnTo>
                  <a:lnTo>
                    <a:pt x="4" y="16"/>
                  </a:lnTo>
                  <a:lnTo>
                    <a:pt x="0" y="22"/>
                  </a:lnTo>
                  <a:lnTo>
                    <a:pt x="0" y="30"/>
                  </a:lnTo>
                  <a:lnTo>
                    <a:pt x="2" y="36"/>
                  </a:lnTo>
                  <a:lnTo>
                    <a:pt x="2" y="36"/>
                  </a:lnTo>
                  <a:lnTo>
                    <a:pt x="6" y="44"/>
                  </a:lnTo>
                  <a:lnTo>
                    <a:pt x="14" y="48"/>
                  </a:lnTo>
                  <a:lnTo>
                    <a:pt x="20" y="48"/>
                  </a:lnTo>
                  <a:lnTo>
                    <a:pt x="28" y="48"/>
                  </a:lnTo>
                  <a:lnTo>
                    <a:pt x="36" y="46"/>
                  </a:lnTo>
                  <a:lnTo>
                    <a:pt x="42" y="42"/>
                  </a:lnTo>
                  <a:lnTo>
                    <a:pt x="46" y="38"/>
                  </a:lnTo>
                  <a:lnTo>
                    <a:pt x="48" y="34"/>
                  </a:lnTo>
                  <a:lnTo>
                    <a:pt x="48" y="3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4" name="Freeform 61"/>
            <p:cNvSpPr>
              <a:spLocks/>
            </p:cNvSpPr>
            <p:nvPr/>
          </p:nvSpPr>
          <p:spPr bwMode="auto">
            <a:xfrm>
              <a:off x="13973175" y="6359525"/>
              <a:ext cx="60325" cy="66675"/>
            </a:xfrm>
            <a:custGeom>
              <a:avLst/>
              <a:gdLst>
                <a:gd name="T0" fmla="*/ 0 w 38"/>
                <a:gd name="T1" fmla="*/ 2 h 42"/>
                <a:gd name="T2" fmla="*/ 0 w 38"/>
                <a:gd name="T3" fmla="*/ 2 h 42"/>
                <a:gd name="T4" fmla="*/ 0 w 38"/>
                <a:gd name="T5" fmla="*/ 6 h 42"/>
                <a:gd name="T6" fmla="*/ 4 w 38"/>
                <a:gd name="T7" fmla="*/ 12 h 42"/>
                <a:gd name="T8" fmla="*/ 14 w 38"/>
                <a:gd name="T9" fmla="*/ 26 h 42"/>
                <a:gd name="T10" fmla="*/ 24 w 38"/>
                <a:gd name="T11" fmla="*/ 38 h 42"/>
                <a:gd name="T12" fmla="*/ 30 w 38"/>
                <a:gd name="T13" fmla="*/ 42 h 42"/>
                <a:gd name="T14" fmla="*/ 34 w 38"/>
                <a:gd name="T15" fmla="*/ 40 h 42"/>
                <a:gd name="T16" fmla="*/ 34 w 38"/>
                <a:gd name="T17" fmla="*/ 40 h 42"/>
                <a:gd name="T18" fmla="*/ 36 w 38"/>
                <a:gd name="T19" fmla="*/ 38 h 42"/>
                <a:gd name="T20" fmla="*/ 38 w 38"/>
                <a:gd name="T21" fmla="*/ 36 h 42"/>
                <a:gd name="T22" fmla="*/ 36 w 38"/>
                <a:gd name="T23" fmla="*/ 30 h 42"/>
                <a:gd name="T24" fmla="*/ 32 w 38"/>
                <a:gd name="T25" fmla="*/ 22 h 42"/>
                <a:gd name="T26" fmla="*/ 24 w 38"/>
                <a:gd name="T27" fmla="*/ 14 h 42"/>
                <a:gd name="T28" fmla="*/ 8 w 38"/>
                <a:gd name="T29" fmla="*/ 4 h 42"/>
                <a:gd name="T30" fmla="*/ 4 w 38"/>
                <a:gd name="T31" fmla="*/ 0 h 42"/>
                <a:gd name="T32" fmla="*/ 2 w 38"/>
                <a:gd name="T33" fmla="*/ 0 h 42"/>
                <a:gd name="T34" fmla="*/ 0 w 38"/>
                <a:gd name="T35" fmla="*/ 2 h 42"/>
                <a:gd name="T36" fmla="*/ 0 w 38"/>
                <a:gd name="T37"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2">
                  <a:moveTo>
                    <a:pt x="0" y="2"/>
                  </a:moveTo>
                  <a:lnTo>
                    <a:pt x="0" y="2"/>
                  </a:lnTo>
                  <a:lnTo>
                    <a:pt x="0" y="6"/>
                  </a:lnTo>
                  <a:lnTo>
                    <a:pt x="4" y="12"/>
                  </a:lnTo>
                  <a:lnTo>
                    <a:pt x="14" y="26"/>
                  </a:lnTo>
                  <a:lnTo>
                    <a:pt x="24" y="38"/>
                  </a:lnTo>
                  <a:lnTo>
                    <a:pt x="30" y="42"/>
                  </a:lnTo>
                  <a:lnTo>
                    <a:pt x="34" y="40"/>
                  </a:lnTo>
                  <a:lnTo>
                    <a:pt x="34" y="40"/>
                  </a:lnTo>
                  <a:lnTo>
                    <a:pt x="36" y="38"/>
                  </a:lnTo>
                  <a:lnTo>
                    <a:pt x="38" y="36"/>
                  </a:lnTo>
                  <a:lnTo>
                    <a:pt x="36" y="30"/>
                  </a:lnTo>
                  <a:lnTo>
                    <a:pt x="32" y="22"/>
                  </a:lnTo>
                  <a:lnTo>
                    <a:pt x="24" y="14"/>
                  </a:lnTo>
                  <a:lnTo>
                    <a:pt x="8" y="4"/>
                  </a:lnTo>
                  <a:lnTo>
                    <a:pt x="4" y="0"/>
                  </a:lnTo>
                  <a:lnTo>
                    <a:pt x="2" y="0"/>
                  </a:lnTo>
                  <a:lnTo>
                    <a:pt x="0" y="2"/>
                  </a:lnTo>
                  <a:lnTo>
                    <a:pt x="0" y="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5" name="Freeform 62"/>
            <p:cNvSpPr>
              <a:spLocks/>
            </p:cNvSpPr>
            <p:nvPr/>
          </p:nvSpPr>
          <p:spPr bwMode="auto">
            <a:xfrm>
              <a:off x="12779375" y="6032500"/>
              <a:ext cx="63500" cy="104775"/>
            </a:xfrm>
            <a:custGeom>
              <a:avLst/>
              <a:gdLst>
                <a:gd name="T0" fmla="*/ 22 w 40"/>
                <a:gd name="T1" fmla="*/ 16 h 66"/>
                <a:gd name="T2" fmla="*/ 22 w 40"/>
                <a:gd name="T3" fmla="*/ 16 h 66"/>
                <a:gd name="T4" fmla="*/ 22 w 40"/>
                <a:gd name="T5" fmla="*/ 10 h 66"/>
                <a:gd name="T6" fmla="*/ 18 w 40"/>
                <a:gd name="T7" fmla="*/ 2 h 66"/>
                <a:gd name="T8" fmla="*/ 16 w 40"/>
                <a:gd name="T9" fmla="*/ 0 h 66"/>
                <a:gd name="T10" fmla="*/ 12 w 40"/>
                <a:gd name="T11" fmla="*/ 0 h 66"/>
                <a:gd name="T12" fmla="*/ 8 w 40"/>
                <a:gd name="T13" fmla="*/ 2 h 66"/>
                <a:gd name="T14" fmla="*/ 4 w 40"/>
                <a:gd name="T15" fmla="*/ 6 h 66"/>
                <a:gd name="T16" fmla="*/ 4 w 40"/>
                <a:gd name="T17" fmla="*/ 6 h 66"/>
                <a:gd name="T18" fmla="*/ 0 w 40"/>
                <a:gd name="T19" fmla="*/ 14 h 66"/>
                <a:gd name="T20" fmla="*/ 0 w 40"/>
                <a:gd name="T21" fmla="*/ 24 h 66"/>
                <a:gd name="T22" fmla="*/ 0 w 40"/>
                <a:gd name="T23" fmla="*/ 34 h 66"/>
                <a:gd name="T24" fmla="*/ 2 w 40"/>
                <a:gd name="T25" fmla="*/ 44 h 66"/>
                <a:gd name="T26" fmla="*/ 6 w 40"/>
                <a:gd name="T27" fmla="*/ 52 h 66"/>
                <a:gd name="T28" fmla="*/ 10 w 40"/>
                <a:gd name="T29" fmla="*/ 60 h 66"/>
                <a:gd name="T30" fmla="*/ 14 w 40"/>
                <a:gd name="T31" fmla="*/ 64 h 66"/>
                <a:gd name="T32" fmla="*/ 18 w 40"/>
                <a:gd name="T33" fmla="*/ 66 h 66"/>
                <a:gd name="T34" fmla="*/ 18 w 40"/>
                <a:gd name="T35" fmla="*/ 66 h 66"/>
                <a:gd name="T36" fmla="*/ 20 w 40"/>
                <a:gd name="T37" fmla="*/ 64 h 66"/>
                <a:gd name="T38" fmla="*/ 22 w 40"/>
                <a:gd name="T39" fmla="*/ 62 h 66"/>
                <a:gd name="T40" fmla="*/ 20 w 40"/>
                <a:gd name="T41" fmla="*/ 54 h 66"/>
                <a:gd name="T42" fmla="*/ 20 w 40"/>
                <a:gd name="T43" fmla="*/ 50 h 66"/>
                <a:gd name="T44" fmla="*/ 20 w 40"/>
                <a:gd name="T45" fmla="*/ 46 h 66"/>
                <a:gd name="T46" fmla="*/ 24 w 40"/>
                <a:gd name="T47" fmla="*/ 44 h 66"/>
                <a:gd name="T48" fmla="*/ 28 w 40"/>
                <a:gd name="T49" fmla="*/ 44 h 66"/>
                <a:gd name="T50" fmla="*/ 28 w 40"/>
                <a:gd name="T51" fmla="*/ 44 h 66"/>
                <a:gd name="T52" fmla="*/ 34 w 40"/>
                <a:gd name="T53" fmla="*/ 44 h 66"/>
                <a:gd name="T54" fmla="*/ 38 w 40"/>
                <a:gd name="T55" fmla="*/ 44 h 66"/>
                <a:gd name="T56" fmla="*/ 40 w 40"/>
                <a:gd name="T57" fmla="*/ 42 h 66"/>
                <a:gd name="T58" fmla="*/ 40 w 40"/>
                <a:gd name="T59" fmla="*/ 38 h 66"/>
                <a:gd name="T60" fmla="*/ 38 w 40"/>
                <a:gd name="T61" fmla="*/ 24 h 66"/>
                <a:gd name="T62" fmla="*/ 38 w 40"/>
                <a:gd name="T63" fmla="*/ 24 h 66"/>
                <a:gd name="T64" fmla="*/ 38 w 40"/>
                <a:gd name="T65" fmla="*/ 20 h 66"/>
                <a:gd name="T66" fmla="*/ 36 w 40"/>
                <a:gd name="T67" fmla="*/ 18 h 66"/>
                <a:gd name="T68" fmla="*/ 30 w 40"/>
                <a:gd name="T69" fmla="*/ 18 h 66"/>
                <a:gd name="T70" fmla="*/ 24 w 40"/>
                <a:gd name="T71" fmla="*/ 18 h 66"/>
                <a:gd name="T72" fmla="*/ 22 w 40"/>
                <a:gd name="T73" fmla="*/ 18 h 66"/>
                <a:gd name="T74" fmla="*/ 22 w 40"/>
                <a:gd name="T75" fmla="*/ 16 h 66"/>
                <a:gd name="T76" fmla="*/ 22 w 40"/>
                <a:gd name="T7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66">
                  <a:moveTo>
                    <a:pt x="22" y="16"/>
                  </a:moveTo>
                  <a:lnTo>
                    <a:pt x="22" y="16"/>
                  </a:lnTo>
                  <a:lnTo>
                    <a:pt x="22" y="10"/>
                  </a:lnTo>
                  <a:lnTo>
                    <a:pt x="18" y="2"/>
                  </a:lnTo>
                  <a:lnTo>
                    <a:pt x="16" y="0"/>
                  </a:lnTo>
                  <a:lnTo>
                    <a:pt x="12" y="0"/>
                  </a:lnTo>
                  <a:lnTo>
                    <a:pt x="8" y="2"/>
                  </a:lnTo>
                  <a:lnTo>
                    <a:pt x="4" y="6"/>
                  </a:lnTo>
                  <a:lnTo>
                    <a:pt x="4" y="6"/>
                  </a:lnTo>
                  <a:lnTo>
                    <a:pt x="0" y="14"/>
                  </a:lnTo>
                  <a:lnTo>
                    <a:pt x="0" y="24"/>
                  </a:lnTo>
                  <a:lnTo>
                    <a:pt x="0" y="34"/>
                  </a:lnTo>
                  <a:lnTo>
                    <a:pt x="2" y="44"/>
                  </a:lnTo>
                  <a:lnTo>
                    <a:pt x="6" y="52"/>
                  </a:lnTo>
                  <a:lnTo>
                    <a:pt x="10" y="60"/>
                  </a:lnTo>
                  <a:lnTo>
                    <a:pt x="14" y="64"/>
                  </a:lnTo>
                  <a:lnTo>
                    <a:pt x="18" y="66"/>
                  </a:lnTo>
                  <a:lnTo>
                    <a:pt x="18" y="66"/>
                  </a:lnTo>
                  <a:lnTo>
                    <a:pt x="20" y="64"/>
                  </a:lnTo>
                  <a:lnTo>
                    <a:pt x="22" y="62"/>
                  </a:lnTo>
                  <a:lnTo>
                    <a:pt x="20" y="54"/>
                  </a:lnTo>
                  <a:lnTo>
                    <a:pt x="20" y="50"/>
                  </a:lnTo>
                  <a:lnTo>
                    <a:pt x="20" y="46"/>
                  </a:lnTo>
                  <a:lnTo>
                    <a:pt x="24" y="44"/>
                  </a:lnTo>
                  <a:lnTo>
                    <a:pt x="28" y="44"/>
                  </a:lnTo>
                  <a:lnTo>
                    <a:pt x="28" y="44"/>
                  </a:lnTo>
                  <a:lnTo>
                    <a:pt x="34" y="44"/>
                  </a:lnTo>
                  <a:lnTo>
                    <a:pt x="38" y="44"/>
                  </a:lnTo>
                  <a:lnTo>
                    <a:pt x="40" y="42"/>
                  </a:lnTo>
                  <a:lnTo>
                    <a:pt x="40" y="38"/>
                  </a:lnTo>
                  <a:lnTo>
                    <a:pt x="38" y="24"/>
                  </a:lnTo>
                  <a:lnTo>
                    <a:pt x="38" y="24"/>
                  </a:lnTo>
                  <a:lnTo>
                    <a:pt x="38" y="20"/>
                  </a:lnTo>
                  <a:lnTo>
                    <a:pt x="36" y="18"/>
                  </a:lnTo>
                  <a:lnTo>
                    <a:pt x="30" y="18"/>
                  </a:lnTo>
                  <a:lnTo>
                    <a:pt x="24" y="18"/>
                  </a:lnTo>
                  <a:lnTo>
                    <a:pt x="22" y="18"/>
                  </a:lnTo>
                  <a:lnTo>
                    <a:pt x="22" y="16"/>
                  </a:lnTo>
                  <a:lnTo>
                    <a:pt x="22" y="1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6" name="Freeform 63"/>
            <p:cNvSpPr>
              <a:spLocks/>
            </p:cNvSpPr>
            <p:nvPr/>
          </p:nvSpPr>
          <p:spPr bwMode="auto">
            <a:xfrm>
              <a:off x="14138275" y="6457950"/>
              <a:ext cx="60325" cy="34925"/>
            </a:xfrm>
            <a:custGeom>
              <a:avLst/>
              <a:gdLst>
                <a:gd name="T0" fmla="*/ 0 w 38"/>
                <a:gd name="T1" fmla="*/ 2 h 22"/>
                <a:gd name="T2" fmla="*/ 0 w 38"/>
                <a:gd name="T3" fmla="*/ 2 h 22"/>
                <a:gd name="T4" fmla="*/ 2 w 38"/>
                <a:gd name="T5" fmla="*/ 4 h 22"/>
                <a:gd name="T6" fmla="*/ 6 w 38"/>
                <a:gd name="T7" fmla="*/ 8 h 22"/>
                <a:gd name="T8" fmla="*/ 16 w 38"/>
                <a:gd name="T9" fmla="*/ 16 h 22"/>
                <a:gd name="T10" fmla="*/ 30 w 38"/>
                <a:gd name="T11" fmla="*/ 22 h 22"/>
                <a:gd name="T12" fmla="*/ 36 w 38"/>
                <a:gd name="T13" fmla="*/ 22 h 22"/>
                <a:gd name="T14" fmla="*/ 38 w 38"/>
                <a:gd name="T15" fmla="*/ 22 h 22"/>
                <a:gd name="T16" fmla="*/ 38 w 38"/>
                <a:gd name="T17" fmla="*/ 22 h 22"/>
                <a:gd name="T18" fmla="*/ 38 w 38"/>
                <a:gd name="T19" fmla="*/ 20 h 22"/>
                <a:gd name="T20" fmla="*/ 36 w 38"/>
                <a:gd name="T21" fmla="*/ 16 h 22"/>
                <a:gd name="T22" fmla="*/ 22 w 38"/>
                <a:gd name="T23" fmla="*/ 6 h 22"/>
                <a:gd name="T24" fmla="*/ 8 w 38"/>
                <a:gd name="T25" fmla="*/ 0 h 22"/>
                <a:gd name="T26" fmla="*/ 2 w 38"/>
                <a:gd name="T27" fmla="*/ 0 h 22"/>
                <a:gd name="T28" fmla="*/ 0 w 38"/>
                <a:gd name="T29" fmla="*/ 2 h 22"/>
                <a:gd name="T30" fmla="*/ 0 w 38"/>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2">
                  <a:moveTo>
                    <a:pt x="0" y="2"/>
                  </a:moveTo>
                  <a:lnTo>
                    <a:pt x="0" y="2"/>
                  </a:lnTo>
                  <a:lnTo>
                    <a:pt x="2" y="4"/>
                  </a:lnTo>
                  <a:lnTo>
                    <a:pt x="6" y="8"/>
                  </a:lnTo>
                  <a:lnTo>
                    <a:pt x="16" y="16"/>
                  </a:lnTo>
                  <a:lnTo>
                    <a:pt x="30" y="22"/>
                  </a:lnTo>
                  <a:lnTo>
                    <a:pt x="36" y="22"/>
                  </a:lnTo>
                  <a:lnTo>
                    <a:pt x="38" y="22"/>
                  </a:lnTo>
                  <a:lnTo>
                    <a:pt x="38" y="22"/>
                  </a:lnTo>
                  <a:lnTo>
                    <a:pt x="38" y="20"/>
                  </a:lnTo>
                  <a:lnTo>
                    <a:pt x="36" y="16"/>
                  </a:lnTo>
                  <a:lnTo>
                    <a:pt x="22" y="6"/>
                  </a:lnTo>
                  <a:lnTo>
                    <a:pt x="8" y="0"/>
                  </a:lnTo>
                  <a:lnTo>
                    <a:pt x="2" y="0"/>
                  </a:lnTo>
                  <a:lnTo>
                    <a:pt x="0" y="2"/>
                  </a:lnTo>
                  <a:lnTo>
                    <a:pt x="0" y="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7" name="Freeform 64"/>
            <p:cNvSpPr>
              <a:spLocks/>
            </p:cNvSpPr>
            <p:nvPr/>
          </p:nvSpPr>
          <p:spPr bwMode="auto">
            <a:xfrm>
              <a:off x="14236700" y="6489700"/>
              <a:ext cx="34925" cy="60325"/>
            </a:xfrm>
            <a:custGeom>
              <a:avLst/>
              <a:gdLst>
                <a:gd name="T0" fmla="*/ 0 w 22"/>
                <a:gd name="T1" fmla="*/ 0 h 38"/>
                <a:gd name="T2" fmla="*/ 0 w 22"/>
                <a:gd name="T3" fmla="*/ 0 h 38"/>
                <a:gd name="T4" fmla="*/ 0 w 22"/>
                <a:gd name="T5" fmla="*/ 6 h 38"/>
                <a:gd name="T6" fmla="*/ 0 w 22"/>
                <a:gd name="T7" fmla="*/ 12 h 38"/>
                <a:gd name="T8" fmla="*/ 8 w 22"/>
                <a:gd name="T9" fmla="*/ 24 h 38"/>
                <a:gd name="T10" fmla="*/ 16 w 22"/>
                <a:gd name="T11" fmla="*/ 34 h 38"/>
                <a:gd name="T12" fmla="*/ 22 w 22"/>
                <a:gd name="T13" fmla="*/ 38 h 38"/>
                <a:gd name="T14" fmla="*/ 22 w 22"/>
                <a:gd name="T15" fmla="*/ 38 h 38"/>
                <a:gd name="T16" fmla="*/ 22 w 22"/>
                <a:gd name="T17" fmla="*/ 36 h 38"/>
                <a:gd name="T18" fmla="*/ 20 w 22"/>
                <a:gd name="T19" fmla="*/ 30 h 38"/>
                <a:gd name="T20" fmla="*/ 14 w 22"/>
                <a:gd name="T21" fmla="*/ 16 h 38"/>
                <a:gd name="T22" fmla="*/ 6 w 22"/>
                <a:gd name="T23" fmla="*/ 2 h 38"/>
                <a:gd name="T24" fmla="*/ 2 w 22"/>
                <a:gd name="T25" fmla="*/ 0 h 38"/>
                <a:gd name="T26" fmla="*/ 2 w 22"/>
                <a:gd name="T27" fmla="*/ 0 h 38"/>
                <a:gd name="T28" fmla="*/ 0 w 22"/>
                <a:gd name="T29" fmla="*/ 0 h 38"/>
                <a:gd name="T30" fmla="*/ 0 w 22"/>
                <a:gd name="T3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8">
                  <a:moveTo>
                    <a:pt x="0" y="0"/>
                  </a:moveTo>
                  <a:lnTo>
                    <a:pt x="0" y="0"/>
                  </a:lnTo>
                  <a:lnTo>
                    <a:pt x="0" y="6"/>
                  </a:lnTo>
                  <a:lnTo>
                    <a:pt x="0" y="12"/>
                  </a:lnTo>
                  <a:lnTo>
                    <a:pt x="8" y="24"/>
                  </a:lnTo>
                  <a:lnTo>
                    <a:pt x="16" y="34"/>
                  </a:lnTo>
                  <a:lnTo>
                    <a:pt x="22" y="38"/>
                  </a:lnTo>
                  <a:lnTo>
                    <a:pt x="22" y="38"/>
                  </a:lnTo>
                  <a:lnTo>
                    <a:pt x="22" y="36"/>
                  </a:lnTo>
                  <a:lnTo>
                    <a:pt x="20" y="30"/>
                  </a:lnTo>
                  <a:lnTo>
                    <a:pt x="14" y="16"/>
                  </a:lnTo>
                  <a:lnTo>
                    <a:pt x="6" y="2"/>
                  </a:lnTo>
                  <a:lnTo>
                    <a:pt x="2" y="0"/>
                  </a:lnTo>
                  <a:lnTo>
                    <a:pt x="2" y="0"/>
                  </a:lnTo>
                  <a:lnTo>
                    <a:pt x="0" y="0"/>
                  </a:lnTo>
                  <a:lnTo>
                    <a:pt x="0" y="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8" name="Freeform 65"/>
            <p:cNvSpPr>
              <a:spLocks/>
            </p:cNvSpPr>
            <p:nvPr/>
          </p:nvSpPr>
          <p:spPr bwMode="auto">
            <a:xfrm>
              <a:off x="12807950" y="6238875"/>
              <a:ext cx="120650" cy="47625"/>
            </a:xfrm>
            <a:custGeom>
              <a:avLst/>
              <a:gdLst>
                <a:gd name="T0" fmla="*/ 0 w 76"/>
                <a:gd name="T1" fmla="*/ 14 h 30"/>
                <a:gd name="T2" fmla="*/ 0 w 76"/>
                <a:gd name="T3" fmla="*/ 14 h 30"/>
                <a:gd name="T4" fmla="*/ 2 w 76"/>
                <a:gd name="T5" fmla="*/ 16 h 30"/>
                <a:gd name="T6" fmla="*/ 4 w 76"/>
                <a:gd name="T7" fmla="*/ 18 h 30"/>
                <a:gd name="T8" fmla="*/ 14 w 76"/>
                <a:gd name="T9" fmla="*/ 20 h 30"/>
                <a:gd name="T10" fmla="*/ 38 w 76"/>
                <a:gd name="T11" fmla="*/ 18 h 30"/>
                <a:gd name="T12" fmla="*/ 38 w 76"/>
                <a:gd name="T13" fmla="*/ 18 h 30"/>
                <a:gd name="T14" fmla="*/ 48 w 76"/>
                <a:gd name="T15" fmla="*/ 20 h 30"/>
                <a:gd name="T16" fmla="*/ 58 w 76"/>
                <a:gd name="T17" fmla="*/ 24 h 30"/>
                <a:gd name="T18" fmla="*/ 66 w 76"/>
                <a:gd name="T19" fmla="*/ 28 h 30"/>
                <a:gd name="T20" fmla="*/ 72 w 76"/>
                <a:gd name="T21" fmla="*/ 30 h 30"/>
                <a:gd name="T22" fmla="*/ 72 w 76"/>
                <a:gd name="T23" fmla="*/ 30 h 30"/>
                <a:gd name="T24" fmla="*/ 74 w 76"/>
                <a:gd name="T25" fmla="*/ 30 h 30"/>
                <a:gd name="T26" fmla="*/ 76 w 76"/>
                <a:gd name="T27" fmla="*/ 28 h 30"/>
                <a:gd name="T28" fmla="*/ 76 w 76"/>
                <a:gd name="T29" fmla="*/ 24 h 30"/>
                <a:gd name="T30" fmla="*/ 74 w 76"/>
                <a:gd name="T31" fmla="*/ 20 h 30"/>
                <a:gd name="T32" fmla="*/ 70 w 76"/>
                <a:gd name="T33" fmla="*/ 14 h 30"/>
                <a:gd name="T34" fmla="*/ 66 w 76"/>
                <a:gd name="T35" fmla="*/ 10 h 30"/>
                <a:gd name="T36" fmla="*/ 60 w 76"/>
                <a:gd name="T37" fmla="*/ 6 h 30"/>
                <a:gd name="T38" fmla="*/ 54 w 76"/>
                <a:gd name="T39" fmla="*/ 4 h 30"/>
                <a:gd name="T40" fmla="*/ 54 w 76"/>
                <a:gd name="T41" fmla="*/ 4 h 30"/>
                <a:gd name="T42" fmla="*/ 44 w 76"/>
                <a:gd name="T43" fmla="*/ 2 h 30"/>
                <a:gd name="T44" fmla="*/ 36 w 76"/>
                <a:gd name="T45" fmla="*/ 0 h 30"/>
                <a:gd name="T46" fmla="*/ 18 w 76"/>
                <a:gd name="T47" fmla="*/ 2 h 30"/>
                <a:gd name="T48" fmla="*/ 10 w 76"/>
                <a:gd name="T49" fmla="*/ 4 h 30"/>
                <a:gd name="T50" fmla="*/ 4 w 76"/>
                <a:gd name="T51" fmla="*/ 6 h 30"/>
                <a:gd name="T52" fmla="*/ 0 w 76"/>
                <a:gd name="T53" fmla="*/ 10 h 30"/>
                <a:gd name="T54" fmla="*/ 0 w 76"/>
                <a:gd name="T55" fmla="*/ 14 h 30"/>
                <a:gd name="T56" fmla="*/ 0 w 76"/>
                <a:gd name="T5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 h="30">
                  <a:moveTo>
                    <a:pt x="0" y="14"/>
                  </a:moveTo>
                  <a:lnTo>
                    <a:pt x="0" y="14"/>
                  </a:lnTo>
                  <a:lnTo>
                    <a:pt x="2" y="16"/>
                  </a:lnTo>
                  <a:lnTo>
                    <a:pt x="4" y="18"/>
                  </a:lnTo>
                  <a:lnTo>
                    <a:pt x="14" y="20"/>
                  </a:lnTo>
                  <a:lnTo>
                    <a:pt x="38" y="18"/>
                  </a:lnTo>
                  <a:lnTo>
                    <a:pt x="38" y="18"/>
                  </a:lnTo>
                  <a:lnTo>
                    <a:pt x="48" y="20"/>
                  </a:lnTo>
                  <a:lnTo>
                    <a:pt x="58" y="24"/>
                  </a:lnTo>
                  <a:lnTo>
                    <a:pt x="66" y="28"/>
                  </a:lnTo>
                  <a:lnTo>
                    <a:pt x="72" y="30"/>
                  </a:lnTo>
                  <a:lnTo>
                    <a:pt x="72" y="30"/>
                  </a:lnTo>
                  <a:lnTo>
                    <a:pt x="74" y="30"/>
                  </a:lnTo>
                  <a:lnTo>
                    <a:pt x="76" y="28"/>
                  </a:lnTo>
                  <a:lnTo>
                    <a:pt x="76" y="24"/>
                  </a:lnTo>
                  <a:lnTo>
                    <a:pt x="74" y="20"/>
                  </a:lnTo>
                  <a:lnTo>
                    <a:pt x="70" y="14"/>
                  </a:lnTo>
                  <a:lnTo>
                    <a:pt x="66" y="10"/>
                  </a:lnTo>
                  <a:lnTo>
                    <a:pt x="60" y="6"/>
                  </a:lnTo>
                  <a:lnTo>
                    <a:pt x="54" y="4"/>
                  </a:lnTo>
                  <a:lnTo>
                    <a:pt x="54" y="4"/>
                  </a:lnTo>
                  <a:lnTo>
                    <a:pt x="44" y="2"/>
                  </a:lnTo>
                  <a:lnTo>
                    <a:pt x="36" y="0"/>
                  </a:lnTo>
                  <a:lnTo>
                    <a:pt x="18" y="2"/>
                  </a:lnTo>
                  <a:lnTo>
                    <a:pt x="10" y="4"/>
                  </a:lnTo>
                  <a:lnTo>
                    <a:pt x="4" y="6"/>
                  </a:lnTo>
                  <a:lnTo>
                    <a:pt x="0" y="10"/>
                  </a:lnTo>
                  <a:lnTo>
                    <a:pt x="0" y="14"/>
                  </a:lnTo>
                  <a:lnTo>
                    <a:pt x="0" y="1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79" name="Freeform 66"/>
            <p:cNvSpPr>
              <a:spLocks/>
            </p:cNvSpPr>
            <p:nvPr/>
          </p:nvSpPr>
          <p:spPr bwMode="auto">
            <a:xfrm>
              <a:off x="13420725" y="3486150"/>
              <a:ext cx="114300" cy="469900"/>
            </a:xfrm>
            <a:custGeom>
              <a:avLst/>
              <a:gdLst>
                <a:gd name="T0" fmla="*/ 10 w 72"/>
                <a:gd name="T1" fmla="*/ 112 h 296"/>
                <a:gd name="T2" fmla="*/ 12 w 72"/>
                <a:gd name="T3" fmla="*/ 132 h 296"/>
                <a:gd name="T4" fmla="*/ 6 w 72"/>
                <a:gd name="T5" fmla="*/ 196 h 296"/>
                <a:gd name="T6" fmla="*/ 8 w 72"/>
                <a:gd name="T7" fmla="*/ 216 h 296"/>
                <a:gd name="T8" fmla="*/ 8 w 72"/>
                <a:gd name="T9" fmla="*/ 224 h 296"/>
                <a:gd name="T10" fmla="*/ 6 w 72"/>
                <a:gd name="T11" fmla="*/ 258 h 296"/>
                <a:gd name="T12" fmla="*/ 2 w 72"/>
                <a:gd name="T13" fmla="*/ 288 h 296"/>
                <a:gd name="T14" fmla="*/ 2 w 72"/>
                <a:gd name="T15" fmla="*/ 294 h 296"/>
                <a:gd name="T16" fmla="*/ 8 w 72"/>
                <a:gd name="T17" fmla="*/ 296 h 296"/>
                <a:gd name="T18" fmla="*/ 12 w 72"/>
                <a:gd name="T19" fmla="*/ 280 h 296"/>
                <a:gd name="T20" fmla="*/ 20 w 72"/>
                <a:gd name="T21" fmla="*/ 276 h 296"/>
                <a:gd name="T22" fmla="*/ 26 w 72"/>
                <a:gd name="T23" fmla="*/ 276 h 296"/>
                <a:gd name="T24" fmla="*/ 34 w 72"/>
                <a:gd name="T25" fmla="*/ 284 h 296"/>
                <a:gd name="T26" fmla="*/ 40 w 72"/>
                <a:gd name="T27" fmla="*/ 294 h 296"/>
                <a:gd name="T28" fmla="*/ 44 w 72"/>
                <a:gd name="T29" fmla="*/ 296 h 296"/>
                <a:gd name="T30" fmla="*/ 48 w 72"/>
                <a:gd name="T31" fmla="*/ 294 h 296"/>
                <a:gd name="T32" fmla="*/ 44 w 72"/>
                <a:gd name="T33" fmla="*/ 276 h 296"/>
                <a:gd name="T34" fmla="*/ 38 w 72"/>
                <a:gd name="T35" fmla="*/ 272 h 296"/>
                <a:gd name="T36" fmla="*/ 36 w 72"/>
                <a:gd name="T37" fmla="*/ 272 h 296"/>
                <a:gd name="T38" fmla="*/ 28 w 72"/>
                <a:gd name="T39" fmla="*/ 260 h 296"/>
                <a:gd name="T40" fmla="*/ 20 w 72"/>
                <a:gd name="T41" fmla="*/ 240 h 296"/>
                <a:gd name="T42" fmla="*/ 20 w 72"/>
                <a:gd name="T43" fmla="*/ 230 h 296"/>
                <a:gd name="T44" fmla="*/ 26 w 72"/>
                <a:gd name="T45" fmla="*/ 206 h 296"/>
                <a:gd name="T46" fmla="*/ 28 w 72"/>
                <a:gd name="T47" fmla="*/ 194 h 296"/>
                <a:gd name="T48" fmla="*/ 32 w 72"/>
                <a:gd name="T49" fmla="*/ 186 h 296"/>
                <a:gd name="T50" fmla="*/ 40 w 72"/>
                <a:gd name="T51" fmla="*/ 182 h 296"/>
                <a:gd name="T52" fmla="*/ 56 w 72"/>
                <a:gd name="T53" fmla="*/ 188 h 296"/>
                <a:gd name="T54" fmla="*/ 60 w 72"/>
                <a:gd name="T55" fmla="*/ 192 h 296"/>
                <a:gd name="T56" fmla="*/ 70 w 72"/>
                <a:gd name="T57" fmla="*/ 198 h 296"/>
                <a:gd name="T58" fmla="*/ 72 w 72"/>
                <a:gd name="T59" fmla="*/ 194 h 296"/>
                <a:gd name="T60" fmla="*/ 70 w 72"/>
                <a:gd name="T61" fmla="*/ 186 h 296"/>
                <a:gd name="T62" fmla="*/ 56 w 72"/>
                <a:gd name="T63" fmla="*/ 144 h 296"/>
                <a:gd name="T64" fmla="*/ 40 w 72"/>
                <a:gd name="T65" fmla="*/ 90 h 296"/>
                <a:gd name="T66" fmla="*/ 38 w 72"/>
                <a:gd name="T67" fmla="*/ 82 h 296"/>
                <a:gd name="T68" fmla="*/ 42 w 72"/>
                <a:gd name="T69" fmla="*/ 56 h 296"/>
                <a:gd name="T70" fmla="*/ 44 w 72"/>
                <a:gd name="T71" fmla="*/ 42 h 296"/>
                <a:gd name="T72" fmla="*/ 38 w 72"/>
                <a:gd name="T73" fmla="*/ 32 h 296"/>
                <a:gd name="T74" fmla="*/ 32 w 72"/>
                <a:gd name="T75" fmla="*/ 28 h 296"/>
                <a:gd name="T76" fmla="*/ 26 w 72"/>
                <a:gd name="T77" fmla="*/ 10 h 296"/>
                <a:gd name="T78" fmla="*/ 22 w 72"/>
                <a:gd name="T79" fmla="*/ 0 h 296"/>
                <a:gd name="T80" fmla="*/ 20 w 72"/>
                <a:gd name="T81" fmla="*/ 0 h 296"/>
                <a:gd name="T82" fmla="*/ 16 w 72"/>
                <a:gd name="T83" fmla="*/ 6 h 296"/>
                <a:gd name="T84" fmla="*/ 12 w 72"/>
                <a:gd name="T85" fmla="*/ 24 h 296"/>
                <a:gd name="T86" fmla="*/ 6 w 72"/>
                <a:gd name="T87" fmla="*/ 28 h 296"/>
                <a:gd name="T88" fmla="*/ 2 w 72"/>
                <a:gd name="T89" fmla="*/ 30 h 296"/>
                <a:gd name="T90" fmla="*/ 0 w 72"/>
                <a:gd name="T91" fmla="*/ 38 h 296"/>
                <a:gd name="T92" fmla="*/ 2 w 72"/>
                <a:gd name="T93" fmla="*/ 52 h 296"/>
                <a:gd name="T94" fmla="*/ 2 w 72"/>
                <a:gd name="T95" fmla="*/ 58 h 296"/>
                <a:gd name="T96" fmla="*/ 2 w 72"/>
                <a:gd name="T97" fmla="*/ 86 h 296"/>
                <a:gd name="T98" fmla="*/ 10 w 72"/>
                <a:gd name="T99" fmla="*/ 11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296">
                  <a:moveTo>
                    <a:pt x="10" y="112"/>
                  </a:moveTo>
                  <a:lnTo>
                    <a:pt x="10" y="112"/>
                  </a:lnTo>
                  <a:lnTo>
                    <a:pt x="12" y="120"/>
                  </a:lnTo>
                  <a:lnTo>
                    <a:pt x="12" y="132"/>
                  </a:lnTo>
                  <a:lnTo>
                    <a:pt x="8" y="164"/>
                  </a:lnTo>
                  <a:lnTo>
                    <a:pt x="6" y="196"/>
                  </a:lnTo>
                  <a:lnTo>
                    <a:pt x="6" y="210"/>
                  </a:lnTo>
                  <a:lnTo>
                    <a:pt x="8" y="216"/>
                  </a:lnTo>
                  <a:lnTo>
                    <a:pt x="8" y="216"/>
                  </a:lnTo>
                  <a:lnTo>
                    <a:pt x="8" y="224"/>
                  </a:lnTo>
                  <a:lnTo>
                    <a:pt x="8" y="234"/>
                  </a:lnTo>
                  <a:lnTo>
                    <a:pt x="6" y="258"/>
                  </a:lnTo>
                  <a:lnTo>
                    <a:pt x="2" y="280"/>
                  </a:lnTo>
                  <a:lnTo>
                    <a:pt x="2" y="288"/>
                  </a:lnTo>
                  <a:lnTo>
                    <a:pt x="2" y="294"/>
                  </a:lnTo>
                  <a:lnTo>
                    <a:pt x="2" y="294"/>
                  </a:lnTo>
                  <a:lnTo>
                    <a:pt x="6" y="296"/>
                  </a:lnTo>
                  <a:lnTo>
                    <a:pt x="8" y="296"/>
                  </a:lnTo>
                  <a:lnTo>
                    <a:pt x="10" y="290"/>
                  </a:lnTo>
                  <a:lnTo>
                    <a:pt x="12" y="280"/>
                  </a:lnTo>
                  <a:lnTo>
                    <a:pt x="16" y="278"/>
                  </a:lnTo>
                  <a:lnTo>
                    <a:pt x="20" y="276"/>
                  </a:lnTo>
                  <a:lnTo>
                    <a:pt x="20" y="276"/>
                  </a:lnTo>
                  <a:lnTo>
                    <a:pt x="26" y="276"/>
                  </a:lnTo>
                  <a:lnTo>
                    <a:pt x="28" y="278"/>
                  </a:lnTo>
                  <a:lnTo>
                    <a:pt x="34" y="284"/>
                  </a:lnTo>
                  <a:lnTo>
                    <a:pt x="38" y="290"/>
                  </a:lnTo>
                  <a:lnTo>
                    <a:pt x="40" y="294"/>
                  </a:lnTo>
                  <a:lnTo>
                    <a:pt x="44" y="296"/>
                  </a:lnTo>
                  <a:lnTo>
                    <a:pt x="44" y="296"/>
                  </a:lnTo>
                  <a:lnTo>
                    <a:pt x="46" y="296"/>
                  </a:lnTo>
                  <a:lnTo>
                    <a:pt x="48" y="294"/>
                  </a:lnTo>
                  <a:lnTo>
                    <a:pt x="48" y="284"/>
                  </a:lnTo>
                  <a:lnTo>
                    <a:pt x="44" y="276"/>
                  </a:lnTo>
                  <a:lnTo>
                    <a:pt x="42" y="272"/>
                  </a:lnTo>
                  <a:lnTo>
                    <a:pt x="38" y="272"/>
                  </a:lnTo>
                  <a:lnTo>
                    <a:pt x="38" y="272"/>
                  </a:lnTo>
                  <a:lnTo>
                    <a:pt x="36" y="272"/>
                  </a:lnTo>
                  <a:lnTo>
                    <a:pt x="34" y="268"/>
                  </a:lnTo>
                  <a:lnTo>
                    <a:pt x="28" y="260"/>
                  </a:lnTo>
                  <a:lnTo>
                    <a:pt x="20" y="240"/>
                  </a:lnTo>
                  <a:lnTo>
                    <a:pt x="20" y="240"/>
                  </a:lnTo>
                  <a:lnTo>
                    <a:pt x="20" y="234"/>
                  </a:lnTo>
                  <a:lnTo>
                    <a:pt x="20" y="230"/>
                  </a:lnTo>
                  <a:lnTo>
                    <a:pt x="22" y="218"/>
                  </a:lnTo>
                  <a:lnTo>
                    <a:pt x="26" y="206"/>
                  </a:lnTo>
                  <a:lnTo>
                    <a:pt x="28" y="194"/>
                  </a:lnTo>
                  <a:lnTo>
                    <a:pt x="28" y="194"/>
                  </a:lnTo>
                  <a:lnTo>
                    <a:pt x="30" y="190"/>
                  </a:lnTo>
                  <a:lnTo>
                    <a:pt x="32" y="186"/>
                  </a:lnTo>
                  <a:lnTo>
                    <a:pt x="36" y="184"/>
                  </a:lnTo>
                  <a:lnTo>
                    <a:pt x="40" y="182"/>
                  </a:lnTo>
                  <a:lnTo>
                    <a:pt x="50" y="184"/>
                  </a:lnTo>
                  <a:lnTo>
                    <a:pt x="56" y="188"/>
                  </a:lnTo>
                  <a:lnTo>
                    <a:pt x="60" y="192"/>
                  </a:lnTo>
                  <a:lnTo>
                    <a:pt x="60" y="192"/>
                  </a:lnTo>
                  <a:lnTo>
                    <a:pt x="68" y="198"/>
                  </a:lnTo>
                  <a:lnTo>
                    <a:pt x="70" y="198"/>
                  </a:lnTo>
                  <a:lnTo>
                    <a:pt x="72" y="198"/>
                  </a:lnTo>
                  <a:lnTo>
                    <a:pt x="72" y="194"/>
                  </a:lnTo>
                  <a:lnTo>
                    <a:pt x="70" y="186"/>
                  </a:lnTo>
                  <a:lnTo>
                    <a:pt x="70" y="186"/>
                  </a:lnTo>
                  <a:lnTo>
                    <a:pt x="64" y="172"/>
                  </a:lnTo>
                  <a:lnTo>
                    <a:pt x="56" y="144"/>
                  </a:lnTo>
                  <a:lnTo>
                    <a:pt x="48" y="114"/>
                  </a:lnTo>
                  <a:lnTo>
                    <a:pt x="40" y="90"/>
                  </a:lnTo>
                  <a:lnTo>
                    <a:pt x="40" y="90"/>
                  </a:lnTo>
                  <a:lnTo>
                    <a:pt x="38" y="82"/>
                  </a:lnTo>
                  <a:lnTo>
                    <a:pt x="38" y="72"/>
                  </a:lnTo>
                  <a:lnTo>
                    <a:pt x="42" y="56"/>
                  </a:lnTo>
                  <a:lnTo>
                    <a:pt x="44" y="50"/>
                  </a:lnTo>
                  <a:lnTo>
                    <a:pt x="44" y="42"/>
                  </a:lnTo>
                  <a:lnTo>
                    <a:pt x="42" y="38"/>
                  </a:lnTo>
                  <a:lnTo>
                    <a:pt x="38" y="32"/>
                  </a:lnTo>
                  <a:lnTo>
                    <a:pt x="38" y="32"/>
                  </a:lnTo>
                  <a:lnTo>
                    <a:pt x="32" y="28"/>
                  </a:lnTo>
                  <a:lnTo>
                    <a:pt x="28" y="22"/>
                  </a:lnTo>
                  <a:lnTo>
                    <a:pt x="26" y="10"/>
                  </a:lnTo>
                  <a:lnTo>
                    <a:pt x="24" y="2"/>
                  </a:lnTo>
                  <a:lnTo>
                    <a:pt x="22" y="0"/>
                  </a:lnTo>
                  <a:lnTo>
                    <a:pt x="20" y="0"/>
                  </a:lnTo>
                  <a:lnTo>
                    <a:pt x="20" y="0"/>
                  </a:lnTo>
                  <a:lnTo>
                    <a:pt x="18" y="2"/>
                  </a:lnTo>
                  <a:lnTo>
                    <a:pt x="16" y="6"/>
                  </a:lnTo>
                  <a:lnTo>
                    <a:pt x="14" y="16"/>
                  </a:lnTo>
                  <a:lnTo>
                    <a:pt x="12" y="24"/>
                  </a:lnTo>
                  <a:lnTo>
                    <a:pt x="10" y="26"/>
                  </a:lnTo>
                  <a:lnTo>
                    <a:pt x="6" y="28"/>
                  </a:lnTo>
                  <a:lnTo>
                    <a:pt x="6" y="28"/>
                  </a:lnTo>
                  <a:lnTo>
                    <a:pt x="2" y="30"/>
                  </a:lnTo>
                  <a:lnTo>
                    <a:pt x="2" y="32"/>
                  </a:lnTo>
                  <a:lnTo>
                    <a:pt x="0" y="38"/>
                  </a:lnTo>
                  <a:lnTo>
                    <a:pt x="2" y="46"/>
                  </a:lnTo>
                  <a:lnTo>
                    <a:pt x="2" y="52"/>
                  </a:lnTo>
                  <a:lnTo>
                    <a:pt x="2" y="58"/>
                  </a:lnTo>
                  <a:lnTo>
                    <a:pt x="2" y="58"/>
                  </a:lnTo>
                  <a:lnTo>
                    <a:pt x="0" y="72"/>
                  </a:lnTo>
                  <a:lnTo>
                    <a:pt x="2" y="86"/>
                  </a:lnTo>
                  <a:lnTo>
                    <a:pt x="6" y="100"/>
                  </a:lnTo>
                  <a:lnTo>
                    <a:pt x="10" y="112"/>
                  </a:lnTo>
                  <a:lnTo>
                    <a:pt x="10" y="11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0" name="Freeform 67"/>
            <p:cNvSpPr>
              <a:spLocks/>
            </p:cNvSpPr>
            <p:nvPr/>
          </p:nvSpPr>
          <p:spPr bwMode="auto">
            <a:xfrm>
              <a:off x="12934950" y="6134100"/>
              <a:ext cx="850900" cy="450850"/>
            </a:xfrm>
            <a:custGeom>
              <a:avLst/>
              <a:gdLst>
                <a:gd name="T0" fmla="*/ 464 w 536"/>
                <a:gd name="T1" fmla="*/ 174 h 284"/>
                <a:gd name="T2" fmla="*/ 458 w 536"/>
                <a:gd name="T3" fmla="*/ 160 h 284"/>
                <a:gd name="T4" fmla="*/ 412 w 536"/>
                <a:gd name="T5" fmla="*/ 140 h 284"/>
                <a:gd name="T6" fmla="*/ 400 w 536"/>
                <a:gd name="T7" fmla="*/ 124 h 284"/>
                <a:gd name="T8" fmla="*/ 326 w 536"/>
                <a:gd name="T9" fmla="*/ 82 h 284"/>
                <a:gd name="T10" fmla="*/ 266 w 536"/>
                <a:gd name="T11" fmla="*/ 62 h 284"/>
                <a:gd name="T12" fmla="*/ 182 w 536"/>
                <a:gd name="T13" fmla="*/ 32 h 284"/>
                <a:gd name="T14" fmla="*/ 170 w 536"/>
                <a:gd name="T15" fmla="*/ 44 h 284"/>
                <a:gd name="T16" fmla="*/ 158 w 536"/>
                <a:gd name="T17" fmla="*/ 54 h 284"/>
                <a:gd name="T18" fmla="*/ 128 w 536"/>
                <a:gd name="T19" fmla="*/ 76 h 284"/>
                <a:gd name="T20" fmla="*/ 112 w 536"/>
                <a:gd name="T21" fmla="*/ 82 h 284"/>
                <a:gd name="T22" fmla="*/ 96 w 536"/>
                <a:gd name="T23" fmla="*/ 56 h 284"/>
                <a:gd name="T24" fmla="*/ 86 w 536"/>
                <a:gd name="T25" fmla="*/ 14 h 284"/>
                <a:gd name="T26" fmla="*/ 42 w 536"/>
                <a:gd name="T27" fmla="*/ 0 h 284"/>
                <a:gd name="T28" fmla="*/ 24 w 536"/>
                <a:gd name="T29" fmla="*/ 6 h 284"/>
                <a:gd name="T30" fmla="*/ 4 w 536"/>
                <a:gd name="T31" fmla="*/ 18 h 284"/>
                <a:gd name="T32" fmla="*/ 0 w 536"/>
                <a:gd name="T33" fmla="*/ 30 h 284"/>
                <a:gd name="T34" fmla="*/ 20 w 536"/>
                <a:gd name="T35" fmla="*/ 32 h 284"/>
                <a:gd name="T36" fmla="*/ 32 w 536"/>
                <a:gd name="T37" fmla="*/ 54 h 284"/>
                <a:gd name="T38" fmla="*/ 74 w 536"/>
                <a:gd name="T39" fmla="*/ 52 h 284"/>
                <a:gd name="T40" fmla="*/ 80 w 536"/>
                <a:gd name="T41" fmla="*/ 60 h 284"/>
                <a:gd name="T42" fmla="*/ 70 w 536"/>
                <a:gd name="T43" fmla="*/ 60 h 284"/>
                <a:gd name="T44" fmla="*/ 48 w 536"/>
                <a:gd name="T45" fmla="*/ 64 h 284"/>
                <a:gd name="T46" fmla="*/ 30 w 536"/>
                <a:gd name="T47" fmla="*/ 66 h 284"/>
                <a:gd name="T48" fmla="*/ 42 w 536"/>
                <a:gd name="T49" fmla="*/ 78 h 284"/>
                <a:gd name="T50" fmla="*/ 50 w 536"/>
                <a:gd name="T51" fmla="*/ 96 h 284"/>
                <a:gd name="T52" fmla="*/ 64 w 536"/>
                <a:gd name="T53" fmla="*/ 98 h 284"/>
                <a:gd name="T54" fmla="*/ 68 w 536"/>
                <a:gd name="T55" fmla="*/ 90 h 284"/>
                <a:gd name="T56" fmla="*/ 96 w 536"/>
                <a:gd name="T57" fmla="*/ 100 h 284"/>
                <a:gd name="T58" fmla="*/ 110 w 536"/>
                <a:gd name="T59" fmla="*/ 112 h 284"/>
                <a:gd name="T60" fmla="*/ 158 w 536"/>
                <a:gd name="T61" fmla="*/ 122 h 284"/>
                <a:gd name="T62" fmla="*/ 200 w 536"/>
                <a:gd name="T63" fmla="*/ 144 h 284"/>
                <a:gd name="T64" fmla="*/ 208 w 536"/>
                <a:gd name="T65" fmla="*/ 168 h 284"/>
                <a:gd name="T66" fmla="*/ 220 w 536"/>
                <a:gd name="T67" fmla="*/ 188 h 284"/>
                <a:gd name="T68" fmla="*/ 210 w 536"/>
                <a:gd name="T69" fmla="*/ 196 h 284"/>
                <a:gd name="T70" fmla="*/ 184 w 536"/>
                <a:gd name="T71" fmla="*/ 212 h 284"/>
                <a:gd name="T72" fmla="*/ 188 w 536"/>
                <a:gd name="T73" fmla="*/ 220 h 284"/>
                <a:gd name="T74" fmla="*/ 248 w 536"/>
                <a:gd name="T75" fmla="*/ 214 h 284"/>
                <a:gd name="T76" fmla="*/ 274 w 536"/>
                <a:gd name="T77" fmla="*/ 236 h 284"/>
                <a:gd name="T78" fmla="*/ 306 w 536"/>
                <a:gd name="T79" fmla="*/ 246 h 284"/>
                <a:gd name="T80" fmla="*/ 332 w 536"/>
                <a:gd name="T81" fmla="*/ 238 h 284"/>
                <a:gd name="T82" fmla="*/ 338 w 536"/>
                <a:gd name="T83" fmla="*/ 228 h 284"/>
                <a:gd name="T84" fmla="*/ 354 w 536"/>
                <a:gd name="T85" fmla="*/ 208 h 284"/>
                <a:gd name="T86" fmla="*/ 396 w 536"/>
                <a:gd name="T87" fmla="*/ 212 h 284"/>
                <a:gd name="T88" fmla="*/ 426 w 536"/>
                <a:gd name="T89" fmla="*/ 236 h 284"/>
                <a:gd name="T90" fmla="*/ 464 w 536"/>
                <a:gd name="T91" fmla="*/ 274 h 284"/>
                <a:gd name="T92" fmla="*/ 486 w 536"/>
                <a:gd name="T93" fmla="*/ 274 h 284"/>
                <a:gd name="T94" fmla="*/ 528 w 536"/>
                <a:gd name="T95" fmla="*/ 284 h 284"/>
                <a:gd name="T96" fmla="*/ 536 w 536"/>
                <a:gd name="T97" fmla="*/ 276 h 284"/>
                <a:gd name="T98" fmla="*/ 512 w 536"/>
                <a:gd name="T99" fmla="*/ 260 h 284"/>
                <a:gd name="T100" fmla="*/ 504 w 536"/>
                <a:gd name="T101" fmla="*/ 246 h 284"/>
                <a:gd name="T102" fmla="*/ 478 w 536"/>
                <a:gd name="T103" fmla="*/ 236 h 284"/>
                <a:gd name="T104" fmla="*/ 468 w 536"/>
                <a:gd name="T105" fmla="*/ 218 h 284"/>
                <a:gd name="T106" fmla="*/ 458 w 536"/>
                <a:gd name="T107" fmla="*/ 200 h 284"/>
                <a:gd name="T108" fmla="*/ 446 w 536"/>
                <a:gd name="T109" fmla="*/ 18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6" h="284">
                  <a:moveTo>
                    <a:pt x="452" y="178"/>
                  </a:moveTo>
                  <a:lnTo>
                    <a:pt x="452" y="178"/>
                  </a:lnTo>
                  <a:lnTo>
                    <a:pt x="460" y="176"/>
                  </a:lnTo>
                  <a:lnTo>
                    <a:pt x="464" y="174"/>
                  </a:lnTo>
                  <a:lnTo>
                    <a:pt x="464" y="172"/>
                  </a:lnTo>
                  <a:lnTo>
                    <a:pt x="464" y="166"/>
                  </a:lnTo>
                  <a:lnTo>
                    <a:pt x="458" y="160"/>
                  </a:lnTo>
                  <a:lnTo>
                    <a:pt x="458" y="160"/>
                  </a:lnTo>
                  <a:lnTo>
                    <a:pt x="452" y="156"/>
                  </a:lnTo>
                  <a:lnTo>
                    <a:pt x="444" y="152"/>
                  </a:lnTo>
                  <a:lnTo>
                    <a:pt x="428" y="146"/>
                  </a:lnTo>
                  <a:lnTo>
                    <a:pt x="412" y="140"/>
                  </a:lnTo>
                  <a:lnTo>
                    <a:pt x="406" y="136"/>
                  </a:lnTo>
                  <a:lnTo>
                    <a:pt x="404" y="130"/>
                  </a:lnTo>
                  <a:lnTo>
                    <a:pt x="404" y="130"/>
                  </a:lnTo>
                  <a:lnTo>
                    <a:pt x="400" y="124"/>
                  </a:lnTo>
                  <a:lnTo>
                    <a:pt x="390" y="116"/>
                  </a:lnTo>
                  <a:lnTo>
                    <a:pt x="378" y="106"/>
                  </a:lnTo>
                  <a:lnTo>
                    <a:pt x="362" y="98"/>
                  </a:lnTo>
                  <a:lnTo>
                    <a:pt x="326" y="82"/>
                  </a:lnTo>
                  <a:lnTo>
                    <a:pt x="310" y="74"/>
                  </a:lnTo>
                  <a:lnTo>
                    <a:pt x="296" y="70"/>
                  </a:lnTo>
                  <a:lnTo>
                    <a:pt x="296" y="70"/>
                  </a:lnTo>
                  <a:lnTo>
                    <a:pt x="266" y="62"/>
                  </a:lnTo>
                  <a:lnTo>
                    <a:pt x="232" y="48"/>
                  </a:lnTo>
                  <a:lnTo>
                    <a:pt x="202" y="36"/>
                  </a:lnTo>
                  <a:lnTo>
                    <a:pt x="190" y="34"/>
                  </a:lnTo>
                  <a:lnTo>
                    <a:pt x="182" y="32"/>
                  </a:lnTo>
                  <a:lnTo>
                    <a:pt x="182" y="32"/>
                  </a:lnTo>
                  <a:lnTo>
                    <a:pt x="178" y="34"/>
                  </a:lnTo>
                  <a:lnTo>
                    <a:pt x="176" y="36"/>
                  </a:lnTo>
                  <a:lnTo>
                    <a:pt x="170" y="44"/>
                  </a:lnTo>
                  <a:lnTo>
                    <a:pt x="166" y="50"/>
                  </a:lnTo>
                  <a:lnTo>
                    <a:pt x="162" y="54"/>
                  </a:lnTo>
                  <a:lnTo>
                    <a:pt x="158" y="54"/>
                  </a:lnTo>
                  <a:lnTo>
                    <a:pt x="158" y="54"/>
                  </a:lnTo>
                  <a:lnTo>
                    <a:pt x="154" y="54"/>
                  </a:lnTo>
                  <a:lnTo>
                    <a:pt x="150" y="58"/>
                  </a:lnTo>
                  <a:lnTo>
                    <a:pt x="140" y="66"/>
                  </a:lnTo>
                  <a:lnTo>
                    <a:pt x="128" y="76"/>
                  </a:lnTo>
                  <a:lnTo>
                    <a:pt x="122" y="80"/>
                  </a:lnTo>
                  <a:lnTo>
                    <a:pt x="114" y="82"/>
                  </a:lnTo>
                  <a:lnTo>
                    <a:pt x="114" y="82"/>
                  </a:lnTo>
                  <a:lnTo>
                    <a:pt x="112" y="82"/>
                  </a:lnTo>
                  <a:lnTo>
                    <a:pt x="108" y="82"/>
                  </a:lnTo>
                  <a:lnTo>
                    <a:pt x="102" y="76"/>
                  </a:lnTo>
                  <a:lnTo>
                    <a:pt x="100" y="66"/>
                  </a:lnTo>
                  <a:lnTo>
                    <a:pt x="96" y="56"/>
                  </a:lnTo>
                  <a:lnTo>
                    <a:pt x="90" y="32"/>
                  </a:lnTo>
                  <a:lnTo>
                    <a:pt x="88" y="22"/>
                  </a:lnTo>
                  <a:lnTo>
                    <a:pt x="86" y="14"/>
                  </a:lnTo>
                  <a:lnTo>
                    <a:pt x="86" y="14"/>
                  </a:lnTo>
                  <a:lnTo>
                    <a:pt x="80" y="10"/>
                  </a:lnTo>
                  <a:lnTo>
                    <a:pt x="72" y="6"/>
                  </a:lnTo>
                  <a:lnTo>
                    <a:pt x="52" y="0"/>
                  </a:lnTo>
                  <a:lnTo>
                    <a:pt x="42" y="0"/>
                  </a:lnTo>
                  <a:lnTo>
                    <a:pt x="34" y="0"/>
                  </a:lnTo>
                  <a:lnTo>
                    <a:pt x="28" y="2"/>
                  </a:lnTo>
                  <a:lnTo>
                    <a:pt x="24" y="6"/>
                  </a:lnTo>
                  <a:lnTo>
                    <a:pt x="24" y="6"/>
                  </a:lnTo>
                  <a:lnTo>
                    <a:pt x="22" y="10"/>
                  </a:lnTo>
                  <a:lnTo>
                    <a:pt x="18" y="14"/>
                  </a:lnTo>
                  <a:lnTo>
                    <a:pt x="10" y="16"/>
                  </a:lnTo>
                  <a:lnTo>
                    <a:pt x="4" y="18"/>
                  </a:lnTo>
                  <a:lnTo>
                    <a:pt x="2" y="20"/>
                  </a:lnTo>
                  <a:lnTo>
                    <a:pt x="0" y="24"/>
                  </a:lnTo>
                  <a:lnTo>
                    <a:pt x="0" y="24"/>
                  </a:lnTo>
                  <a:lnTo>
                    <a:pt x="0" y="30"/>
                  </a:lnTo>
                  <a:lnTo>
                    <a:pt x="2" y="32"/>
                  </a:lnTo>
                  <a:lnTo>
                    <a:pt x="14" y="32"/>
                  </a:lnTo>
                  <a:lnTo>
                    <a:pt x="14" y="32"/>
                  </a:lnTo>
                  <a:lnTo>
                    <a:pt x="20" y="32"/>
                  </a:lnTo>
                  <a:lnTo>
                    <a:pt x="24" y="36"/>
                  </a:lnTo>
                  <a:lnTo>
                    <a:pt x="30" y="50"/>
                  </a:lnTo>
                  <a:lnTo>
                    <a:pt x="30" y="50"/>
                  </a:lnTo>
                  <a:lnTo>
                    <a:pt x="32" y="54"/>
                  </a:lnTo>
                  <a:lnTo>
                    <a:pt x="38" y="54"/>
                  </a:lnTo>
                  <a:lnTo>
                    <a:pt x="50" y="56"/>
                  </a:lnTo>
                  <a:lnTo>
                    <a:pt x="74" y="52"/>
                  </a:lnTo>
                  <a:lnTo>
                    <a:pt x="74" y="52"/>
                  </a:lnTo>
                  <a:lnTo>
                    <a:pt x="76" y="52"/>
                  </a:lnTo>
                  <a:lnTo>
                    <a:pt x="78" y="54"/>
                  </a:lnTo>
                  <a:lnTo>
                    <a:pt x="80" y="58"/>
                  </a:lnTo>
                  <a:lnTo>
                    <a:pt x="80" y="60"/>
                  </a:lnTo>
                  <a:lnTo>
                    <a:pt x="78" y="62"/>
                  </a:lnTo>
                  <a:lnTo>
                    <a:pt x="76" y="62"/>
                  </a:lnTo>
                  <a:lnTo>
                    <a:pt x="70" y="60"/>
                  </a:lnTo>
                  <a:lnTo>
                    <a:pt x="70" y="60"/>
                  </a:lnTo>
                  <a:lnTo>
                    <a:pt x="62" y="60"/>
                  </a:lnTo>
                  <a:lnTo>
                    <a:pt x="58" y="62"/>
                  </a:lnTo>
                  <a:lnTo>
                    <a:pt x="54" y="64"/>
                  </a:lnTo>
                  <a:lnTo>
                    <a:pt x="48" y="64"/>
                  </a:lnTo>
                  <a:lnTo>
                    <a:pt x="48" y="64"/>
                  </a:lnTo>
                  <a:lnTo>
                    <a:pt x="40" y="64"/>
                  </a:lnTo>
                  <a:lnTo>
                    <a:pt x="34" y="64"/>
                  </a:lnTo>
                  <a:lnTo>
                    <a:pt x="30" y="66"/>
                  </a:lnTo>
                  <a:lnTo>
                    <a:pt x="30" y="66"/>
                  </a:lnTo>
                  <a:lnTo>
                    <a:pt x="32" y="68"/>
                  </a:lnTo>
                  <a:lnTo>
                    <a:pt x="32" y="68"/>
                  </a:lnTo>
                  <a:lnTo>
                    <a:pt x="42" y="78"/>
                  </a:lnTo>
                  <a:lnTo>
                    <a:pt x="46" y="84"/>
                  </a:lnTo>
                  <a:lnTo>
                    <a:pt x="48" y="92"/>
                  </a:lnTo>
                  <a:lnTo>
                    <a:pt x="48" y="92"/>
                  </a:lnTo>
                  <a:lnTo>
                    <a:pt x="50" y="96"/>
                  </a:lnTo>
                  <a:lnTo>
                    <a:pt x="52" y="100"/>
                  </a:lnTo>
                  <a:lnTo>
                    <a:pt x="54" y="102"/>
                  </a:lnTo>
                  <a:lnTo>
                    <a:pt x="58" y="102"/>
                  </a:lnTo>
                  <a:lnTo>
                    <a:pt x="64" y="98"/>
                  </a:lnTo>
                  <a:lnTo>
                    <a:pt x="66" y="96"/>
                  </a:lnTo>
                  <a:lnTo>
                    <a:pt x="66" y="92"/>
                  </a:lnTo>
                  <a:lnTo>
                    <a:pt x="66" y="92"/>
                  </a:lnTo>
                  <a:lnTo>
                    <a:pt x="68" y="90"/>
                  </a:lnTo>
                  <a:lnTo>
                    <a:pt x="68" y="88"/>
                  </a:lnTo>
                  <a:lnTo>
                    <a:pt x="74" y="92"/>
                  </a:lnTo>
                  <a:lnTo>
                    <a:pt x="82" y="96"/>
                  </a:lnTo>
                  <a:lnTo>
                    <a:pt x="96" y="100"/>
                  </a:lnTo>
                  <a:lnTo>
                    <a:pt x="96" y="100"/>
                  </a:lnTo>
                  <a:lnTo>
                    <a:pt x="104" y="104"/>
                  </a:lnTo>
                  <a:lnTo>
                    <a:pt x="108" y="108"/>
                  </a:lnTo>
                  <a:lnTo>
                    <a:pt x="110" y="112"/>
                  </a:lnTo>
                  <a:lnTo>
                    <a:pt x="120" y="114"/>
                  </a:lnTo>
                  <a:lnTo>
                    <a:pt x="120" y="114"/>
                  </a:lnTo>
                  <a:lnTo>
                    <a:pt x="136" y="116"/>
                  </a:lnTo>
                  <a:lnTo>
                    <a:pt x="158" y="122"/>
                  </a:lnTo>
                  <a:lnTo>
                    <a:pt x="180" y="132"/>
                  </a:lnTo>
                  <a:lnTo>
                    <a:pt x="196" y="140"/>
                  </a:lnTo>
                  <a:lnTo>
                    <a:pt x="196" y="140"/>
                  </a:lnTo>
                  <a:lnTo>
                    <a:pt x="200" y="144"/>
                  </a:lnTo>
                  <a:lnTo>
                    <a:pt x="204" y="148"/>
                  </a:lnTo>
                  <a:lnTo>
                    <a:pt x="206" y="156"/>
                  </a:lnTo>
                  <a:lnTo>
                    <a:pt x="206" y="164"/>
                  </a:lnTo>
                  <a:lnTo>
                    <a:pt x="208" y="168"/>
                  </a:lnTo>
                  <a:lnTo>
                    <a:pt x="212" y="172"/>
                  </a:lnTo>
                  <a:lnTo>
                    <a:pt x="212" y="172"/>
                  </a:lnTo>
                  <a:lnTo>
                    <a:pt x="218" y="180"/>
                  </a:lnTo>
                  <a:lnTo>
                    <a:pt x="220" y="188"/>
                  </a:lnTo>
                  <a:lnTo>
                    <a:pt x="220" y="192"/>
                  </a:lnTo>
                  <a:lnTo>
                    <a:pt x="218" y="194"/>
                  </a:lnTo>
                  <a:lnTo>
                    <a:pt x="214" y="196"/>
                  </a:lnTo>
                  <a:lnTo>
                    <a:pt x="210" y="196"/>
                  </a:lnTo>
                  <a:lnTo>
                    <a:pt x="210" y="196"/>
                  </a:lnTo>
                  <a:lnTo>
                    <a:pt x="200" y="198"/>
                  </a:lnTo>
                  <a:lnTo>
                    <a:pt x="190" y="204"/>
                  </a:lnTo>
                  <a:lnTo>
                    <a:pt x="184" y="212"/>
                  </a:lnTo>
                  <a:lnTo>
                    <a:pt x="184" y="214"/>
                  </a:lnTo>
                  <a:lnTo>
                    <a:pt x="184" y="218"/>
                  </a:lnTo>
                  <a:lnTo>
                    <a:pt x="184" y="218"/>
                  </a:lnTo>
                  <a:lnTo>
                    <a:pt x="188" y="220"/>
                  </a:lnTo>
                  <a:lnTo>
                    <a:pt x="194" y="220"/>
                  </a:lnTo>
                  <a:lnTo>
                    <a:pt x="214" y="218"/>
                  </a:lnTo>
                  <a:lnTo>
                    <a:pt x="248" y="214"/>
                  </a:lnTo>
                  <a:lnTo>
                    <a:pt x="248" y="214"/>
                  </a:lnTo>
                  <a:lnTo>
                    <a:pt x="252" y="216"/>
                  </a:lnTo>
                  <a:lnTo>
                    <a:pt x="256" y="220"/>
                  </a:lnTo>
                  <a:lnTo>
                    <a:pt x="268" y="230"/>
                  </a:lnTo>
                  <a:lnTo>
                    <a:pt x="274" y="236"/>
                  </a:lnTo>
                  <a:lnTo>
                    <a:pt x="282" y="240"/>
                  </a:lnTo>
                  <a:lnTo>
                    <a:pt x="294" y="244"/>
                  </a:lnTo>
                  <a:lnTo>
                    <a:pt x="306" y="246"/>
                  </a:lnTo>
                  <a:lnTo>
                    <a:pt x="306" y="246"/>
                  </a:lnTo>
                  <a:lnTo>
                    <a:pt x="316" y="246"/>
                  </a:lnTo>
                  <a:lnTo>
                    <a:pt x="324" y="244"/>
                  </a:lnTo>
                  <a:lnTo>
                    <a:pt x="330" y="242"/>
                  </a:lnTo>
                  <a:lnTo>
                    <a:pt x="332" y="238"/>
                  </a:lnTo>
                  <a:lnTo>
                    <a:pt x="336" y="232"/>
                  </a:lnTo>
                  <a:lnTo>
                    <a:pt x="336" y="228"/>
                  </a:lnTo>
                  <a:lnTo>
                    <a:pt x="338" y="228"/>
                  </a:lnTo>
                  <a:lnTo>
                    <a:pt x="338" y="228"/>
                  </a:lnTo>
                  <a:lnTo>
                    <a:pt x="342" y="226"/>
                  </a:lnTo>
                  <a:lnTo>
                    <a:pt x="346" y="222"/>
                  </a:lnTo>
                  <a:lnTo>
                    <a:pt x="354" y="208"/>
                  </a:lnTo>
                  <a:lnTo>
                    <a:pt x="354" y="208"/>
                  </a:lnTo>
                  <a:lnTo>
                    <a:pt x="358" y="206"/>
                  </a:lnTo>
                  <a:lnTo>
                    <a:pt x="364" y="204"/>
                  </a:lnTo>
                  <a:lnTo>
                    <a:pt x="378" y="206"/>
                  </a:lnTo>
                  <a:lnTo>
                    <a:pt x="396" y="212"/>
                  </a:lnTo>
                  <a:lnTo>
                    <a:pt x="412" y="220"/>
                  </a:lnTo>
                  <a:lnTo>
                    <a:pt x="412" y="220"/>
                  </a:lnTo>
                  <a:lnTo>
                    <a:pt x="418" y="228"/>
                  </a:lnTo>
                  <a:lnTo>
                    <a:pt x="426" y="236"/>
                  </a:lnTo>
                  <a:lnTo>
                    <a:pt x="442" y="254"/>
                  </a:lnTo>
                  <a:lnTo>
                    <a:pt x="448" y="262"/>
                  </a:lnTo>
                  <a:lnTo>
                    <a:pt x="456" y="270"/>
                  </a:lnTo>
                  <a:lnTo>
                    <a:pt x="464" y="274"/>
                  </a:lnTo>
                  <a:lnTo>
                    <a:pt x="472" y="274"/>
                  </a:lnTo>
                  <a:lnTo>
                    <a:pt x="472" y="274"/>
                  </a:lnTo>
                  <a:lnTo>
                    <a:pt x="478" y="274"/>
                  </a:lnTo>
                  <a:lnTo>
                    <a:pt x="486" y="274"/>
                  </a:lnTo>
                  <a:lnTo>
                    <a:pt x="500" y="278"/>
                  </a:lnTo>
                  <a:lnTo>
                    <a:pt x="514" y="282"/>
                  </a:lnTo>
                  <a:lnTo>
                    <a:pt x="528" y="284"/>
                  </a:lnTo>
                  <a:lnTo>
                    <a:pt x="528" y="284"/>
                  </a:lnTo>
                  <a:lnTo>
                    <a:pt x="534" y="284"/>
                  </a:lnTo>
                  <a:lnTo>
                    <a:pt x="536" y="282"/>
                  </a:lnTo>
                  <a:lnTo>
                    <a:pt x="536" y="280"/>
                  </a:lnTo>
                  <a:lnTo>
                    <a:pt x="536" y="276"/>
                  </a:lnTo>
                  <a:lnTo>
                    <a:pt x="530" y="272"/>
                  </a:lnTo>
                  <a:lnTo>
                    <a:pt x="524" y="268"/>
                  </a:lnTo>
                  <a:lnTo>
                    <a:pt x="524" y="268"/>
                  </a:lnTo>
                  <a:lnTo>
                    <a:pt x="512" y="260"/>
                  </a:lnTo>
                  <a:lnTo>
                    <a:pt x="508" y="254"/>
                  </a:lnTo>
                  <a:lnTo>
                    <a:pt x="506" y="250"/>
                  </a:lnTo>
                  <a:lnTo>
                    <a:pt x="506" y="250"/>
                  </a:lnTo>
                  <a:lnTo>
                    <a:pt x="504" y="246"/>
                  </a:lnTo>
                  <a:lnTo>
                    <a:pt x="502" y="246"/>
                  </a:lnTo>
                  <a:lnTo>
                    <a:pt x="496" y="242"/>
                  </a:lnTo>
                  <a:lnTo>
                    <a:pt x="488" y="240"/>
                  </a:lnTo>
                  <a:lnTo>
                    <a:pt x="478" y="236"/>
                  </a:lnTo>
                  <a:lnTo>
                    <a:pt x="478" y="236"/>
                  </a:lnTo>
                  <a:lnTo>
                    <a:pt x="474" y="232"/>
                  </a:lnTo>
                  <a:lnTo>
                    <a:pt x="472" y="228"/>
                  </a:lnTo>
                  <a:lnTo>
                    <a:pt x="468" y="218"/>
                  </a:lnTo>
                  <a:lnTo>
                    <a:pt x="466" y="206"/>
                  </a:lnTo>
                  <a:lnTo>
                    <a:pt x="462" y="202"/>
                  </a:lnTo>
                  <a:lnTo>
                    <a:pt x="458" y="200"/>
                  </a:lnTo>
                  <a:lnTo>
                    <a:pt x="458" y="200"/>
                  </a:lnTo>
                  <a:lnTo>
                    <a:pt x="450" y="194"/>
                  </a:lnTo>
                  <a:lnTo>
                    <a:pt x="446" y="186"/>
                  </a:lnTo>
                  <a:lnTo>
                    <a:pt x="444" y="182"/>
                  </a:lnTo>
                  <a:lnTo>
                    <a:pt x="446" y="180"/>
                  </a:lnTo>
                  <a:lnTo>
                    <a:pt x="448" y="178"/>
                  </a:lnTo>
                  <a:lnTo>
                    <a:pt x="452" y="178"/>
                  </a:lnTo>
                  <a:lnTo>
                    <a:pt x="452" y="17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1" name="Freeform 68"/>
            <p:cNvSpPr>
              <a:spLocks/>
            </p:cNvSpPr>
            <p:nvPr/>
          </p:nvSpPr>
          <p:spPr bwMode="auto">
            <a:xfrm>
              <a:off x="12884150" y="4587875"/>
              <a:ext cx="104775" cy="127000"/>
            </a:xfrm>
            <a:custGeom>
              <a:avLst/>
              <a:gdLst>
                <a:gd name="T0" fmla="*/ 14 w 66"/>
                <a:gd name="T1" fmla="*/ 8 h 80"/>
                <a:gd name="T2" fmla="*/ 14 w 66"/>
                <a:gd name="T3" fmla="*/ 8 h 80"/>
                <a:gd name="T4" fmla="*/ 6 w 66"/>
                <a:gd name="T5" fmla="*/ 14 h 80"/>
                <a:gd name="T6" fmla="*/ 2 w 66"/>
                <a:gd name="T7" fmla="*/ 18 h 80"/>
                <a:gd name="T8" fmla="*/ 0 w 66"/>
                <a:gd name="T9" fmla="*/ 22 h 80"/>
                <a:gd name="T10" fmla="*/ 2 w 66"/>
                <a:gd name="T11" fmla="*/ 28 h 80"/>
                <a:gd name="T12" fmla="*/ 2 w 66"/>
                <a:gd name="T13" fmla="*/ 28 h 80"/>
                <a:gd name="T14" fmla="*/ 6 w 66"/>
                <a:gd name="T15" fmla="*/ 32 h 80"/>
                <a:gd name="T16" fmla="*/ 10 w 66"/>
                <a:gd name="T17" fmla="*/ 30 h 80"/>
                <a:gd name="T18" fmla="*/ 14 w 66"/>
                <a:gd name="T19" fmla="*/ 26 h 80"/>
                <a:gd name="T20" fmla="*/ 18 w 66"/>
                <a:gd name="T21" fmla="*/ 20 h 80"/>
                <a:gd name="T22" fmla="*/ 18 w 66"/>
                <a:gd name="T23" fmla="*/ 20 h 80"/>
                <a:gd name="T24" fmla="*/ 18 w 66"/>
                <a:gd name="T25" fmla="*/ 18 h 80"/>
                <a:gd name="T26" fmla="*/ 20 w 66"/>
                <a:gd name="T27" fmla="*/ 18 h 80"/>
                <a:gd name="T28" fmla="*/ 24 w 66"/>
                <a:gd name="T29" fmla="*/ 24 h 80"/>
                <a:gd name="T30" fmla="*/ 24 w 66"/>
                <a:gd name="T31" fmla="*/ 36 h 80"/>
                <a:gd name="T32" fmla="*/ 24 w 66"/>
                <a:gd name="T33" fmla="*/ 42 h 80"/>
                <a:gd name="T34" fmla="*/ 22 w 66"/>
                <a:gd name="T35" fmla="*/ 48 h 80"/>
                <a:gd name="T36" fmla="*/ 22 w 66"/>
                <a:gd name="T37" fmla="*/ 48 h 80"/>
                <a:gd name="T38" fmla="*/ 20 w 66"/>
                <a:gd name="T39" fmla="*/ 52 h 80"/>
                <a:gd name="T40" fmla="*/ 18 w 66"/>
                <a:gd name="T41" fmla="*/ 58 h 80"/>
                <a:gd name="T42" fmla="*/ 20 w 66"/>
                <a:gd name="T43" fmla="*/ 70 h 80"/>
                <a:gd name="T44" fmla="*/ 26 w 66"/>
                <a:gd name="T45" fmla="*/ 78 h 80"/>
                <a:gd name="T46" fmla="*/ 28 w 66"/>
                <a:gd name="T47" fmla="*/ 80 h 80"/>
                <a:gd name="T48" fmla="*/ 32 w 66"/>
                <a:gd name="T49" fmla="*/ 80 h 80"/>
                <a:gd name="T50" fmla="*/ 32 w 66"/>
                <a:gd name="T51" fmla="*/ 80 h 80"/>
                <a:gd name="T52" fmla="*/ 36 w 66"/>
                <a:gd name="T53" fmla="*/ 78 h 80"/>
                <a:gd name="T54" fmla="*/ 38 w 66"/>
                <a:gd name="T55" fmla="*/ 74 h 80"/>
                <a:gd name="T56" fmla="*/ 46 w 66"/>
                <a:gd name="T57" fmla="*/ 62 h 80"/>
                <a:gd name="T58" fmla="*/ 54 w 66"/>
                <a:gd name="T59" fmla="*/ 48 h 80"/>
                <a:gd name="T60" fmla="*/ 62 w 66"/>
                <a:gd name="T61" fmla="*/ 34 h 80"/>
                <a:gd name="T62" fmla="*/ 62 w 66"/>
                <a:gd name="T63" fmla="*/ 34 h 80"/>
                <a:gd name="T64" fmla="*/ 66 w 66"/>
                <a:gd name="T65" fmla="*/ 30 h 80"/>
                <a:gd name="T66" fmla="*/ 66 w 66"/>
                <a:gd name="T67" fmla="*/ 26 h 80"/>
                <a:gd name="T68" fmla="*/ 66 w 66"/>
                <a:gd name="T69" fmla="*/ 24 h 80"/>
                <a:gd name="T70" fmla="*/ 64 w 66"/>
                <a:gd name="T71" fmla="*/ 22 h 80"/>
                <a:gd name="T72" fmla="*/ 60 w 66"/>
                <a:gd name="T73" fmla="*/ 20 h 80"/>
                <a:gd name="T74" fmla="*/ 58 w 66"/>
                <a:gd name="T75" fmla="*/ 20 h 80"/>
                <a:gd name="T76" fmla="*/ 56 w 66"/>
                <a:gd name="T77" fmla="*/ 16 h 80"/>
                <a:gd name="T78" fmla="*/ 56 w 66"/>
                <a:gd name="T79" fmla="*/ 16 h 80"/>
                <a:gd name="T80" fmla="*/ 56 w 66"/>
                <a:gd name="T81" fmla="*/ 14 h 80"/>
                <a:gd name="T82" fmla="*/ 54 w 66"/>
                <a:gd name="T83" fmla="*/ 12 h 80"/>
                <a:gd name="T84" fmla="*/ 48 w 66"/>
                <a:gd name="T85" fmla="*/ 10 h 80"/>
                <a:gd name="T86" fmla="*/ 42 w 66"/>
                <a:gd name="T87" fmla="*/ 8 h 80"/>
                <a:gd name="T88" fmla="*/ 40 w 66"/>
                <a:gd name="T89" fmla="*/ 6 h 80"/>
                <a:gd name="T90" fmla="*/ 38 w 66"/>
                <a:gd name="T91" fmla="*/ 2 h 80"/>
                <a:gd name="T92" fmla="*/ 38 w 66"/>
                <a:gd name="T93" fmla="*/ 2 h 80"/>
                <a:gd name="T94" fmla="*/ 38 w 66"/>
                <a:gd name="T95" fmla="*/ 0 h 80"/>
                <a:gd name="T96" fmla="*/ 36 w 66"/>
                <a:gd name="T97" fmla="*/ 0 h 80"/>
                <a:gd name="T98" fmla="*/ 30 w 66"/>
                <a:gd name="T99" fmla="*/ 0 h 80"/>
                <a:gd name="T100" fmla="*/ 22 w 66"/>
                <a:gd name="T101" fmla="*/ 2 h 80"/>
                <a:gd name="T102" fmla="*/ 14 w 66"/>
                <a:gd name="T103" fmla="*/ 8 h 80"/>
                <a:gd name="T104" fmla="*/ 14 w 66"/>
                <a:gd name="T10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80">
                  <a:moveTo>
                    <a:pt x="14" y="8"/>
                  </a:moveTo>
                  <a:lnTo>
                    <a:pt x="14" y="8"/>
                  </a:lnTo>
                  <a:lnTo>
                    <a:pt x="6" y="14"/>
                  </a:lnTo>
                  <a:lnTo>
                    <a:pt x="2" y="18"/>
                  </a:lnTo>
                  <a:lnTo>
                    <a:pt x="0" y="22"/>
                  </a:lnTo>
                  <a:lnTo>
                    <a:pt x="2" y="28"/>
                  </a:lnTo>
                  <a:lnTo>
                    <a:pt x="2" y="28"/>
                  </a:lnTo>
                  <a:lnTo>
                    <a:pt x="6" y="32"/>
                  </a:lnTo>
                  <a:lnTo>
                    <a:pt x="10" y="30"/>
                  </a:lnTo>
                  <a:lnTo>
                    <a:pt x="14" y="26"/>
                  </a:lnTo>
                  <a:lnTo>
                    <a:pt x="18" y="20"/>
                  </a:lnTo>
                  <a:lnTo>
                    <a:pt x="18" y="20"/>
                  </a:lnTo>
                  <a:lnTo>
                    <a:pt x="18" y="18"/>
                  </a:lnTo>
                  <a:lnTo>
                    <a:pt x="20" y="18"/>
                  </a:lnTo>
                  <a:lnTo>
                    <a:pt x="24" y="24"/>
                  </a:lnTo>
                  <a:lnTo>
                    <a:pt x="24" y="36"/>
                  </a:lnTo>
                  <a:lnTo>
                    <a:pt x="24" y="42"/>
                  </a:lnTo>
                  <a:lnTo>
                    <a:pt x="22" y="48"/>
                  </a:lnTo>
                  <a:lnTo>
                    <a:pt x="22" y="48"/>
                  </a:lnTo>
                  <a:lnTo>
                    <a:pt x="20" y="52"/>
                  </a:lnTo>
                  <a:lnTo>
                    <a:pt x="18" y="58"/>
                  </a:lnTo>
                  <a:lnTo>
                    <a:pt x="20" y="70"/>
                  </a:lnTo>
                  <a:lnTo>
                    <a:pt x="26" y="78"/>
                  </a:lnTo>
                  <a:lnTo>
                    <a:pt x="28" y="80"/>
                  </a:lnTo>
                  <a:lnTo>
                    <a:pt x="32" y="80"/>
                  </a:lnTo>
                  <a:lnTo>
                    <a:pt x="32" y="80"/>
                  </a:lnTo>
                  <a:lnTo>
                    <a:pt x="36" y="78"/>
                  </a:lnTo>
                  <a:lnTo>
                    <a:pt x="38" y="74"/>
                  </a:lnTo>
                  <a:lnTo>
                    <a:pt x="46" y="62"/>
                  </a:lnTo>
                  <a:lnTo>
                    <a:pt x="54" y="48"/>
                  </a:lnTo>
                  <a:lnTo>
                    <a:pt x="62" y="34"/>
                  </a:lnTo>
                  <a:lnTo>
                    <a:pt x="62" y="34"/>
                  </a:lnTo>
                  <a:lnTo>
                    <a:pt x="66" y="30"/>
                  </a:lnTo>
                  <a:lnTo>
                    <a:pt x="66" y="26"/>
                  </a:lnTo>
                  <a:lnTo>
                    <a:pt x="66" y="24"/>
                  </a:lnTo>
                  <a:lnTo>
                    <a:pt x="64" y="22"/>
                  </a:lnTo>
                  <a:lnTo>
                    <a:pt x="60" y="20"/>
                  </a:lnTo>
                  <a:lnTo>
                    <a:pt x="58" y="20"/>
                  </a:lnTo>
                  <a:lnTo>
                    <a:pt x="56" y="16"/>
                  </a:lnTo>
                  <a:lnTo>
                    <a:pt x="56" y="16"/>
                  </a:lnTo>
                  <a:lnTo>
                    <a:pt x="56" y="14"/>
                  </a:lnTo>
                  <a:lnTo>
                    <a:pt x="54" y="12"/>
                  </a:lnTo>
                  <a:lnTo>
                    <a:pt x="48" y="10"/>
                  </a:lnTo>
                  <a:lnTo>
                    <a:pt x="42" y="8"/>
                  </a:lnTo>
                  <a:lnTo>
                    <a:pt x="40" y="6"/>
                  </a:lnTo>
                  <a:lnTo>
                    <a:pt x="38" y="2"/>
                  </a:lnTo>
                  <a:lnTo>
                    <a:pt x="38" y="2"/>
                  </a:lnTo>
                  <a:lnTo>
                    <a:pt x="38" y="0"/>
                  </a:lnTo>
                  <a:lnTo>
                    <a:pt x="36" y="0"/>
                  </a:lnTo>
                  <a:lnTo>
                    <a:pt x="30" y="0"/>
                  </a:lnTo>
                  <a:lnTo>
                    <a:pt x="22" y="2"/>
                  </a:lnTo>
                  <a:lnTo>
                    <a:pt x="14" y="8"/>
                  </a:lnTo>
                  <a:lnTo>
                    <a:pt x="14" y="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2" name="Freeform 69"/>
            <p:cNvSpPr>
              <a:spLocks/>
            </p:cNvSpPr>
            <p:nvPr/>
          </p:nvSpPr>
          <p:spPr bwMode="auto">
            <a:xfrm>
              <a:off x="13331825" y="3987800"/>
              <a:ext cx="288925" cy="209550"/>
            </a:xfrm>
            <a:custGeom>
              <a:avLst/>
              <a:gdLst>
                <a:gd name="T0" fmla="*/ 20 w 182"/>
                <a:gd name="T1" fmla="*/ 76 h 132"/>
                <a:gd name="T2" fmla="*/ 16 w 182"/>
                <a:gd name="T3" fmla="*/ 78 h 132"/>
                <a:gd name="T4" fmla="*/ 14 w 182"/>
                <a:gd name="T5" fmla="*/ 88 h 132"/>
                <a:gd name="T6" fmla="*/ 8 w 182"/>
                <a:gd name="T7" fmla="*/ 92 h 132"/>
                <a:gd name="T8" fmla="*/ 2 w 182"/>
                <a:gd name="T9" fmla="*/ 96 h 132"/>
                <a:gd name="T10" fmla="*/ 0 w 182"/>
                <a:gd name="T11" fmla="*/ 106 h 132"/>
                <a:gd name="T12" fmla="*/ 4 w 182"/>
                <a:gd name="T13" fmla="*/ 108 h 132"/>
                <a:gd name="T14" fmla="*/ 6 w 182"/>
                <a:gd name="T15" fmla="*/ 118 h 132"/>
                <a:gd name="T16" fmla="*/ 4 w 182"/>
                <a:gd name="T17" fmla="*/ 130 h 132"/>
                <a:gd name="T18" fmla="*/ 8 w 182"/>
                <a:gd name="T19" fmla="*/ 132 h 132"/>
                <a:gd name="T20" fmla="*/ 18 w 182"/>
                <a:gd name="T21" fmla="*/ 124 h 132"/>
                <a:gd name="T22" fmla="*/ 22 w 182"/>
                <a:gd name="T23" fmla="*/ 122 h 132"/>
                <a:gd name="T24" fmla="*/ 30 w 182"/>
                <a:gd name="T25" fmla="*/ 122 h 132"/>
                <a:gd name="T26" fmla="*/ 32 w 182"/>
                <a:gd name="T27" fmla="*/ 120 h 132"/>
                <a:gd name="T28" fmla="*/ 32 w 182"/>
                <a:gd name="T29" fmla="*/ 118 h 132"/>
                <a:gd name="T30" fmla="*/ 24 w 182"/>
                <a:gd name="T31" fmla="*/ 110 h 132"/>
                <a:gd name="T32" fmla="*/ 16 w 182"/>
                <a:gd name="T33" fmla="*/ 104 h 132"/>
                <a:gd name="T34" fmla="*/ 16 w 182"/>
                <a:gd name="T35" fmla="*/ 100 h 132"/>
                <a:gd name="T36" fmla="*/ 18 w 182"/>
                <a:gd name="T37" fmla="*/ 98 h 132"/>
                <a:gd name="T38" fmla="*/ 30 w 182"/>
                <a:gd name="T39" fmla="*/ 100 h 132"/>
                <a:gd name="T40" fmla="*/ 38 w 182"/>
                <a:gd name="T41" fmla="*/ 98 h 132"/>
                <a:gd name="T42" fmla="*/ 58 w 182"/>
                <a:gd name="T43" fmla="*/ 98 h 132"/>
                <a:gd name="T44" fmla="*/ 80 w 182"/>
                <a:gd name="T45" fmla="*/ 108 h 132"/>
                <a:gd name="T46" fmla="*/ 88 w 182"/>
                <a:gd name="T47" fmla="*/ 114 h 132"/>
                <a:gd name="T48" fmla="*/ 96 w 182"/>
                <a:gd name="T49" fmla="*/ 110 h 132"/>
                <a:gd name="T50" fmla="*/ 98 w 182"/>
                <a:gd name="T51" fmla="*/ 102 h 132"/>
                <a:gd name="T52" fmla="*/ 102 w 182"/>
                <a:gd name="T53" fmla="*/ 94 h 132"/>
                <a:gd name="T54" fmla="*/ 124 w 182"/>
                <a:gd name="T55" fmla="*/ 84 h 132"/>
                <a:gd name="T56" fmla="*/ 136 w 182"/>
                <a:gd name="T57" fmla="*/ 82 h 132"/>
                <a:gd name="T58" fmla="*/ 154 w 182"/>
                <a:gd name="T59" fmla="*/ 78 h 132"/>
                <a:gd name="T60" fmla="*/ 152 w 182"/>
                <a:gd name="T61" fmla="*/ 70 h 132"/>
                <a:gd name="T62" fmla="*/ 152 w 182"/>
                <a:gd name="T63" fmla="*/ 68 h 132"/>
                <a:gd name="T64" fmla="*/ 164 w 182"/>
                <a:gd name="T65" fmla="*/ 54 h 132"/>
                <a:gd name="T66" fmla="*/ 180 w 182"/>
                <a:gd name="T67" fmla="*/ 40 h 132"/>
                <a:gd name="T68" fmla="*/ 182 w 182"/>
                <a:gd name="T69" fmla="*/ 36 h 132"/>
                <a:gd name="T70" fmla="*/ 178 w 182"/>
                <a:gd name="T71" fmla="*/ 36 h 132"/>
                <a:gd name="T72" fmla="*/ 162 w 182"/>
                <a:gd name="T73" fmla="*/ 44 h 132"/>
                <a:gd name="T74" fmla="*/ 156 w 182"/>
                <a:gd name="T75" fmla="*/ 44 h 132"/>
                <a:gd name="T76" fmla="*/ 154 w 182"/>
                <a:gd name="T77" fmla="*/ 42 h 132"/>
                <a:gd name="T78" fmla="*/ 144 w 182"/>
                <a:gd name="T79" fmla="*/ 42 h 132"/>
                <a:gd name="T80" fmla="*/ 128 w 182"/>
                <a:gd name="T81" fmla="*/ 50 h 132"/>
                <a:gd name="T82" fmla="*/ 124 w 182"/>
                <a:gd name="T83" fmla="*/ 50 h 132"/>
                <a:gd name="T84" fmla="*/ 98 w 182"/>
                <a:gd name="T85" fmla="*/ 34 h 132"/>
                <a:gd name="T86" fmla="*/ 70 w 182"/>
                <a:gd name="T87" fmla="*/ 6 h 132"/>
                <a:gd name="T88" fmla="*/ 66 w 182"/>
                <a:gd name="T89" fmla="*/ 2 h 132"/>
                <a:gd name="T90" fmla="*/ 58 w 182"/>
                <a:gd name="T91" fmla="*/ 0 h 132"/>
                <a:gd name="T92" fmla="*/ 50 w 182"/>
                <a:gd name="T93" fmla="*/ 4 h 132"/>
                <a:gd name="T94" fmla="*/ 50 w 182"/>
                <a:gd name="T95" fmla="*/ 10 h 132"/>
                <a:gd name="T96" fmla="*/ 52 w 182"/>
                <a:gd name="T97" fmla="*/ 14 h 132"/>
                <a:gd name="T98" fmla="*/ 54 w 182"/>
                <a:gd name="T99" fmla="*/ 26 h 132"/>
                <a:gd name="T100" fmla="*/ 50 w 182"/>
                <a:gd name="T101" fmla="*/ 42 h 132"/>
                <a:gd name="T102" fmla="*/ 48 w 182"/>
                <a:gd name="T103" fmla="*/ 52 h 132"/>
                <a:gd name="T104" fmla="*/ 42 w 182"/>
                <a:gd name="T105" fmla="*/ 60 h 132"/>
                <a:gd name="T106" fmla="*/ 42 w 182"/>
                <a:gd name="T107" fmla="*/ 66 h 132"/>
                <a:gd name="T108" fmla="*/ 40 w 182"/>
                <a:gd name="T109" fmla="*/ 72 h 132"/>
                <a:gd name="T110" fmla="*/ 20 w 182"/>
                <a:gd name="T111" fmla="*/ 7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 h="132">
                  <a:moveTo>
                    <a:pt x="20" y="76"/>
                  </a:moveTo>
                  <a:lnTo>
                    <a:pt x="20" y="76"/>
                  </a:lnTo>
                  <a:lnTo>
                    <a:pt x="16" y="78"/>
                  </a:lnTo>
                  <a:lnTo>
                    <a:pt x="16" y="78"/>
                  </a:lnTo>
                  <a:lnTo>
                    <a:pt x="14" y="84"/>
                  </a:lnTo>
                  <a:lnTo>
                    <a:pt x="14" y="88"/>
                  </a:lnTo>
                  <a:lnTo>
                    <a:pt x="12" y="90"/>
                  </a:lnTo>
                  <a:lnTo>
                    <a:pt x="8" y="92"/>
                  </a:lnTo>
                  <a:lnTo>
                    <a:pt x="8" y="92"/>
                  </a:lnTo>
                  <a:lnTo>
                    <a:pt x="2" y="96"/>
                  </a:lnTo>
                  <a:lnTo>
                    <a:pt x="0" y="102"/>
                  </a:lnTo>
                  <a:lnTo>
                    <a:pt x="0" y="106"/>
                  </a:lnTo>
                  <a:lnTo>
                    <a:pt x="4" y="108"/>
                  </a:lnTo>
                  <a:lnTo>
                    <a:pt x="4" y="108"/>
                  </a:lnTo>
                  <a:lnTo>
                    <a:pt x="6" y="112"/>
                  </a:lnTo>
                  <a:lnTo>
                    <a:pt x="6" y="118"/>
                  </a:lnTo>
                  <a:lnTo>
                    <a:pt x="4" y="130"/>
                  </a:lnTo>
                  <a:lnTo>
                    <a:pt x="4" y="130"/>
                  </a:lnTo>
                  <a:lnTo>
                    <a:pt x="4" y="132"/>
                  </a:lnTo>
                  <a:lnTo>
                    <a:pt x="8" y="132"/>
                  </a:lnTo>
                  <a:lnTo>
                    <a:pt x="18" y="124"/>
                  </a:lnTo>
                  <a:lnTo>
                    <a:pt x="18" y="124"/>
                  </a:lnTo>
                  <a:lnTo>
                    <a:pt x="20" y="122"/>
                  </a:lnTo>
                  <a:lnTo>
                    <a:pt x="22" y="122"/>
                  </a:lnTo>
                  <a:lnTo>
                    <a:pt x="26" y="122"/>
                  </a:lnTo>
                  <a:lnTo>
                    <a:pt x="30" y="122"/>
                  </a:lnTo>
                  <a:lnTo>
                    <a:pt x="32" y="122"/>
                  </a:lnTo>
                  <a:lnTo>
                    <a:pt x="32" y="120"/>
                  </a:lnTo>
                  <a:lnTo>
                    <a:pt x="32" y="120"/>
                  </a:lnTo>
                  <a:lnTo>
                    <a:pt x="32" y="118"/>
                  </a:lnTo>
                  <a:lnTo>
                    <a:pt x="30" y="116"/>
                  </a:lnTo>
                  <a:lnTo>
                    <a:pt x="24" y="110"/>
                  </a:lnTo>
                  <a:lnTo>
                    <a:pt x="18" y="106"/>
                  </a:lnTo>
                  <a:lnTo>
                    <a:pt x="16" y="104"/>
                  </a:lnTo>
                  <a:lnTo>
                    <a:pt x="16" y="100"/>
                  </a:lnTo>
                  <a:lnTo>
                    <a:pt x="16" y="100"/>
                  </a:lnTo>
                  <a:lnTo>
                    <a:pt x="16" y="98"/>
                  </a:lnTo>
                  <a:lnTo>
                    <a:pt x="18" y="98"/>
                  </a:lnTo>
                  <a:lnTo>
                    <a:pt x="24" y="98"/>
                  </a:lnTo>
                  <a:lnTo>
                    <a:pt x="30" y="100"/>
                  </a:lnTo>
                  <a:lnTo>
                    <a:pt x="38" y="98"/>
                  </a:lnTo>
                  <a:lnTo>
                    <a:pt x="38" y="98"/>
                  </a:lnTo>
                  <a:lnTo>
                    <a:pt x="48" y="96"/>
                  </a:lnTo>
                  <a:lnTo>
                    <a:pt x="58" y="98"/>
                  </a:lnTo>
                  <a:lnTo>
                    <a:pt x="70" y="102"/>
                  </a:lnTo>
                  <a:lnTo>
                    <a:pt x="80" y="108"/>
                  </a:lnTo>
                  <a:lnTo>
                    <a:pt x="80" y="108"/>
                  </a:lnTo>
                  <a:lnTo>
                    <a:pt x="88" y="114"/>
                  </a:lnTo>
                  <a:lnTo>
                    <a:pt x="92" y="114"/>
                  </a:lnTo>
                  <a:lnTo>
                    <a:pt x="96" y="110"/>
                  </a:lnTo>
                  <a:lnTo>
                    <a:pt x="98" y="102"/>
                  </a:lnTo>
                  <a:lnTo>
                    <a:pt x="98" y="102"/>
                  </a:lnTo>
                  <a:lnTo>
                    <a:pt x="98" y="96"/>
                  </a:lnTo>
                  <a:lnTo>
                    <a:pt x="102" y="94"/>
                  </a:lnTo>
                  <a:lnTo>
                    <a:pt x="112" y="88"/>
                  </a:lnTo>
                  <a:lnTo>
                    <a:pt x="124" y="84"/>
                  </a:lnTo>
                  <a:lnTo>
                    <a:pt x="136" y="82"/>
                  </a:lnTo>
                  <a:lnTo>
                    <a:pt x="136" y="82"/>
                  </a:lnTo>
                  <a:lnTo>
                    <a:pt x="148" y="82"/>
                  </a:lnTo>
                  <a:lnTo>
                    <a:pt x="154" y="78"/>
                  </a:lnTo>
                  <a:lnTo>
                    <a:pt x="154" y="74"/>
                  </a:lnTo>
                  <a:lnTo>
                    <a:pt x="152" y="70"/>
                  </a:lnTo>
                  <a:lnTo>
                    <a:pt x="152" y="70"/>
                  </a:lnTo>
                  <a:lnTo>
                    <a:pt x="152" y="68"/>
                  </a:lnTo>
                  <a:lnTo>
                    <a:pt x="154" y="64"/>
                  </a:lnTo>
                  <a:lnTo>
                    <a:pt x="164" y="54"/>
                  </a:lnTo>
                  <a:lnTo>
                    <a:pt x="176" y="44"/>
                  </a:lnTo>
                  <a:lnTo>
                    <a:pt x="180" y="40"/>
                  </a:lnTo>
                  <a:lnTo>
                    <a:pt x="182" y="36"/>
                  </a:lnTo>
                  <a:lnTo>
                    <a:pt x="182" y="36"/>
                  </a:lnTo>
                  <a:lnTo>
                    <a:pt x="180" y="34"/>
                  </a:lnTo>
                  <a:lnTo>
                    <a:pt x="178" y="36"/>
                  </a:lnTo>
                  <a:lnTo>
                    <a:pt x="170" y="40"/>
                  </a:lnTo>
                  <a:lnTo>
                    <a:pt x="162" y="44"/>
                  </a:lnTo>
                  <a:lnTo>
                    <a:pt x="158" y="44"/>
                  </a:lnTo>
                  <a:lnTo>
                    <a:pt x="156" y="44"/>
                  </a:lnTo>
                  <a:lnTo>
                    <a:pt x="156" y="44"/>
                  </a:lnTo>
                  <a:lnTo>
                    <a:pt x="154" y="42"/>
                  </a:lnTo>
                  <a:lnTo>
                    <a:pt x="152" y="40"/>
                  </a:lnTo>
                  <a:lnTo>
                    <a:pt x="144" y="42"/>
                  </a:lnTo>
                  <a:lnTo>
                    <a:pt x="138" y="46"/>
                  </a:lnTo>
                  <a:lnTo>
                    <a:pt x="128" y="50"/>
                  </a:lnTo>
                  <a:lnTo>
                    <a:pt x="128" y="50"/>
                  </a:lnTo>
                  <a:lnTo>
                    <a:pt x="124" y="50"/>
                  </a:lnTo>
                  <a:lnTo>
                    <a:pt x="116" y="46"/>
                  </a:lnTo>
                  <a:lnTo>
                    <a:pt x="98" y="34"/>
                  </a:lnTo>
                  <a:lnTo>
                    <a:pt x="80" y="20"/>
                  </a:lnTo>
                  <a:lnTo>
                    <a:pt x="70" y="6"/>
                  </a:lnTo>
                  <a:lnTo>
                    <a:pt x="70" y="6"/>
                  </a:lnTo>
                  <a:lnTo>
                    <a:pt x="66" y="2"/>
                  </a:lnTo>
                  <a:lnTo>
                    <a:pt x="62" y="0"/>
                  </a:lnTo>
                  <a:lnTo>
                    <a:pt x="58" y="0"/>
                  </a:lnTo>
                  <a:lnTo>
                    <a:pt x="54" y="0"/>
                  </a:lnTo>
                  <a:lnTo>
                    <a:pt x="50" y="4"/>
                  </a:lnTo>
                  <a:lnTo>
                    <a:pt x="50" y="6"/>
                  </a:lnTo>
                  <a:lnTo>
                    <a:pt x="50" y="10"/>
                  </a:lnTo>
                  <a:lnTo>
                    <a:pt x="52" y="14"/>
                  </a:lnTo>
                  <a:lnTo>
                    <a:pt x="52" y="14"/>
                  </a:lnTo>
                  <a:lnTo>
                    <a:pt x="54" y="22"/>
                  </a:lnTo>
                  <a:lnTo>
                    <a:pt x="54" y="26"/>
                  </a:lnTo>
                  <a:lnTo>
                    <a:pt x="52" y="34"/>
                  </a:lnTo>
                  <a:lnTo>
                    <a:pt x="50" y="42"/>
                  </a:lnTo>
                  <a:lnTo>
                    <a:pt x="50" y="42"/>
                  </a:lnTo>
                  <a:lnTo>
                    <a:pt x="48" y="52"/>
                  </a:lnTo>
                  <a:lnTo>
                    <a:pt x="46" y="56"/>
                  </a:lnTo>
                  <a:lnTo>
                    <a:pt x="42" y="60"/>
                  </a:lnTo>
                  <a:lnTo>
                    <a:pt x="42" y="66"/>
                  </a:lnTo>
                  <a:lnTo>
                    <a:pt x="42" y="66"/>
                  </a:lnTo>
                  <a:lnTo>
                    <a:pt x="42" y="70"/>
                  </a:lnTo>
                  <a:lnTo>
                    <a:pt x="40" y="72"/>
                  </a:lnTo>
                  <a:lnTo>
                    <a:pt x="34" y="74"/>
                  </a:lnTo>
                  <a:lnTo>
                    <a:pt x="20" y="76"/>
                  </a:lnTo>
                  <a:lnTo>
                    <a:pt x="20" y="7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3" name="Freeform 70"/>
            <p:cNvSpPr>
              <a:spLocks/>
            </p:cNvSpPr>
            <p:nvPr/>
          </p:nvSpPr>
          <p:spPr bwMode="auto">
            <a:xfrm>
              <a:off x="13696950" y="6311900"/>
              <a:ext cx="174625" cy="85725"/>
            </a:xfrm>
            <a:custGeom>
              <a:avLst/>
              <a:gdLst>
                <a:gd name="T0" fmla="*/ 90 w 110"/>
                <a:gd name="T1" fmla="*/ 12 h 54"/>
                <a:gd name="T2" fmla="*/ 90 w 110"/>
                <a:gd name="T3" fmla="*/ 12 h 54"/>
                <a:gd name="T4" fmla="*/ 88 w 110"/>
                <a:gd name="T5" fmla="*/ 18 h 54"/>
                <a:gd name="T6" fmla="*/ 82 w 110"/>
                <a:gd name="T7" fmla="*/ 22 h 54"/>
                <a:gd name="T8" fmla="*/ 58 w 110"/>
                <a:gd name="T9" fmla="*/ 32 h 54"/>
                <a:gd name="T10" fmla="*/ 58 w 110"/>
                <a:gd name="T11" fmla="*/ 32 h 54"/>
                <a:gd name="T12" fmla="*/ 50 w 110"/>
                <a:gd name="T13" fmla="*/ 34 h 54"/>
                <a:gd name="T14" fmla="*/ 40 w 110"/>
                <a:gd name="T15" fmla="*/ 34 h 54"/>
                <a:gd name="T16" fmla="*/ 22 w 110"/>
                <a:gd name="T17" fmla="*/ 32 h 54"/>
                <a:gd name="T18" fmla="*/ 6 w 110"/>
                <a:gd name="T19" fmla="*/ 30 h 54"/>
                <a:gd name="T20" fmla="*/ 2 w 110"/>
                <a:gd name="T21" fmla="*/ 30 h 54"/>
                <a:gd name="T22" fmla="*/ 0 w 110"/>
                <a:gd name="T23" fmla="*/ 34 h 54"/>
                <a:gd name="T24" fmla="*/ 0 w 110"/>
                <a:gd name="T25" fmla="*/ 34 h 54"/>
                <a:gd name="T26" fmla="*/ 0 w 110"/>
                <a:gd name="T27" fmla="*/ 36 h 54"/>
                <a:gd name="T28" fmla="*/ 4 w 110"/>
                <a:gd name="T29" fmla="*/ 40 h 54"/>
                <a:gd name="T30" fmla="*/ 14 w 110"/>
                <a:gd name="T31" fmla="*/ 46 h 54"/>
                <a:gd name="T32" fmla="*/ 28 w 110"/>
                <a:gd name="T33" fmla="*/ 52 h 54"/>
                <a:gd name="T34" fmla="*/ 44 w 110"/>
                <a:gd name="T35" fmla="*/ 54 h 54"/>
                <a:gd name="T36" fmla="*/ 44 w 110"/>
                <a:gd name="T37" fmla="*/ 54 h 54"/>
                <a:gd name="T38" fmla="*/ 52 w 110"/>
                <a:gd name="T39" fmla="*/ 54 h 54"/>
                <a:gd name="T40" fmla="*/ 62 w 110"/>
                <a:gd name="T41" fmla="*/ 50 h 54"/>
                <a:gd name="T42" fmla="*/ 80 w 110"/>
                <a:gd name="T43" fmla="*/ 42 h 54"/>
                <a:gd name="T44" fmla="*/ 94 w 110"/>
                <a:gd name="T45" fmla="*/ 32 h 54"/>
                <a:gd name="T46" fmla="*/ 98 w 110"/>
                <a:gd name="T47" fmla="*/ 28 h 54"/>
                <a:gd name="T48" fmla="*/ 100 w 110"/>
                <a:gd name="T49" fmla="*/ 26 h 54"/>
                <a:gd name="T50" fmla="*/ 100 w 110"/>
                <a:gd name="T51" fmla="*/ 26 h 54"/>
                <a:gd name="T52" fmla="*/ 102 w 110"/>
                <a:gd name="T53" fmla="*/ 20 h 54"/>
                <a:gd name="T54" fmla="*/ 106 w 110"/>
                <a:gd name="T55" fmla="*/ 14 h 54"/>
                <a:gd name="T56" fmla="*/ 110 w 110"/>
                <a:gd name="T57" fmla="*/ 8 h 54"/>
                <a:gd name="T58" fmla="*/ 110 w 110"/>
                <a:gd name="T59" fmla="*/ 4 h 54"/>
                <a:gd name="T60" fmla="*/ 108 w 110"/>
                <a:gd name="T61" fmla="*/ 2 h 54"/>
                <a:gd name="T62" fmla="*/ 108 w 110"/>
                <a:gd name="T63" fmla="*/ 2 h 54"/>
                <a:gd name="T64" fmla="*/ 106 w 110"/>
                <a:gd name="T65" fmla="*/ 0 h 54"/>
                <a:gd name="T66" fmla="*/ 104 w 110"/>
                <a:gd name="T67" fmla="*/ 0 h 54"/>
                <a:gd name="T68" fmla="*/ 98 w 110"/>
                <a:gd name="T69" fmla="*/ 2 h 54"/>
                <a:gd name="T70" fmla="*/ 92 w 110"/>
                <a:gd name="T71" fmla="*/ 6 h 54"/>
                <a:gd name="T72" fmla="*/ 90 w 110"/>
                <a:gd name="T73" fmla="*/ 12 h 54"/>
                <a:gd name="T74" fmla="*/ 90 w 110"/>
                <a:gd name="T75"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54">
                  <a:moveTo>
                    <a:pt x="90" y="12"/>
                  </a:moveTo>
                  <a:lnTo>
                    <a:pt x="90" y="12"/>
                  </a:lnTo>
                  <a:lnTo>
                    <a:pt x="88" y="18"/>
                  </a:lnTo>
                  <a:lnTo>
                    <a:pt x="82" y="22"/>
                  </a:lnTo>
                  <a:lnTo>
                    <a:pt x="58" y="32"/>
                  </a:lnTo>
                  <a:lnTo>
                    <a:pt x="58" y="32"/>
                  </a:lnTo>
                  <a:lnTo>
                    <a:pt x="50" y="34"/>
                  </a:lnTo>
                  <a:lnTo>
                    <a:pt x="40" y="34"/>
                  </a:lnTo>
                  <a:lnTo>
                    <a:pt x="22" y="32"/>
                  </a:lnTo>
                  <a:lnTo>
                    <a:pt x="6" y="30"/>
                  </a:lnTo>
                  <a:lnTo>
                    <a:pt x="2" y="30"/>
                  </a:lnTo>
                  <a:lnTo>
                    <a:pt x="0" y="34"/>
                  </a:lnTo>
                  <a:lnTo>
                    <a:pt x="0" y="34"/>
                  </a:lnTo>
                  <a:lnTo>
                    <a:pt x="0" y="36"/>
                  </a:lnTo>
                  <a:lnTo>
                    <a:pt x="4" y="40"/>
                  </a:lnTo>
                  <a:lnTo>
                    <a:pt x="14" y="46"/>
                  </a:lnTo>
                  <a:lnTo>
                    <a:pt x="28" y="52"/>
                  </a:lnTo>
                  <a:lnTo>
                    <a:pt x="44" y="54"/>
                  </a:lnTo>
                  <a:lnTo>
                    <a:pt x="44" y="54"/>
                  </a:lnTo>
                  <a:lnTo>
                    <a:pt x="52" y="54"/>
                  </a:lnTo>
                  <a:lnTo>
                    <a:pt x="62" y="50"/>
                  </a:lnTo>
                  <a:lnTo>
                    <a:pt x="80" y="42"/>
                  </a:lnTo>
                  <a:lnTo>
                    <a:pt x="94" y="32"/>
                  </a:lnTo>
                  <a:lnTo>
                    <a:pt x="98" y="28"/>
                  </a:lnTo>
                  <a:lnTo>
                    <a:pt x="100" y="26"/>
                  </a:lnTo>
                  <a:lnTo>
                    <a:pt x="100" y="26"/>
                  </a:lnTo>
                  <a:lnTo>
                    <a:pt x="102" y="20"/>
                  </a:lnTo>
                  <a:lnTo>
                    <a:pt x="106" y="14"/>
                  </a:lnTo>
                  <a:lnTo>
                    <a:pt x="110" y="8"/>
                  </a:lnTo>
                  <a:lnTo>
                    <a:pt x="110" y="4"/>
                  </a:lnTo>
                  <a:lnTo>
                    <a:pt x="108" y="2"/>
                  </a:lnTo>
                  <a:lnTo>
                    <a:pt x="108" y="2"/>
                  </a:lnTo>
                  <a:lnTo>
                    <a:pt x="106" y="0"/>
                  </a:lnTo>
                  <a:lnTo>
                    <a:pt x="104" y="0"/>
                  </a:lnTo>
                  <a:lnTo>
                    <a:pt x="98" y="2"/>
                  </a:lnTo>
                  <a:lnTo>
                    <a:pt x="92" y="6"/>
                  </a:lnTo>
                  <a:lnTo>
                    <a:pt x="90" y="12"/>
                  </a:lnTo>
                  <a:lnTo>
                    <a:pt x="90" y="1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4" name="Freeform 71"/>
            <p:cNvSpPr>
              <a:spLocks/>
            </p:cNvSpPr>
            <p:nvPr/>
          </p:nvSpPr>
          <p:spPr bwMode="auto">
            <a:xfrm>
              <a:off x="13004800" y="4552950"/>
              <a:ext cx="101600" cy="82550"/>
            </a:xfrm>
            <a:custGeom>
              <a:avLst/>
              <a:gdLst>
                <a:gd name="T0" fmla="*/ 22 w 64"/>
                <a:gd name="T1" fmla="*/ 44 h 52"/>
                <a:gd name="T2" fmla="*/ 22 w 64"/>
                <a:gd name="T3" fmla="*/ 44 h 52"/>
                <a:gd name="T4" fmla="*/ 26 w 64"/>
                <a:gd name="T5" fmla="*/ 38 h 52"/>
                <a:gd name="T6" fmla="*/ 32 w 64"/>
                <a:gd name="T7" fmla="*/ 34 h 52"/>
                <a:gd name="T8" fmla="*/ 38 w 64"/>
                <a:gd name="T9" fmla="*/ 32 h 52"/>
                <a:gd name="T10" fmla="*/ 46 w 64"/>
                <a:gd name="T11" fmla="*/ 34 h 52"/>
                <a:gd name="T12" fmla="*/ 46 w 64"/>
                <a:gd name="T13" fmla="*/ 34 h 52"/>
                <a:gd name="T14" fmla="*/ 48 w 64"/>
                <a:gd name="T15" fmla="*/ 36 h 52"/>
                <a:gd name="T16" fmla="*/ 52 w 64"/>
                <a:gd name="T17" fmla="*/ 34 h 52"/>
                <a:gd name="T18" fmla="*/ 58 w 64"/>
                <a:gd name="T19" fmla="*/ 28 h 52"/>
                <a:gd name="T20" fmla="*/ 62 w 64"/>
                <a:gd name="T21" fmla="*/ 20 h 52"/>
                <a:gd name="T22" fmla="*/ 64 w 64"/>
                <a:gd name="T23" fmla="*/ 10 h 52"/>
                <a:gd name="T24" fmla="*/ 64 w 64"/>
                <a:gd name="T25" fmla="*/ 10 h 52"/>
                <a:gd name="T26" fmla="*/ 62 w 64"/>
                <a:gd name="T27" fmla="*/ 6 h 52"/>
                <a:gd name="T28" fmla="*/ 60 w 64"/>
                <a:gd name="T29" fmla="*/ 4 h 52"/>
                <a:gd name="T30" fmla="*/ 56 w 64"/>
                <a:gd name="T31" fmla="*/ 2 h 52"/>
                <a:gd name="T32" fmla="*/ 52 w 64"/>
                <a:gd name="T33" fmla="*/ 0 h 52"/>
                <a:gd name="T34" fmla="*/ 42 w 64"/>
                <a:gd name="T35" fmla="*/ 2 h 52"/>
                <a:gd name="T36" fmla="*/ 38 w 64"/>
                <a:gd name="T37" fmla="*/ 4 h 52"/>
                <a:gd name="T38" fmla="*/ 36 w 64"/>
                <a:gd name="T39" fmla="*/ 8 h 52"/>
                <a:gd name="T40" fmla="*/ 36 w 64"/>
                <a:gd name="T41" fmla="*/ 8 h 52"/>
                <a:gd name="T42" fmla="*/ 32 w 64"/>
                <a:gd name="T43" fmla="*/ 12 h 52"/>
                <a:gd name="T44" fmla="*/ 28 w 64"/>
                <a:gd name="T45" fmla="*/ 14 h 52"/>
                <a:gd name="T46" fmla="*/ 10 w 64"/>
                <a:gd name="T47" fmla="*/ 14 h 52"/>
                <a:gd name="T48" fmla="*/ 10 w 64"/>
                <a:gd name="T49" fmla="*/ 14 h 52"/>
                <a:gd name="T50" fmla="*/ 6 w 64"/>
                <a:gd name="T51" fmla="*/ 16 h 52"/>
                <a:gd name="T52" fmla="*/ 4 w 64"/>
                <a:gd name="T53" fmla="*/ 20 h 52"/>
                <a:gd name="T54" fmla="*/ 2 w 64"/>
                <a:gd name="T55" fmla="*/ 26 h 52"/>
                <a:gd name="T56" fmla="*/ 0 w 64"/>
                <a:gd name="T57" fmla="*/ 32 h 52"/>
                <a:gd name="T58" fmla="*/ 2 w 64"/>
                <a:gd name="T59" fmla="*/ 44 h 52"/>
                <a:gd name="T60" fmla="*/ 4 w 64"/>
                <a:gd name="T61" fmla="*/ 48 h 52"/>
                <a:gd name="T62" fmla="*/ 6 w 64"/>
                <a:gd name="T63" fmla="*/ 50 h 52"/>
                <a:gd name="T64" fmla="*/ 6 w 64"/>
                <a:gd name="T65" fmla="*/ 50 h 52"/>
                <a:gd name="T66" fmla="*/ 12 w 64"/>
                <a:gd name="T67" fmla="*/ 52 h 52"/>
                <a:gd name="T68" fmla="*/ 16 w 64"/>
                <a:gd name="T69" fmla="*/ 52 h 52"/>
                <a:gd name="T70" fmla="*/ 20 w 64"/>
                <a:gd name="T71" fmla="*/ 50 h 52"/>
                <a:gd name="T72" fmla="*/ 22 w 64"/>
                <a:gd name="T73" fmla="*/ 44 h 52"/>
                <a:gd name="T74" fmla="*/ 22 w 64"/>
                <a:gd name="T75"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52">
                  <a:moveTo>
                    <a:pt x="22" y="44"/>
                  </a:moveTo>
                  <a:lnTo>
                    <a:pt x="22" y="44"/>
                  </a:lnTo>
                  <a:lnTo>
                    <a:pt x="26" y="38"/>
                  </a:lnTo>
                  <a:lnTo>
                    <a:pt x="32" y="34"/>
                  </a:lnTo>
                  <a:lnTo>
                    <a:pt x="38" y="32"/>
                  </a:lnTo>
                  <a:lnTo>
                    <a:pt x="46" y="34"/>
                  </a:lnTo>
                  <a:lnTo>
                    <a:pt x="46" y="34"/>
                  </a:lnTo>
                  <a:lnTo>
                    <a:pt x="48" y="36"/>
                  </a:lnTo>
                  <a:lnTo>
                    <a:pt x="52" y="34"/>
                  </a:lnTo>
                  <a:lnTo>
                    <a:pt x="58" y="28"/>
                  </a:lnTo>
                  <a:lnTo>
                    <a:pt x="62" y="20"/>
                  </a:lnTo>
                  <a:lnTo>
                    <a:pt x="64" y="10"/>
                  </a:lnTo>
                  <a:lnTo>
                    <a:pt x="64" y="10"/>
                  </a:lnTo>
                  <a:lnTo>
                    <a:pt x="62" y="6"/>
                  </a:lnTo>
                  <a:lnTo>
                    <a:pt x="60" y="4"/>
                  </a:lnTo>
                  <a:lnTo>
                    <a:pt x="56" y="2"/>
                  </a:lnTo>
                  <a:lnTo>
                    <a:pt x="52" y="0"/>
                  </a:lnTo>
                  <a:lnTo>
                    <a:pt x="42" y="2"/>
                  </a:lnTo>
                  <a:lnTo>
                    <a:pt x="38" y="4"/>
                  </a:lnTo>
                  <a:lnTo>
                    <a:pt x="36" y="8"/>
                  </a:lnTo>
                  <a:lnTo>
                    <a:pt x="36" y="8"/>
                  </a:lnTo>
                  <a:lnTo>
                    <a:pt x="32" y="12"/>
                  </a:lnTo>
                  <a:lnTo>
                    <a:pt x="28" y="14"/>
                  </a:lnTo>
                  <a:lnTo>
                    <a:pt x="10" y="14"/>
                  </a:lnTo>
                  <a:lnTo>
                    <a:pt x="10" y="14"/>
                  </a:lnTo>
                  <a:lnTo>
                    <a:pt x="6" y="16"/>
                  </a:lnTo>
                  <a:lnTo>
                    <a:pt x="4" y="20"/>
                  </a:lnTo>
                  <a:lnTo>
                    <a:pt x="2" y="26"/>
                  </a:lnTo>
                  <a:lnTo>
                    <a:pt x="0" y="32"/>
                  </a:lnTo>
                  <a:lnTo>
                    <a:pt x="2" y="44"/>
                  </a:lnTo>
                  <a:lnTo>
                    <a:pt x="4" y="48"/>
                  </a:lnTo>
                  <a:lnTo>
                    <a:pt x="6" y="50"/>
                  </a:lnTo>
                  <a:lnTo>
                    <a:pt x="6" y="50"/>
                  </a:lnTo>
                  <a:lnTo>
                    <a:pt x="12" y="52"/>
                  </a:lnTo>
                  <a:lnTo>
                    <a:pt x="16" y="52"/>
                  </a:lnTo>
                  <a:lnTo>
                    <a:pt x="20" y="50"/>
                  </a:lnTo>
                  <a:lnTo>
                    <a:pt x="22" y="44"/>
                  </a:lnTo>
                  <a:lnTo>
                    <a:pt x="22" y="4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5" name="Freeform 72"/>
            <p:cNvSpPr>
              <a:spLocks/>
            </p:cNvSpPr>
            <p:nvPr/>
          </p:nvSpPr>
          <p:spPr bwMode="auto">
            <a:xfrm>
              <a:off x="13858875" y="6270625"/>
              <a:ext cx="50800" cy="57150"/>
            </a:xfrm>
            <a:custGeom>
              <a:avLst/>
              <a:gdLst>
                <a:gd name="T0" fmla="*/ 8 w 32"/>
                <a:gd name="T1" fmla="*/ 10 h 36"/>
                <a:gd name="T2" fmla="*/ 8 w 32"/>
                <a:gd name="T3" fmla="*/ 10 h 36"/>
                <a:gd name="T4" fmla="*/ 12 w 32"/>
                <a:gd name="T5" fmla="*/ 14 h 36"/>
                <a:gd name="T6" fmla="*/ 16 w 32"/>
                <a:gd name="T7" fmla="*/ 20 h 36"/>
                <a:gd name="T8" fmla="*/ 18 w 32"/>
                <a:gd name="T9" fmla="*/ 28 h 36"/>
                <a:gd name="T10" fmla="*/ 20 w 32"/>
                <a:gd name="T11" fmla="*/ 34 h 36"/>
                <a:gd name="T12" fmla="*/ 22 w 32"/>
                <a:gd name="T13" fmla="*/ 36 h 36"/>
                <a:gd name="T14" fmla="*/ 24 w 32"/>
                <a:gd name="T15" fmla="*/ 34 h 36"/>
                <a:gd name="T16" fmla="*/ 24 w 32"/>
                <a:gd name="T17" fmla="*/ 34 h 36"/>
                <a:gd name="T18" fmla="*/ 30 w 32"/>
                <a:gd name="T19" fmla="*/ 32 h 36"/>
                <a:gd name="T20" fmla="*/ 32 w 32"/>
                <a:gd name="T21" fmla="*/ 30 h 36"/>
                <a:gd name="T22" fmla="*/ 32 w 32"/>
                <a:gd name="T23" fmla="*/ 26 h 36"/>
                <a:gd name="T24" fmla="*/ 30 w 32"/>
                <a:gd name="T25" fmla="*/ 22 h 36"/>
                <a:gd name="T26" fmla="*/ 24 w 32"/>
                <a:gd name="T27" fmla="*/ 14 h 36"/>
                <a:gd name="T28" fmla="*/ 16 w 32"/>
                <a:gd name="T29" fmla="*/ 8 h 36"/>
                <a:gd name="T30" fmla="*/ 16 w 32"/>
                <a:gd name="T31" fmla="*/ 8 h 36"/>
                <a:gd name="T32" fmla="*/ 2 w 32"/>
                <a:gd name="T33" fmla="*/ 0 h 36"/>
                <a:gd name="T34" fmla="*/ 0 w 32"/>
                <a:gd name="T35" fmla="*/ 0 h 36"/>
                <a:gd name="T36" fmla="*/ 0 w 32"/>
                <a:gd name="T37" fmla="*/ 2 h 36"/>
                <a:gd name="T38" fmla="*/ 8 w 32"/>
                <a:gd name="T39" fmla="*/ 10 h 36"/>
                <a:gd name="T40" fmla="*/ 8 w 32"/>
                <a:gd name="T41"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36">
                  <a:moveTo>
                    <a:pt x="8" y="10"/>
                  </a:moveTo>
                  <a:lnTo>
                    <a:pt x="8" y="10"/>
                  </a:lnTo>
                  <a:lnTo>
                    <a:pt x="12" y="14"/>
                  </a:lnTo>
                  <a:lnTo>
                    <a:pt x="16" y="20"/>
                  </a:lnTo>
                  <a:lnTo>
                    <a:pt x="18" y="28"/>
                  </a:lnTo>
                  <a:lnTo>
                    <a:pt x="20" y="34"/>
                  </a:lnTo>
                  <a:lnTo>
                    <a:pt x="22" y="36"/>
                  </a:lnTo>
                  <a:lnTo>
                    <a:pt x="24" y="34"/>
                  </a:lnTo>
                  <a:lnTo>
                    <a:pt x="24" y="34"/>
                  </a:lnTo>
                  <a:lnTo>
                    <a:pt x="30" y="32"/>
                  </a:lnTo>
                  <a:lnTo>
                    <a:pt x="32" y="30"/>
                  </a:lnTo>
                  <a:lnTo>
                    <a:pt x="32" y="26"/>
                  </a:lnTo>
                  <a:lnTo>
                    <a:pt x="30" y="22"/>
                  </a:lnTo>
                  <a:lnTo>
                    <a:pt x="24" y="14"/>
                  </a:lnTo>
                  <a:lnTo>
                    <a:pt x="16" y="8"/>
                  </a:lnTo>
                  <a:lnTo>
                    <a:pt x="16" y="8"/>
                  </a:lnTo>
                  <a:lnTo>
                    <a:pt x="2" y="0"/>
                  </a:lnTo>
                  <a:lnTo>
                    <a:pt x="0" y="0"/>
                  </a:lnTo>
                  <a:lnTo>
                    <a:pt x="0" y="2"/>
                  </a:lnTo>
                  <a:lnTo>
                    <a:pt x="8" y="10"/>
                  </a:lnTo>
                  <a:lnTo>
                    <a:pt x="8" y="1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6" name="Freeform 73"/>
            <p:cNvSpPr>
              <a:spLocks/>
            </p:cNvSpPr>
            <p:nvPr/>
          </p:nvSpPr>
          <p:spPr bwMode="auto">
            <a:xfrm>
              <a:off x="12896850" y="6619875"/>
              <a:ext cx="57150" cy="19050"/>
            </a:xfrm>
            <a:custGeom>
              <a:avLst/>
              <a:gdLst>
                <a:gd name="T0" fmla="*/ 2 w 36"/>
                <a:gd name="T1" fmla="*/ 10 h 12"/>
                <a:gd name="T2" fmla="*/ 2 w 36"/>
                <a:gd name="T3" fmla="*/ 10 h 12"/>
                <a:gd name="T4" fmla="*/ 4 w 36"/>
                <a:gd name="T5" fmla="*/ 12 h 12"/>
                <a:gd name="T6" fmla="*/ 10 w 36"/>
                <a:gd name="T7" fmla="*/ 12 h 12"/>
                <a:gd name="T8" fmla="*/ 22 w 36"/>
                <a:gd name="T9" fmla="*/ 12 h 12"/>
                <a:gd name="T10" fmla="*/ 32 w 36"/>
                <a:gd name="T11" fmla="*/ 8 h 12"/>
                <a:gd name="T12" fmla="*/ 36 w 36"/>
                <a:gd name="T13" fmla="*/ 6 h 12"/>
                <a:gd name="T14" fmla="*/ 36 w 36"/>
                <a:gd name="T15" fmla="*/ 2 h 12"/>
                <a:gd name="T16" fmla="*/ 36 w 36"/>
                <a:gd name="T17" fmla="*/ 2 h 12"/>
                <a:gd name="T18" fmla="*/ 34 w 36"/>
                <a:gd name="T19" fmla="*/ 0 h 12"/>
                <a:gd name="T20" fmla="*/ 30 w 36"/>
                <a:gd name="T21" fmla="*/ 0 h 12"/>
                <a:gd name="T22" fmla="*/ 16 w 36"/>
                <a:gd name="T23" fmla="*/ 2 h 12"/>
                <a:gd name="T24" fmla="*/ 4 w 36"/>
                <a:gd name="T25" fmla="*/ 6 h 12"/>
                <a:gd name="T26" fmla="*/ 0 w 36"/>
                <a:gd name="T27" fmla="*/ 8 h 12"/>
                <a:gd name="T28" fmla="*/ 2 w 36"/>
                <a:gd name="T29" fmla="*/ 10 h 12"/>
                <a:gd name="T30" fmla="*/ 2 w 36"/>
                <a:gd name="T3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2">
                  <a:moveTo>
                    <a:pt x="2" y="10"/>
                  </a:moveTo>
                  <a:lnTo>
                    <a:pt x="2" y="10"/>
                  </a:lnTo>
                  <a:lnTo>
                    <a:pt x="4" y="12"/>
                  </a:lnTo>
                  <a:lnTo>
                    <a:pt x="10" y="12"/>
                  </a:lnTo>
                  <a:lnTo>
                    <a:pt x="22" y="12"/>
                  </a:lnTo>
                  <a:lnTo>
                    <a:pt x="32" y="8"/>
                  </a:lnTo>
                  <a:lnTo>
                    <a:pt x="36" y="6"/>
                  </a:lnTo>
                  <a:lnTo>
                    <a:pt x="36" y="2"/>
                  </a:lnTo>
                  <a:lnTo>
                    <a:pt x="36" y="2"/>
                  </a:lnTo>
                  <a:lnTo>
                    <a:pt x="34" y="0"/>
                  </a:lnTo>
                  <a:lnTo>
                    <a:pt x="30" y="0"/>
                  </a:lnTo>
                  <a:lnTo>
                    <a:pt x="16" y="2"/>
                  </a:lnTo>
                  <a:lnTo>
                    <a:pt x="4" y="6"/>
                  </a:lnTo>
                  <a:lnTo>
                    <a:pt x="0" y="8"/>
                  </a:lnTo>
                  <a:lnTo>
                    <a:pt x="2" y="10"/>
                  </a:lnTo>
                  <a:lnTo>
                    <a:pt x="2" y="1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7" name="Freeform 74"/>
            <p:cNvSpPr>
              <a:spLocks/>
            </p:cNvSpPr>
            <p:nvPr/>
          </p:nvSpPr>
          <p:spPr bwMode="auto">
            <a:xfrm>
              <a:off x="8696325" y="4473575"/>
              <a:ext cx="98425" cy="57150"/>
            </a:xfrm>
            <a:custGeom>
              <a:avLst/>
              <a:gdLst>
                <a:gd name="T0" fmla="*/ 42 w 62"/>
                <a:gd name="T1" fmla="*/ 24 h 36"/>
                <a:gd name="T2" fmla="*/ 42 w 62"/>
                <a:gd name="T3" fmla="*/ 24 h 36"/>
                <a:gd name="T4" fmla="*/ 44 w 62"/>
                <a:gd name="T5" fmla="*/ 20 h 36"/>
                <a:gd name="T6" fmla="*/ 46 w 62"/>
                <a:gd name="T7" fmla="*/ 14 h 36"/>
                <a:gd name="T8" fmla="*/ 50 w 62"/>
                <a:gd name="T9" fmla="*/ 10 h 36"/>
                <a:gd name="T10" fmla="*/ 56 w 62"/>
                <a:gd name="T11" fmla="*/ 6 h 36"/>
                <a:gd name="T12" fmla="*/ 56 w 62"/>
                <a:gd name="T13" fmla="*/ 6 h 36"/>
                <a:gd name="T14" fmla="*/ 62 w 62"/>
                <a:gd name="T15" fmla="*/ 4 h 36"/>
                <a:gd name="T16" fmla="*/ 62 w 62"/>
                <a:gd name="T17" fmla="*/ 0 h 36"/>
                <a:gd name="T18" fmla="*/ 60 w 62"/>
                <a:gd name="T19" fmla="*/ 0 h 36"/>
                <a:gd name="T20" fmla="*/ 56 w 62"/>
                <a:gd name="T21" fmla="*/ 2 h 36"/>
                <a:gd name="T22" fmla="*/ 56 w 62"/>
                <a:gd name="T23" fmla="*/ 2 h 36"/>
                <a:gd name="T24" fmla="*/ 50 w 62"/>
                <a:gd name="T25" fmla="*/ 6 h 36"/>
                <a:gd name="T26" fmla="*/ 42 w 62"/>
                <a:gd name="T27" fmla="*/ 8 h 36"/>
                <a:gd name="T28" fmla="*/ 30 w 62"/>
                <a:gd name="T29" fmla="*/ 12 h 36"/>
                <a:gd name="T30" fmla="*/ 18 w 62"/>
                <a:gd name="T31" fmla="*/ 12 h 36"/>
                <a:gd name="T32" fmla="*/ 18 w 62"/>
                <a:gd name="T33" fmla="*/ 12 h 36"/>
                <a:gd name="T34" fmla="*/ 6 w 62"/>
                <a:gd name="T35" fmla="*/ 16 h 36"/>
                <a:gd name="T36" fmla="*/ 2 w 62"/>
                <a:gd name="T37" fmla="*/ 18 h 36"/>
                <a:gd name="T38" fmla="*/ 0 w 62"/>
                <a:gd name="T39" fmla="*/ 20 h 36"/>
                <a:gd name="T40" fmla="*/ 0 w 62"/>
                <a:gd name="T41" fmla="*/ 24 h 36"/>
                <a:gd name="T42" fmla="*/ 0 w 62"/>
                <a:gd name="T43" fmla="*/ 26 h 36"/>
                <a:gd name="T44" fmla="*/ 2 w 62"/>
                <a:gd name="T45" fmla="*/ 30 h 36"/>
                <a:gd name="T46" fmla="*/ 6 w 62"/>
                <a:gd name="T47" fmla="*/ 32 h 36"/>
                <a:gd name="T48" fmla="*/ 6 w 62"/>
                <a:gd name="T49" fmla="*/ 32 h 36"/>
                <a:gd name="T50" fmla="*/ 12 w 62"/>
                <a:gd name="T51" fmla="*/ 34 h 36"/>
                <a:gd name="T52" fmla="*/ 18 w 62"/>
                <a:gd name="T53" fmla="*/ 36 h 36"/>
                <a:gd name="T54" fmla="*/ 30 w 62"/>
                <a:gd name="T55" fmla="*/ 32 h 36"/>
                <a:gd name="T56" fmla="*/ 40 w 62"/>
                <a:gd name="T57" fmla="*/ 28 h 36"/>
                <a:gd name="T58" fmla="*/ 42 w 62"/>
                <a:gd name="T59" fmla="*/ 26 h 36"/>
                <a:gd name="T60" fmla="*/ 42 w 62"/>
                <a:gd name="T61" fmla="*/ 24 h 36"/>
                <a:gd name="T62" fmla="*/ 42 w 62"/>
                <a:gd name="T63"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 h="36">
                  <a:moveTo>
                    <a:pt x="42" y="24"/>
                  </a:moveTo>
                  <a:lnTo>
                    <a:pt x="42" y="24"/>
                  </a:lnTo>
                  <a:lnTo>
                    <a:pt x="44" y="20"/>
                  </a:lnTo>
                  <a:lnTo>
                    <a:pt x="46" y="14"/>
                  </a:lnTo>
                  <a:lnTo>
                    <a:pt x="50" y="10"/>
                  </a:lnTo>
                  <a:lnTo>
                    <a:pt x="56" y="6"/>
                  </a:lnTo>
                  <a:lnTo>
                    <a:pt x="56" y="6"/>
                  </a:lnTo>
                  <a:lnTo>
                    <a:pt x="62" y="4"/>
                  </a:lnTo>
                  <a:lnTo>
                    <a:pt x="62" y="0"/>
                  </a:lnTo>
                  <a:lnTo>
                    <a:pt x="60" y="0"/>
                  </a:lnTo>
                  <a:lnTo>
                    <a:pt x="56" y="2"/>
                  </a:lnTo>
                  <a:lnTo>
                    <a:pt x="56" y="2"/>
                  </a:lnTo>
                  <a:lnTo>
                    <a:pt x="50" y="6"/>
                  </a:lnTo>
                  <a:lnTo>
                    <a:pt x="42" y="8"/>
                  </a:lnTo>
                  <a:lnTo>
                    <a:pt x="30" y="12"/>
                  </a:lnTo>
                  <a:lnTo>
                    <a:pt x="18" y="12"/>
                  </a:lnTo>
                  <a:lnTo>
                    <a:pt x="18" y="12"/>
                  </a:lnTo>
                  <a:lnTo>
                    <a:pt x="6" y="16"/>
                  </a:lnTo>
                  <a:lnTo>
                    <a:pt x="2" y="18"/>
                  </a:lnTo>
                  <a:lnTo>
                    <a:pt x="0" y="20"/>
                  </a:lnTo>
                  <a:lnTo>
                    <a:pt x="0" y="24"/>
                  </a:lnTo>
                  <a:lnTo>
                    <a:pt x="0" y="26"/>
                  </a:lnTo>
                  <a:lnTo>
                    <a:pt x="2" y="30"/>
                  </a:lnTo>
                  <a:lnTo>
                    <a:pt x="6" y="32"/>
                  </a:lnTo>
                  <a:lnTo>
                    <a:pt x="6" y="32"/>
                  </a:lnTo>
                  <a:lnTo>
                    <a:pt x="12" y="34"/>
                  </a:lnTo>
                  <a:lnTo>
                    <a:pt x="18" y="36"/>
                  </a:lnTo>
                  <a:lnTo>
                    <a:pt x="30" y="32"/>
                  </a:lnTo>
                  <a:lnTo>
                    <a:pt x="40" y="28"/>
                  </a:lnTo>
                  <a:lnTo>
                    <a:pt x="42" y="26"/>
                  </a:lnTo>
                  <a:lnTo>
                    <a:pt x="42" y="24"/>
                  </a:lnTo>
                  <a:lnTo>
                    <a:pt x="42" y="2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8" name="Freeform 75"/>
            <p:cNvSpPr>
              <a:spLocks/>
            </p:cNvSpPr>
            <p:nvPr/>
          </p:nvSpPr>
          <p:spPr bwMode="auto">
            <a:xfrm>
              <a:off x="12938125" y="4206875"/>
              <a:ext cx="485775" cy="384175"/>
            </a:xfrm>
            <a:custGeom>
              <a:avLst/>
              <a:gdLst>
                <a:gd name="T0" fmla="*/ 124 w 306"/>
                <a:gd name="T1" fmla="*/ 178 h 242"/>
                <a:gd name="T2" fmla="*/ 104 w 306"/>
                <a:gd name="T3" fmla="*/ 180 h 242"/>
                <a:gd name="T4" fmla="*/ 84 w 306"/>
                <a:gd name="T5" fmla="*/ 186 h 242"/>
                <a:gd name="T6" fmla="*/ 58 w 306"/>
                <a:gd name="T7" fmla="*/ 182 h 242"/>
                <a:gd name="T8" fmla="*/ 50 w 306"/>
                <a:gd name="T9" fmla="*/ 186 h 242"/>
                <a:gd name="T10" fmla="*/ 8 w 306"/>
                <a:gd name="T11" fmla="*/ 218 h 242"/>
                <a:gd name="T12" fmla="*/ 2 w 306"/>
                <a:gd name="T13" fmla="*/ 222 h 242"/>
                <a:gd name="T14" fmla="*/ 4 w 306"/>
                <a:gd name="T15" fmla="*/ 234 h 242"/>
                <a:gd name="T16" fmla="*/ 8 w 306"/>
                <a:gd name="T17" fmla="*/ 234 h 242"/>
                <a:gd name="T18" fmla="*/ 32 w 306"/>
                <a:gd name="T19" fmla="*/ 230 h 242"/>
                <a:gd name="T20" fmla="*/ 38 w 306"/>
                <a:gd name="T21" fmla="*/ 226 h 242"/>
                <a:gd name="T22" fmla="*/ 66 w 306"/>
                <a:gd name="T23" fmla="*/ 216 h 242"/>
                <a:gd name="T24" fmla="*/ 106 w 306"/>
                <a:gd name="T25" fmla="*/ 210 h 242"/>
                <a:gd name="T26" fmla="*/ 120 w 306"/>
                <a:gd name="T27" fmla="*/ 214 h 242"/>
                <a:gd name="T28" fmla="*/ 118 w 306"/>
                <a:gd name="T29" fmla="*/ 234 h 242"/>
                <a:gd name="T30" fmla="*/ 122 w 306"/>
                <a:gd name="T31" fmla="*/ 240 h 242"/>
                <a:gd name="T32" fmla="*/ 142 w 306"/>
                <a:gd name="T33" fmla="*/ 240 h 242"/>
                <a:gd name="T34" fmla="*/ 158 w 306"/>
                <a:gd name="T35" fmla="*/ 226 h 242"/>
                <a:gd name="T36" fmla="*/ 160 w 306"/>
                <a:gd name="T37" fmla="*/ 214 h 242"/>
                <a:gd name="T38" fmla="*/ 156 w 306"/>
                <a:gd name="T39" fmla="*/ 208 h 242"/>
                <a:gd name="T40" fmla="*/ 162 w 306"/>
                <a:gd name="T41" fmla="*/ 206 h 242"/>
                <a:gd name="T42" fmla="*/ 172 w 306"/>
                <a:gd name="T43" fmla="*/ 214 h 242"/>
                <a:gd name="T44" fmla="*/ 194 w 306"/>
                <a:gd name="T45" fmla="*/ 214 h 242"/>
                <a:gd name="T46" fmla="*/ 202 w 306"/>
                <a:gd name="T47" fmla="*/ 208 h 242"/>
                <a:gd name="T48" fmla="*/ 210 w 306"/>
                <a:gd name="T49" fmla="*/ 202 h 242"/>
                <a:gd name="T50" fmla="*/ 220 w 306"/>
                <a:gd name="T51" fmla="*/ 208 h 242"/>
                <a:gd name="T52" fmla="*/ 226 w 306"/>
                <a:gd name="T53" fmla="*/ 208 h 242"/>
                <a:gd name="T54" fmla="*/ 238 w 306"/>
                <a:gd name="T55" fmla="*/ 192 h 242"/>
                <a:gd name="T56" fmla="*/ 238 w 306"/>
                <a:gd name="T57" fmla="*/ 194 h 242"/>
                <a:gd name="T58" fmla="*/ 248 w 306"/>
                <a:gd name="T59" fmla="*/ 198 h 242"/>
                <a:gd name="T60" fmla="*/ 264 w 306"/>
                <a:gd name="T61" fmla="*/ 188 h 242"/>
                <a:gd name="T62" fmla="*/ 270 w 306"/>
                <a:gd name="T63" fmla="*/ 170 h 242"/>
                <a:gd name="T64" fmla="*/ 272 w 306"/>
                <a:gd name="T65" fmla="*/ 150 h 242"/>
                <a:gd name="T66" fmla="*/ 280 w 306"/>
                <a:gd name="T67" fmla="*/ 130 h 242"/>
                <a:gd name="T68" fmla="*/ 278 w 306"/>
                <a:gd name="T69" fmla="*/ 108 h 242"/>
                <a:gd name="T70" fmla="*/ 278 w 306"/>
                <a:gd name="T71" fmla="*/ 100 h 242"/>
                <a:gd name="T72" fmla="*/ 304 w 306"/>
                <a:gd name="T73" fmla="*/ 78 h 242"/>
                <a:gd name="T74" fmla="*/ 302 w 306"/>
                <a:gd name="T75" fmla="*/ 44 h 242"/>
                <a:gd name="T76" fmla="*/ 290 w 306"/>
                <a:gd name="T77" fmla="*/ 6 h 242"/>
                <a:gd name="T78" fmla="*/ 282 w 306"/>
                <a:gd name="T79" fmla="*/ 2 h 242"/>
                <a:gd name="T80" fmla="*/ 256 w 306"/>
                <a:gd name="T81" fmla="*/ 16 h 242"/>
                <a:gd name="T82" fmla="*/ 248 w 306"/>
                <a:gd name="T83" fmla="*/ 32 h 242"/>
                <a:gd name="T84" fmla="*/ 252 w 306"/>
                <a:gd name="T85" fmla="*/ 52 h 242"/>
                <a:gd name="T86" fmla="*/ 252 w 306"/>
                <a:gd name="T87" fmla="*/ 58 h 242"/>
                <a:gd name="T88" fmla="*/ 238 w 306"/>
                <a:gd name="T89" fmla="*/ 82 h 242"/>
                <a:gd name="T90" fmla="*/ 236 w 306"/>
                <a:gd name="T91" fmla="*/ 94 h 242"/>
                <a:gd name="T92" fmla="*/ 224 w 306"/>
                <a:gd name="T93" fmla="*/ 108 h 242"/>
                <a:gd name="T94" fmla="*/ 220 w 306"/>
                <a:gd name="T95" fmla="*/ 114 h 242"/>
                <a:gd name="T96" fmla="*/ 204 w 306"/>
                <a:gd name="T97" fmla="*/ 128 h 242"/>
                <a:gd name="T98" fmla="*/ 190 w 306"/>
                <a:gd name="T99" fmla="*/ 138 h 242"/>
                <a:gd name="T100" fmla="*/ 180 w 306"/>
                <a:gd name="T101" fmla="*/ 136 h 242"/>
                <a:gd name="T102" fmla="*/ 178 w 306"/>
                <a:gd name="T103" fmla="*/ 126 h 242"/>
                <a:gd name="T104" fmla="*/ 168 w 306"/>
                <a:gd name="T105" fmla="*/ 126 h 242"/>
                <a:gd name="T106" fmla="*/ 158 w 306"/>
                <a:gd name="T107" fmla="*/ 148 h 242"/>
                <a:gd name="T108" fmla="*/ 154 w 306"/>
                <a:gd name="T109" fmla="*/ 158 h 242"/>
                <a:gd name="T110" fmla="*/ 140 w 306"/>
                <a:gd name="T111" fmla="*/ 172 h 242"/>
                <a:gd name="T112" fmla="*/ 142 w 306"/>
                <a:gd name="T113" fmla="*/ 178 h 242"/>
                <a:gd name="T114" fmla="*/ 126 w 306"/>
                <a:gd name="T115" fmla="*/ 184 h 242"/>
                <a:gd name="T116" fmla="*/ 124 w 306"/>
                <a:gd name="T117" fmla="*/ 18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 h="242">
                  <a:moveTo>
                    <a:pt x="124" y="180"/>
                  </a:moveTo>
                  <a:lnTo>
                    <a:pt x="124" y="180"/>
                  </a:lnTo>
                  <a:lnTo>
                    <a:pt x="124" y="178"/>
                  </a:lnTo>
                  <a:lnTo>
                    <a:pt x="122" y="176"/>
                  </a:lnTo>
                  <a:lnTo>
                    <a:pt x="114" y="176"/>
                  </a:lnTo>
                  <a:lnTo>
                    <a:pt x="104" y="180"/>
                  </a:lnTo>
                  <a:lnTo>
                    <a:pt x="90" y="184"/>
                  </a:lnTo>
                  <a:lnTo>
                    <a:pt x="90" y="184"/>
                  </a:lnTo>
                  <a:lnTo>
                    <a:pt x="84" y="186"/>
                  </a:lnTo>
                  <a:lnTo>
                    <a:pt x="78" y="186"/>
                  </a:lnTo>
                  <a:lnTo>
                    <a:pt x="68" y="184"/>
                  </a:lnTo>
                  <a:lnTo>
                    <a:pt x="58" y="182"/>
                  </a:lnTo>
                  <a:lnTo>
                    <a:pt x="54" y="184"/>
                  </a:lnTo>
                  <a:lnTo>
                    <a:pt x="50" y="186"/>
                  </a:lnTo>
                  <a:lnTo>
                    <a:pt x="50" y="186"/>
                  </a:lnTo>
                  <a:lnTo>
                    <a:pt x="30" y="206"/>
                  </a:lnTo>
                  <a:lnTo>
                    <a:pt x="20" y="214"/>
                  </a:lnTo>
                  <a:lnTo>
                    <a:pt x="8" y="218"/>
                  </a:lnTo>
                  <a:lnTo>
                    <a:pt x="8" y="218"/>
                  </a:lnTo>
                  <a:lnTo>
                    <a:pt x="4" y="220"/>
                  </a:lnTo>
                  <a:lnTo>
                    <a:pt x="2" y="222"/>
                  </a:lnTo>
                  <a:lnTo>
                    <a:pt x="0" y="224"/>
                  </a:lnTo>
                  <a:lnTo>
                    <a:pt x="2" y="228"/>
                  </a:lnTo>
                  <a:lnTo>
                    <a:pt x="4" y="234"/>
                  </a:lnTo>
                  <a:lnTo>
                    <a:pt x="6" y="234"/>
                  </a:lnTo>
                  <a:lnTo>
                    <a:pt x="8" y="234"/>
                  </a:lnTo>
                  <a:lnTo>
                    <a:pt x="8" y="234"/>
                  </a:lnTo>
                  <a:lnTo>
                    <a:pt x="16" y="232"/>
                  </a:lnTo>
                  <a:lnTo>
                    <a:pt x="26" y="232"/>
                  </a:lnTo>
                  <a:lnTo>
                    <a:pt x="32" y="230"/>
                  </a:lnTo>
                  <a:lnTo>
                    <a:pt x="36" y="230"/>
                  </a:lnTo>
                  <a:lnTo>
                    <a:pt x="38" y="226"/>
                  </a:lnTo>
                  <a:lnTo>
                    <a:pt x="38" y="226"/>
                  </a:lnTo>
                  <a:lnTo>
                    <a:pt x="42" y="224"/>
                  </a:lnTo>
                  <a:lnTo>
                    <a:pt x="48" y="222"/>
                  </a:lnTo>
                  <a:lnTo>
                    <a:pt x="66" y="216"/>
                  </a:lnTo>
                  <a:lnTo>
                    <a:pt x="86" y="212"/>
                  </a:lnTo>
                  <a:lnTo>
                    <a:pt x="106" y="210"/>
                  </a:lnTo>
                  <a:lnTo>
                    <a:pt x="106" y="210"/>
                  </a:lnTo>
                  <a:lnTo>
                    <a:pt x="114" y="210"/>
                  </a:lnTo>
                  <a:lnTo>
                    <a:pt x="118" y="212"/>
                  </a:lnTo>
                  <a:lnTo>
                    <a:pt x="120" y="214"/>
                  </a:lnTo>
                  <a:lnTo>
                    <a:pt x="120" y="216"/>
                  </a:lnTo>
                  <a:lnTo>
                    <a:pt x="120" y="224"/>
                  </a:lnTo>
                  <a:lnTo>
                    <a:pt x="118" y="234"/>
                  </a:lnTo>
                  <a:lnTo>
                    <a:pt x="118" y="234"/>
                  </a:lnTo>
                  <a:lnTo>
                    <a:pt x="120" y="238"/>
                  </a:lnTo>
                  <a:lnTo>
                    <a:pt x="122" y="240"/>
                  </a:lnTo>
                  <a:lnTo>
                    <a:pt x="126" y="242"/>
                  </a:lnTo>
                  <a:lnTo>
                    <a:pt x="130" y="242"/>
                  </a:lnTo>
                  <a:lnTo>
                    <a:pt x="142" y="240"/>
                  </a:lnTo>
                  <a:lnTo>
                    <a:pt x="150" y="232"/>
                  </a:lnTo>
                  <a:lnTo>
                    <a:pt x="150" y="232"/>
                  </a:lnTo>
                  <a:lnTo>
                    <a:pt x="158" y="226"/>
                  </a:lnTo>
                  <a:lnTo>
                    <a:pt x="162" y="222"/>
                  </a:lnTo>
                  <a:lnTo>
                    <a:pt x="164" y="218"/>
                  </a:lnTo>
                  <a:lnTo>
                    <a:pt x="160" y="214"/>
                  </a:lnTo>
                  <a:lnTo>
                    <a:pt x="160" y="214"/>
                  </a:lnTo>
                  <a:lnTo>
                    <a:pt x="158" y="212"/>
                  </a:lnTo>
                  <a:lnTo>
                    <a:pt x="156" y="208"/>
                  </a:lnTo>
                  <a:lnTo>
                    <a:pt x="156" y="206"/>
                  </a:lnTo>
                  <a:lnTo>
                    <a:pt x="158" y="206"/>
                  </a:lnTo>
                  <a:lnTo>
                    <a:pt x="162" y="206"/>
                  </a:lnTo>
                  <a:lnTo>
                    <a:pt x="168" y="210"/>
                  </a:lnTo>
                  <a:lnTo>
                    <a:pt x="168" y="210"/>
                  </a:lnTo>
                  <a:lnTo>
                    <a:pt x="172" y="214"/>
                  </a:lnTo>
                  <a:lnTo>
                    <a:pt x="176" y="216"/>
                  </a:lnTo>
                  <a:lnTo>
                    <a:pt x="184" y="218"/>
                  </a:lnTo>
                  <a:lnTo>
                    <a:pt x="194" y="214"/>
                  </a:lnTo>
                  <a:lnTo>
                    <a:pt x="200" y="212"/>
                  </a:lnTo>
                  <a:lnTo>
                    <a:pt x="202" y="208"/>
                  </a:lnTo>
                  <a:lnTo>
                    <a:pt x="202" y="208"/>
                  </a:lnTo>
                  <a:lnTo>
                    <a:pt x="206" y="204"/>
                  </a:lnTo>
                  <a:lnTo>
                    <a:pt x="208" y="202"/>
                  </a:lnTo>
                  <a:lnTo>
                    <a:pt x="210" y="202"/>
                  </a:lnTo>
                  <a:lnTo>
                    <a:pt x="212" y="204"/>
                  </a:lnTo>
                  <a:lnTo>
                    <a:pt x="216" y="208"/>
                  </a:lnTo>
                  <a:lnTo>
                    <a:pt x="220" y="208"/>
                  </a:lnTo>
                  <a:lnTo>
                    <a:pt x="222" y="210"/>
                  </a:lnTo>
                  <a:lnTo>
                    <a:pt x="222" y="210"/>
                  </a:lnTo>
                  <a:lnTo>
                    <a:pt x="226" y="208"/>
                  </a:lnTo>
                  <a:lnTo>
                    <a:pt x="230" y="206"/>
                  </a:lnTo>
                  <a:lnTo>
                    <a:pt x="234" y="198"/>
                  </a:lnTo>
                  <a:lnTo>
                    <a:pt x="238" y="192"/>
                  </a:lnTo>
                  <a:lnTo>
                    <a:pt x="238" y="192"/>
                  </a:lnTo>
                  <a:lnTo>
                    <a:pt x="238" y="194"/>
                  </a:lnTo>
                  <a:lnTo>
                    <a:pt x="238" y="194"/>
                  </a:lnTo>
                  <a:lnTo>
                    <a:pt x="240" y="196"/>
                  </a:lnTo>
                  <a:lnTo>
                    <a:pt x="242" y="198"/>
                  </a:lnTo>
                  <a:lnTo>
                    <a:pt x="248" y="198"/>
                  </a:lnTo>
                  <a:lnTo>
                    <a:pt x="256" y="196"/>
                  </a:lnTo>
                  <a:lnTo>
                    <a:pt x="264" y="188"/>
                  </a:lnTo>
                  <a:lnTo>
                    <a:pt x="264" y="188"/>
                  </a:lnTo>
                  <a:lnTo>
                    <a:pt x="268" y="184"/>
                  </a:lnTo>
                  <a:lnTo>
                    <a:pt x="270" y="180"/>
                  </a:lnTo>
                  <a:lnTo>
                    <a:pt x="270" y="170"/>
                  </a:lnTo>
                  <a:lnTo>
                    <a:pt x="270" y="158"/>
                  </a:lnTo>
                  <a:lnTo>
                    <a:pt x="270" y="154"/>
                  </a:lnTo>
                  <a:lnTo>
                    <a:pt x="272" y="150"/>
                  </a:lnTo>
                  <a:lnTo>
                    <a:pt x="272" y="150"/>
                  </a:lnTo>
                  <a:lnTo>
                    <a:pt x="276" y="142"/>
                  </a:lnTo>
                  <a:lnTo>
                    <a:pt x="280" y="130"/>
                  </a:lnTo>
                  <a:lnTo>
                    <a:pt x="282" y="118"/>
                  </a:lnTo>
                  <a:lnTo>
                    <a:pt x="280" y="114"/>
                  </a:lnTo>
                  <a:lnTo>
                    <a:pt x="278" y="108"/>
                  </a:lnTo>
                  <a:lnTo>
                    <a:pt x="278" y="108"/>
                  </a:lnTo>
                  <a:lnTo>
                    <a:pt x="278" y="104"/>
                  </a:lnTo>
                  <a:lnTo>
                    <a:pt x="278" y="100"/>
                  </a:lnTo>
                  <a:lnTo>
                    <a:pt x="284" y="92"/>
                  </a:lnTo>
                  <a:lnTo>
                    <a:pt x="304" y="78"/>
                  </a:lnTo>
                  <a:lnTo>
                    <a:pt x="304" y="78"/>
                  </a:lnTo>
                  <a:lnTo>
                    <a:pt x="306" y="74"/>
                  </a:lnTo>
                  <a:lnTo>
                    <a:pt x="306" y="66"/>
                  </a:lnTo>
                  <a:lnTo>
                    <a:pt x="302" y="44"/>
                  </a:lnTo>
                  <a:lnTo>
                    <a:pt x="294" y="22"/>
                  </a:lnTo>
                  <a:lnTo>
                    <a:pt x="290" y="6"/>
                  </a:lnTo>
                  <a:lnTo>
                    <a:pt x="290" y="6"/>
                  </a:lnTo>
                  <a:lnTo>
                    <a:pt x="290" y="2"/>
                  </a:lnTo>
                  <a:lnTo>
                    <a:pt x="286" y="0"/>
                  </a:lnTo>
                  <a:lnTo>
                    <a:pt x="282" y="2"/>
                  </a:lnTo>
                  <a:lnTo>
                    <a:pt x="276" y="4"/>
                  </a:lnTo>
                  <a:lnTo>
                    <a:pt x="256" y="16"/>
                  </a:lnTo>
                  <a:lnTo>
                    <a:pt x="256" y="16"/>
                  </a:lnTo>
                  <a:lnTo>
                    <a:pt x="252" y="18"/>
                  </a:lnTo>
                  <a:lnTo>
                    <a:pt x="250" y="22"/>
                  </a:lnTo>
                  <a:lnTo>
                    <a:pt x="248" y="32"/>
                  </a:lnTo>
                  <a:lnTo>
                    <a:pt x="246" y="44"/>
                  </a:lnTo>
                  <a:lnTo>
                    <a:pt x="248" y="48"/>
                  </a:lnTo>
                  <a:lnTo>
                    <a:pt x="252" y="52"/>
                  </a:lnTo>
                  <a:lnTo>
                    <a:pt x="252" y="52"/>
                  </a:lnTo>
                  <a:lnTo>
                    <a:pt x="252" y="54"/>
                  </a:lnTo>
                  <a:lnTo>
                    <a:pt x="252" y="58"/>
                  </a:lnTo>
                  <a:lnTo>
                    <a:pt x="248" y="68"/>
                  </a:lnTo>
                  <a:lnTo>
                    <a:pt x="240" y="78"/>
                  </a:lnTo>
                  <a:lnTo>
                    <a:pt x="238" y="82"/>
                  </a:lnTo>
                  <a:lnTo>
                    <a:pt x="238" y="88"/>
                  </a:lnTo>
                  <a:lnTo>
                    <a:pt x="238" y="88"/>
                  </a:lnTo>
                  <a:lnTo>
                    <a:pt x="236" y="94"/>
                  </a:lnTo>
                  <a:lnTo>
                    <a:pt x="236" y="98"/>
                  </a:lnTo>
                  <a:lnTo>
                    <a:pt x="230" y="104"/>
                  </a:lnTo>
                  <a:lnTo>
                    <a:pt x="224" y="108"/>
                  </a:lnTo>
                  <a:lnTo>
                    <a:pt x="222" y="112"/>
                  </a:lnTo>
                  <a:lnTo>
                    <a:pt x="220" y="114"/>
                  </a:lnTo>
                  <a:lnTo>
                    <a:pt x="220" y="114"/>
                  </a:lnTo>
                  <a:lnTo>
                    <a:pt x="218" y="122"/>
                  </a:lnTo>
                  <a:lnTo>
                    <a:pt x="212" y="124"/>
                  </a:lnTo>
                  <a:lnTo>
                    <a:pt x="204" y="128"/>
                  </a:lnTo>
                  <a:lnTo>
                    <a:pt x="196" y="134"/>
                  </a:lnTo>
                  <a:lnTo>
                    <a:pt x="196" y="134"/>
                  </a:lnTo>
                  <a:lnTo>
                    <a:pt x="190" y="138"/>
                  </a:lnTo>
                  <a:lnTo>
                    <a:pt x="186" y="138"/>
                  </a:lnTo>
                  <a:lnTo>
                    <a:pt x="182" y="138"/>
                  </a:lnTo>
                  <a:lnTo>
                    <a:pt x="180" y="136"/>
                  </a:lnTo>
                  <a:lnTo>
                    <a:pt x="178" y="132"/>
                  </a:lnTo>
                  <a:lnTo>
                    <a:pt x="178" y="126"/>
                  </a:lnTo>
                  <a:lnTo>
                    <a:pt x="178" y="126"/>
                  </a:lnTo>
                  <a:lnTo>
                    <a:pt x="178" y="124"/>
                  </a:lnTo>
                  <a:lnTo>
                    <a:pt x="176" y="124"/>
                  </a:lnTo>
                  <a:lnTo>
                    <a:pt x="168" y="126"/>
                  </a:lnTo>
                  <a:lnTo>
                    <a:pt x="160" y="136"/>
                  </a:lnTo>
                  <a:lnTo>
                    <a:pt x="158" y="140"/>
                  </a:lnTo>
                  <a:lnTo>
                    <a:pt x="158" y="148"/>
                  </a:lnTo>
                  <a:lnTo>
                    <a:pt x="158" y="148"/>
                  </a:lnTo>
                  <a:lnTo>
                    <a:pt x="156" y="154"/>
                  </a:lnTo>
                  <a:lnTo>
                    <a:pt x="154" y="158"/>
                  </a:lnTo>
                  <a:lnTo>
                    <a:pt x="148" y="164"/>
                  </a:lnTo>
                  <a:lnTo>
                    <a:pt x="142" y="170"/>
                  </a:lnTo>
                  <a:lnTo>
                    <a:pt x="140" y="172"/>
                  </a:lnTo>
                  <a:lnTo>
                    <a:pt x="140" y="174"/>
                  </a:lnTo>
                  <a:lnTo>
                    <a:pt x="140" y="174"/>
                  </a:lnTo>
                  <a:lnTo>
                    <a:pt x="142" y="178"/>
                  </a:lnTo>
                  <a:lnTo>
                    <a:pt x="140" y="180"/>
                  </a:lnTo>
                  <a:lnTo>
                    <a:pt x="134" y="184"/>
                  </a:lnTo>
                  <a:lnTo>
                    <a:pt x="126" y="184"/>
                  </a:lnTo>
                  <a:lnTo>
                    <a:pt x="124" y="182"/>
                  </a:lnTo>
                  <a:lnTo>
                    <a:pt x="124" y="180"/>
                  </a:lnTo>
                  <a:lnTo>
                    <a:pt x="124" y="18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89" name="Freeform 76"/>
            <p:cNvSpPr>
              <a:spLocks/>
            </p:cNvSpPr>
            <p:nvPr/>
          </p:nvSpPr>
          <p:spPr bwMode="auto">
            <a:xfrm>
              <a:off x="8258175" y="3197225"/>
              <a:ext cx="50800" cy="41275"/>
            </a:xfrm>
            <a:custGeom>
              <a:avLst/>
              <a:gdLst>
                <a:gd name="T0" fmla="*/ 30 w 32"/>
                <a:gd name="T1" fmla="*/ 8 h 26"/>
                <a:gd name="T2" fmla="*/ 30 w 32"/>
                <a:gd name="T3" fmla="*/ 8 h 26"/>
                <a:gd name="T4" fmla="*/ 32 w 32"/>
                <a:gd name="T5" fmla="*/ 4 h 26"/>
                <a:gd name="T6" fmla="*/ 30 w 32"/>
                <a:gd name="T7" fmla="*/ 2 h 26"/>
                <a:gd name="T8" fmla="*/ 22 w 32"/>
                <a:gd name="T9" fmla="*/ 0 h 26"/>
                <a:gd name="T10" fmla="*/ 14 w 32"/>
                <a:gd name="T11" fmla="*/ 2 h 26"/>
                <a:gd name="T12" fmla="*/ 14 w 32"/>
                <a:gd name="T13" fmla="*/ 2 h 26"/>
                <a:gd name="T14" fmla="*/ 8 w 32"/>
                <a:gd name="T15" fmla="*/ 4 h 26"/>
                <a:gd name="T16" fmla="*/ 4 w 32"/>
                <a:gd name="T17" fmla="*/ 8 h 26"/>
                <a:gd name="T18" fmla="*/ 0 w 32"/>
                <a:gd name="T19" fmla="*/ 16 h 26"/>
                <a:gd name="T20" fmla="*/ 0 w 32"/>
                <a:gd name="T21" fmla="*/ 22 h 26"/>
                <a:gd name="T22" fmla="*/ 0 w 32"/>
                <a:gd name="T23" fmla="*/ 26 h 26"/>
                <a:gd name="T24" fmla="*/ 2 w 32"/>
                <a:gd name="T25" fmla="*/ 26 h 26"/>
                <a:gd name="T26" fmla="*/ 2 w 32"/>
                <a:gd name="T27" fmla="*/ 26 h 26"/>
                <a:gd name="T28" fmla="*/ 10 w 32"/>
                <a:gd name="T29" fmla="*/ 24 h 26"/>
                <a:gd name="T30" fmla="*/ 18 w 32"/>
                <a:gd name="T31" fmla="*/ 18 h 26"/>
                <a:gd name="T32" fmla="*/ 30 w 32"/>
                <a:gd name="T33" fmla="*/ 8 h 26"/>
                <a:gd name="T34" fmla="*/ 30 w 32"/>
                <a:gd name="T35"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26">
                  <a:moveTo>
                    <a:pt x="30" y="8"/>
                  </a:moveTo>
                  <a:lnTo>
                    <a:pt x="30" y="8"/>
                  </a:lnTo>
                  <a:lnTo>
                    <a:pt x="32" y="4"/>
                  </a:lnTo>
                  <a:lnTo>
                    <a:pt x="30" y="2"/>
                  </a:lnTo>
                  <a:lnTo>
                    <a:pt x="22" y="0"/>
                  </a:lnTo>
                  <a:lnTo>
                    <a:pt x="14" y="2"/>
                  </a:lnTo>
                  <a:lnTo>
                    <a:pt x="14" y="2"/>
                  </a:lnTo>
                  <a:lnTo>
                    <a:pt x="8" y="4"/>
                  </a:lnTo>
                  <a:lnTo>
                    <a:pt x="4" y="8"/>
                  </a:lnTo>
                  <a:lnTo>
                    <a:pt x="0" y="16"/>
                  </a:lnTo>
                  <a:lnTo>
                    <a:pt x="0" y="22"/>
                  </a:lnTo>
                  <a:lnTo>
                    <a:pt x="0" y="26"/>
                  </a:lnTo>
                  <a:lnTo>
                    <a:pt x="2" y="26"/>
                  </a:lnTo>
                  <a:lnTo>
                    <a:pt x="2" y="26"/>
                  </a:lnTo>
                  <a:lnTo>
                    <a:pt x="10" y="24"/>
                  </a:lnTo>
                  <a:lnTo>
                    <a:pt x="18" y="18"/>
                  </a:lnTo>
                  <a:lnTo>
                    <a:pt x="30" y="8"/>
                  </a:lnTo>
                  <a:lnTo>
                    <a:pt x="30" y="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0" name="Freeform 77"/>
            <p:cNvSpPr>
              <a:spLocks/>
            </p:cNvSpPr>
            <p:nvPr/>
          </p:nvSpPr>
          <p:spPr bwMode="auto">
            <a:xfrm>
              <a:off x="15452725" y="2886075"/>
              <a:ext cx="136525" cy="41275"/>
            </a:xfrm>
            <a:custGeom>
              <a:avLst/>
              <a:gdLst>
                <a:gd name="T0" fmla="*/ 36 w 86"/>
                <a:gd name="T1" fmla="*/ 2 h 26"/>
                <a:gd name="T2" fmla="*/ 36 w 86"/>
                <a:gd name="T3" fmla="*/ 2 h 26"/>
                <a:gd name="T4" fmla="*/ 26 w 86"/>
                <a:gd name="T5" fmla="*/ 4 h 26"/>
                <a:gd name="T6" fmla="*/ 14 w 86"/>
                <a:gd name="T7" fmla="*/ 6 h 26"/>
                <a:gd name="T8" fmla="*/ 2 w 86"/>
                <a:gd name="T9" fmla="*/ 8 h 26"/>
                <a:gd name="T10" fmla="*/ 0 w 86"/>
                <a:gd name="T11" fmla="*/ 10 h 26"/>
                <a:gd name="T12" fmla="*/ 2 w 86"/>
                <a:gd name="T13" fmla="*/ 12 h 26"/>
                <a:gd name="T14" fmla="*/ 2 w 86"/>
                <a:gd name="T15" fmla="*/ 12 h 26"/>
                <a:gd name="T16" fmla="*/ 6 w 86"/>
                <a:gd name="T17" fmla="*/ 14 h 26"/>
                <a:gd name="T18" fmla="*/ 10 w 86"/>
                <a:gd name="T19" fmla="*/ 16 h 26"/>
                <a:gd name="T20" fmla="*/ 24 w 86"/>
                <a:gd name="T21" fmla="*/ 18 h 26"/>
                <a:gd name="T22" fmla="*/ 40 w 86"/>
                <a:gd name="T23" fmla="*/ 20 h 26"/>
                <a:gd name="T24" fmla="*/ 46 w 86"/>
                <a:gd name="T25" fmla="*/ 20 h 26"/>
                <a:gd name="T26" fmla="*/ 52 w 86"/>
                <a:gd name="T27" fmla="*/ 24 h 26"/>
                <a:gd name="T28" fmla="*/ 52 w 86"/>
                <a:gd name="T29" fmla="*/ 24 h 26"/>
                <a:gd name="T30" fmla="*/ 58 w 86"/>
                <a:gd name="T31" fmla="*/ 26 h 26"/>
                <a:gd name="T32" fmla="*/ 64 w 86"/>
                <a:gd name="T33" fmla="*/ 26 h 26"/>
                <a:gd name="T34" fmla="*/ 74 w 86"/>
                <a:gd name="T35" fmla="*/ 26 h 26"/>
                <a:gd name="T36" fmla="*/ 82 w 86"/>
                <a:gd name="T37" fmla="*/ 24 h 26"/>
                <a:gd name="T38" fmla="*/ 84 w 86"/>
                <a:gd name="T39" fmla="*/ 20 h 26"/>
                <a:gd name="T40" fmla="*/ 86 w 86"/>
                <a:gd name="T41" fmla="*/ 18 h 26"/>
                <a:gd name="T42" fmla="*/ 86 w 86"/>
                <a:gd name="T43" fmla="*/ 18 h 26"/>
                <a:gd name="T44" fmla="*/ 84 w 86"/>
                <a:gd name="T45" fmla="*/ 16 h 26"/>
                <a:gd name="T46" fmla="*/ 78 w 86"/>
                <a:gd name="T47" fmla="*/ 12 h 26"/>
                <a:gd name="T48" fmla="*/ 62 w 86"/>
                <a:gd name="T49" fmla="*/ 6 h 26"/>
                <a:gd name="T50" fmla="*/ 46 w 86"/>
                <a:gd name="T51" fmla="*/ 2 h 26"/>
                <a:gd name="T52" fmla="*/ 40 w 86"/>
                <a:gd name="T53" fmla="*/ 0 h 26"/>
                <a:gd name="T54" fmla="*/ 36 w 86"/>
                <a:gd name="T55" fmla="*/ 2 h 26"/>
                <a:gd name="T56" fmla="*/ 36 w 86"/>
                <a:gd name="T5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26">
                  <a:moveTo>
                    <a:pt x="36" y="2"/>
                  </a:moveTo>
                  <a:lnTo>
                    <a:pt x="36" y="2"/>
                  </a:lnTo>
                  <a:lnTo>
                    <a:pt x="26" y="4"/>
                  </a:lnTo>
                  <a:lnTo>
                    <a:pt x="14" y="6"/>
                  </a:lnTo>
                  <a:lnTo>
                    <a:pt x="2" y="8"/>
                  </a:lnTo>
                  <a:lnTo>
                    <a:pt x="0" y="10"/>
                  </a:lnTo>
                  <a:lnTo>
                    <a:pt x="2" y="12"/>
                  </a:lnTo>
                  <a:lnTo>
                    <a:pt x="2" y="12"/>
                  </a:lnTo>
                  <a:lnTo>
                    <a:pt x="6" y="14"/>
                  </a:lnTo>
                  <a:lnTo>
                    <a:pt x="10" y="16"/>
                  </a:lnTo>
                  <a:lnTo>
                    <a:pt x="24" y="18"/>
                  </a:lnTo>
                  <a:lnTo>
                    <a:pt x="40" y="20"/>
                  </a:lnTo>
                  <a:lnTo>
                    <a:pt x="46" y="20"/>
                  </a:lnTo>
                  <a:lnTo>
                    <a:pt x="52" y="24"/>
                  </a:lnTo>
                  <a:lnTo>
                    <a:pt x="52" y="24"/>
                  </a:lnTo>
                  <a:lnTo>
                    <a:pt x="58" y="26"/>
                  </a:lnTo>
                  <a:lnTo>
                    <a:pt x="64" y="26"/>
                  </a:lnTo>
                  <a:lnTo>
                    <a:pt x="74" y="26"/>
                  </a:lnTo>
                  <a:lnTo>
                    <a:pt x="82" y="24"/>
                  </a:lnTo>
                  <a:lnTo>
                    <a:pt x="84" y="20"/>
                  </a:lnTo>
                  <a:lnTo>
                    <a:pt x="86" y="18"/>
                  </a:lnTo>
                  <a:lnTo>
                    <a:pt x="86" y="18"/>
                  </a:lnTo>
                  <a:lnTo>
                    <a:pt x="84" y="16"/>
                  </a:lnTo>
                  <a:lnTo>
                    <a:pt x="78" y="12"/>
                  </a:lnTo>
                  <a:lnTo>
                    <a:pt x="62" y="6"/>
                  </a:lnTo>
                  <a:lnTo>
                    <a:pt x="46" y="2"/>
                  </a:lnTo>
                  <a:lnTo>
                    <a:pt x="40" y="0"/>
                  </a:lnTo>
                  <a:lnTo>
                    <a:pt x="36" y="2"/>
                  </a:lnTo>
                  <a:lnTo>
                    <a:pt x="36" y="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1" name="Freeform 78"/>
            <p:cNvSpPr>
              <a:spLocks/>
            </p:cNvSpPr>
            <p:nvPr/>
          </p:nvSpPr>
          <p:spPr bwMode="auto">
            <a:xfrm>
              <a:off x="14487525" y="8007350"/>
              <a:ext cx="330200" cy="314325"/>
            </a:xfrm>
            <a:custGeom>
              <a:avLst/>
              <a:gdLst>
                <a:gd name="T0" fmla="*/ 204 w 208"/>
                <a:gd name="T1" fmla="*/ 6 h 198"/>
                <a:gd name="T2" fmla="*/ 192 w 208"/>
                <a:gd name="T3" fmla="*/ 6 h 198"/>
                <a:gd name="T4" fmla="*/ 182 w 208"/>
                <a:gd name="T5" fmla="*/ 14 h 198"/>
                <a:gd name="T6" fmla="*/ 176 w 208"/>
                <a:gd name="T7" fmla="*/ 12 h 198"/>
                <a:gd name="T8" fmla="*/ 162 w 208"/>
                <a:gd name="T9" fmla="*/ 0 h 198"/>
                <a:gd name="T10" fmla="*/ 156 w 208"/>
                <a:gd name="T11" fmla="*/ 2 h 198"/>
                <a:gd name="T12" fmla="*/ 150 w 208"/>
                <a:gd name="T13" fmla="*/ 8 h 198"/>
                <a:gd name="T14" fmla="*/ 148 w 208"/>
                <a:gd name="T15" fmla="*/ 20 h 198"/>
                <a:gd name="T16" fmla="*/ 142 w 208"/>
                <a:gd name="T17" fmla="*/ 26 h 198"/>
                <a:gd name="T18" fmla="*/ 132 w 208"/>
                <a:gd name="T19" fmla="*/ 40 h 198"/>
                <a:gd name="T20" fmla="*/ 118 w 208"/>
                <a:gd name="T21" fmla="*/ 64 h 198"/>
                <a:gd name="T22" fmla="*/ 112 w 208"/>
                <a:gd name="T23" fmla="*/ 72 h 198"/>
                <a:gd name="T24" fmla="*/ 78 w 208"/>
                <a:gd name="T25" fmla="*/ 92 h 198"/>
                <a:gd name="T26" fmla="*/ 48 w 208"/>
                <a:gd name="T27" fmla="*/ 108 h 198"/>
                <a:gd name="T28" fmla="*/ 44 w 208"/>
                <a:gd name="T29" fmla="*/ 114 h 198"/>
                <a:gd name="T30" fmla="*/ 24 w 208"/>
                <a:gd name="T31" fmla="*/ 132 h 198"/>
                <a:gd name="T32" fmla="*/ 10 w 208"/>
                <a:gd name="T33" fmla="*/ 142 h 198"/>
                <a:gd name="T34" fmla="*/ 10 w 208"/>
                <a:gd name="T35" fmla="*/ 146 h 198"/>
                <a:gd name="T36" fmla="*/ 2 w 208"/>
                <a:gd name="T37" fmla="*/ 160 h 198"/>
                <a:gd name="T38" fmla="*/ 0 w 208"/>
                <a:gd name="T39" fmla="*/ 172 h 198"/>
                <a:gd name="T40" fmla="*/ 2 w 208"/>
                <a:gd name="T41" fmla="*/ 176 h 198"/>
                <a:gd name="T42" fmla="*/ 14 w 208"/>
                <a:gd name="T43" fmla="*/ 182 h 198"/>
                <a:gd name="T44" fmla="*/ 28 w 208"/>
                <a:gd name="T45" fmla="*/ 186 h 198"/>
                <a:gd name="T46" fmla="*/ 32 w 208"/>
                <a:gd name="T47" fmla="*/ 190 h 198"/>
                <a:gd name="T48" fmla="*/ 44 w 208"/>
                <a:gd name="T49" fmla="*/ 192 h 198"/>
                <a:gd name="T50" fmla="*/ 46 w 208"/>
                <a:gd name="T51" fmla="*/ 194 h 198"/>
                <a:gd name="T52" fmla="*/ 54 w 208"/>
                <a:gd name="T53" fmla="*/ 198 h 198"/>
                <a:gd name="T54" fmla="*/ 80 w 208"/>
                <a:gd name="T55" fmla="*/ 194 h 198"/>
                <a:gd name="T56" fmla="*/ 96 w 208"/>
                <a:gd name="T57" fmla="*/ 184 h 198"/>
                <a:gd name="T58" fmla="*/ 102 w 208"/>
                <a:gd name="T59" fmla="*/ 176 h 198"/>
                <a:gd name="T60" fmla="*/ 110 w 208"/>
                <a:gd name="T61" fmla="*/ 162 h 198"/>
                <a:gd name="T62" fmla="*/ 112 w 208"/>
                <a:gd name="T63" fmla="*/ 154 h 198"/>
                <a:gd name="T64" fmla="*/ 114 w 208"/>
                <a:gd name="T65" fmla="*/ 152 h 198"/>
                <a:gd name="T66" fmla="*/ 122 w 208"/>
                <a:gd name="T67" fmla="*/ 140 h 198"/>
                <a:gd name="T68" fmla="*/ 128 w 208"/>
                <a:gd name="T69" fmla="*/ 124 h 198"/>
                <a:gd name="T70" fmla="*/ 138 w 208"/>
                <a:gd name="T71" fmla="*/ 110 h 198"/>
                <a:gd name="T72" fmla="*/ 158 w 208"/>
                <a:gd name="T73" fmla="*/ 104 h 198"/>
                <a:gd name="T74" fmla="*/ 170 w 208"/>
                <a:gd name="T75" fmla="*/ 104 h 198"/>
                <a:gd name="T76" fmla="*/ 172 w 208"/>
                <a:gd name="T77" fmla="*/ 102 h 198"/>
                <a:gd name="T78" fmla="*/ 168 w 208"/>
                <a:gd name="T79" fmla="*/ 90 h 198"/>
                <a:gd name="T80" fmla="*/ 168 w 208"/>
                <a:gd name="T81" fmla="*/ 86 h 198"/>
                <a:gd name="T82" fmla="*/ 176 w 208"/>
                <a:gd name="T83" fmla="*/ 78 h 198"/>
                <a:gd name="T84" fmla="*/ 186 w 208"/>
                <a:gd name="T85" fmla="*/ 70 h 198"/>
                <a:gd name="T86" fmla="*/ 186 w 208"/>
                <a:gd name="T87" fmla="*/ 64 h 198"/>
                <a:gd name="T88" fmla="*/ 190 w 208"/>
                <a:gd name="T89" fmla="*/ 54 h 198"/>
                <a:gd name="T90" fmla="*/ 206 w 208"/>
                <a:gd name="T91" fmla="*/ 38 h 198"/>
                <a:gd name="T92" fmla="*/ 208 w 208"/>
                <a:gd name="T93" fmla="*/ 30 h 198"/>
                <a:gd name="T94" fmla="*/ 206 w 208"/>
                <a:gd name="T95" fmla="*/ 22 h 198"/>
                <a:gd name="T96" fmla="*/ 206 w 208"/>
                <a:gd name="T97" fmla="*/ 12 h 198"/>
                <a:gd name="T98" fmla="*/ 204 w 208"/>
                <a:gd name="T99" fmla="*/ 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 h="198">
                  <a:moveTo>
                    <a:pt x="204" y="6"/>
                  </a:moveTo>
                  <a:lnTo>
                    <a:pt x="204" y="6"/>
                  </a:lnTo>
                  <a:lnTo>
                    <a:pt x="198" y="4"/>
                  </a:lnTo>
                  <a:lnTo>
                    <a:pt x="192" y="6"/>
                  </a:lnTo>
                  <a:lnTo>
                    <a:pt x="182" y="14"/>
                  </a:lnTo>
                  <a:lnTo>
                    <a:pt x="182" y="14"/>
                  </a:lnTo>
                  <a:lnTo>
                    <a:pt x="178" y="14"/>
                  </a:lnTo>
                  <a:lnTo>
                    <a:pt x="176" y="12"/>
                  </a:lnTo>
                  <a:lnTo>
                    <a:pt x="170" y="6"/>
                  </a:lnTo>
                  <a:lnTo>
                    <a:pt x="162" y="0"/>
                  </a:lnTo>
                  <a:lnTo>
                    <a:pt x="160" y="0"/>
                  </a:lnTo>
                  <a:lnTo>
                    <a:pt x="156" y="2"/>
                  </a:lnTo>
                  <a:lnTo>
                    <a:pt x="156" y="2"/>
                  </a:lnTo>
                  <a:lnTo>
                    <a:pt x="150" y="8"/>
                  </a:lnTo>
                  <a:lnTo>
                    <a:pt x="148" y="14"/>
                  </a:lnTo>
                  <a:lnTo>
                    <a:pt x="148" y="20"/>
                  </a:lnTo>
                  <a:lnTo>
                    <a:pt x="142" y="26"/>
                  </a:lnTo>
                  <a:lnTo>
                    <a:pt x="142" y="26"/>
                  </a:lnTo>
                  <a:lnTo>
                    <a:pt x="134" y="34"/>
                  </a:lnTo>
                  <a:lnTo>
                    <a:pt x="132" y="40"/>
                  </a:lnTo>
                  <a:lnTo>
                    <a:pt x="128" y="50"/>
                  </a:lnTo>
                  <a:lnTo>
                    <a:pt x="118" y="64"/>
                  </a:lnTo>
                  <a:lnTo>
                    <a:pt x="118" y="64"/>
                  </a:lnTo>
                  <a:lnTo>
                    <a:pt x="112" y="72"/>
                  </a:lnTo>
                  <a:lnTo>
                    <a:pt x="102" y="80"/>
                  </a:lnTo>
                  <a:lnTo>
                    <a:pt x="78" y="92"/>
                  </a:lnTo>
                  <a:lnTo>
                    <a:pt x="56" y="104"/>
                  </a:lnTo>
                  <a:lnTo>
                    <a:pt x="48" y="108"/>
                  </a:lnTo>
                  <a:lnTo>
                    <a:pt x="44" y="114"/>
                  </a:lnTo>
                  <a:lnTo>
                    <a:pt x="44" y="114"/>
                  </a:lnTo>
                  <a:lnTo>
                    <a:pt x="36" y="122"/>
                  </a:lnTo>
                  <a:lnTo>
                    <a:pt x="24" y="132"/>
                  </a:lnTo>
                  <a:lnTo>
                    <a:pt x="14" y="138"/>
                  </a:lnTo>
                  <a:lnTo>
                    <a:pt x="10" y="142"/>
                  </a:lnTo>
                  <a:lnTo>
                    <a:pt x="10" y="146"/>
                  </a:lnTo>
                  <a:lnTo>
                    <a:pt x="10" y="146"/>
                  </a:lnTo>
                  <a:lnTo>
                    <a:pt x="6" y="154"/>
                  </a:lnTo>
                  <a:lnTo>
                    <a:pt x="2" y="160"/>
                  </a:lnTo>
                  <a:lnTo>
                    <a:pt x="0" y="168"/>
                  </a:lnTo>
                  <a:lnTo>
                    <a:pt x="0" y="172"/>
                  </a:lnTo>
                  <a:lnTo>
                    <a:pt x="2" y="176"/>
                  </a:lnTo>
                  <a:lnTo>
                    <a:pt x="2" y="176"/>
                  </a:lnTo>
                  <a:lnTo>
                    <a:pt x="8" y="180"/>
                  </a:lnTo>
                  <a:lnTo>
                    <a:pt x="14" y="182"/>
                  </a:lnTo>
                  <a:lnTo>
                    <a:pt x="20" y="184"/>
                  </a:lnTo>
                  <a:lnTo>
                    <a:pt x="28" y="186"/>
                  </a:lnTo>
                  <a:lnTo>
                    <a:pt x="28" y="186"/>
                  </a:lnTo>
                  <a:lnTo>
                    <a:pt x="32" y="190"/>
                  </a:lnTo>
                  <a:lnTo>
                    <a:pt x="38" y="192"/>
                  </a:lnTo>
                  <a:lnTo>
                    <a:pt x="44" y="192"/>
                  </a:lnTo>
                  <a:lnTo>
                    <a:pt x="46" y="194"/>
                  </a:lnTo>
                  <a:lnTo>
                    <a:pt x="46" y="194"/>
                  </a:lnTo>
                  <a:lnTo>
                    <a:pt x="48" y="196"/>
                  </a:lnTo>
                  <a:lnTo>
                    <a:pt x="54" y="198"/>
                  </a:lnTo>
                  <a:lnTo>
                    <a:pt x="66" y="198"/>
                  </a:lnTo>
                  <a:lnTo>
                    <a:pt x="80" y="194"/>
                  </a:lnTo>
                  <a:lnTo>
                    <a:pt x="88" y="190"/>
                  </a:lnTo>
                  <a:lnTo>
                    <a:pt x="96" y="184"/>
                  </a:lnTo>
                  <a:lnTo>
                    <a:pt x="96" y="184"/>
                  </a:lnTo>
                  <a:lnTo>
                    <a:pt x="102" y="176"/>
                  </a:lnTo>
                  <a:lnTo>
                    <a:pt x="106" y="172"/>
                  </a:lnTo>
                  <a:lnTo>
                    <a:pt x="110" y="162"/>
                  </a:lnTo>
                  <a:lnTo>
                    <a:pt x="112" y="156"/>
                  </a:lnTo>
                  <a:lnTo>
                    <a:pt x="112" y="154"/>
                  </a:lnTo>
                  <a:lnTo>
                    <a:pt x="114" y="152"/>
                  </a:lnTo>
                  <a:lnTo>
                    <a:pt x="114" y="152"/>
                  </a:lnTo>
                  <a:lnTo>
                    <a:pt x="120" y="146"/>
                  </a:lnTo>
                  <a:lnTo>
                    <a:pt x="122" y="140"/>
                  </a:lnTo>
                  <a:lnTo>
                    <a:pt x="128" y="124"/>
                  </a:lnTo>
                  <a:lnTo>
                    <a:pt x="128" y="124"/>
                  </a:lnTo>
                  <a:lnTo>
                    <a:pt x="132" y="116"/>
                  </a:lnTo>
                  <a:lnTo>
                    <a:pt x="138" y="110"/>
                  </a:lnTo>
                  <a:lnTo>
                    <a:pt x="146" y="106"/>
                  </a:lnTo>
                  <a:lnTo>
                    <a:pt x="158" y="104"/>
                  </a:lnTo>
                  <a:lnTo>
                    <a:pt x="158" y="104"/>
                  </a:lnTo>
                  <a:lnTo>
                    <a:pt x="170" y="104"/>
                  </a:lnTo>
                  <a:lnTo>
                    <a:pt x="172" y="102"/>
                  </a:lnTo>
                  <a:lnTo>
                    <a:pt x="172" y="102"/>
                  </a:lnTo>
                  <a:lnTo>
                    <a:pt x="170" y="96"/>
                  </a:lnTo>
                  <a:lnTo>
                    <a:pt x="168" y="90"/>
                  </a:lnTo>
                  <a:lnTo>
                    <a:pt x="168" y="90"/>
                  </a:lnTo>
                  <a:lnTo>
                    <a:pt x="168" y="86"/>
                  </a:lnTo>
                  <a:lnTo>
                    <a:pt x="170" y="84"/>
                  </a:lnTo>
                  <a:lnTo>
                    <a:pt x="176" y="78"/>
                  </a:lnTo>
                  <a:lnTo>
                    <a:pt x="184" y="72"/>
                  </a:lnTo>
                  <a:lnTo>
                    <a:pt x="186" y="70"/>
                  </a:lnTo>
                  <a:lnTo>
                    <a:pt x="186" y="64"/>
                  </a:lnTo>
                  <a:lnTo>
                    <a:pt x="186" y="64"/>
                  </a:lnTo>
                  <a:lnTo>
                    <a:pt x="188" y="60"/>
                  </a:lnTo>
                  <a:lnTo>
                    <a:pt x="190" y="54"/>
                  </a:lnTo>
                  <a:lnTo>
                    <a:pt x="198" y="46"/>
                  </a:lnTo>
                  <a:lnTo>
                    <a:pt x="206" y="38"/>
                  </a:lnTo>
                  <a:lnTo>
                    <a:pt x="208" y="34"/>
                  </a:lnTo>
                  <a:lnTo>
                    <a:pt x="208" y="30"/>
                  </a:lnTo>
                  <a:lnTo>
                    <a:pt x="208" y="30"/>
                  </a:lnTo>
                  <a:lnTo>
                    <a:pt x="206" y="22"/>
                  </a:lnTo>
                  <a:lnTo>
                    <a:pt x="206" y="16"/>
                  </a:lnTo>
                  <a:lnTo>
                    <a:pt x="206" y="12"/>
                  </a:lnTo>
                  <a:lnTo>
                    <a:pt x="206" y="8"/>
                  </a:lnTo>
                  <a:lnTo>
                    <a:pt x="204" y="6"/>
                  </a:lnTo>
                  <a:lnTo>
                    <a:pt x="204" y="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2" name="Freeform 79"/>
            <p:cNvSpPr>
              <a:spLocks/>
            </p:cNvSpPr>
            <p:nvPr/>
          </p:nvSpPr>
          <p:spPr bwMode="auto">
            <a:xfrm>
              <a:off x="12103100" y="2035175"/>
              <a:ext cx="79375" cy="38100"/>
            </a:xfrm>
            <a:custGeom>
              <a:avLst/>
              <a:gdLst>
                <a:gd name="T0" fmla="*/ 18 w 50"/>
                <a:gd name="T1" fmla="*/ 6 h 24"/>
                <a:gd name="T2" fmla="*/ 18 w 50"/>
                <a:gd name="T3" fmla="*/ 6 h 24"/>
                <a:gd name="T4" fmla="*/ 12 w 50"/>
                <a:gd name="T5" fmla="*/ 10 h 24"/>
                <a:gd name="T6" fmla="*/ 6 w 50"/>
                <a:gd name="T7" fmla="*/ 12 h 24"/>
                <a:gd name="T8" fmla="*/ 2 w 50"/>
                <a:gd name="T9" fmla="*/ 14 h 24"/>
                <a:gd name="T10" fmla="*/ 0 w 50"/>
                <a:gd name="T11" fmla="*/ 16 h 24"/>
                <a:gd name="T12" fmla="*/ 0 w 50"/>
                <a:gd name="T13" fmla="*/ 18 h 24"/>
                <a:gd name="T14" fmla="*/ 0 w 50"/>
                <a:gd name="T15" fmla="*/ 18 h 24"/>
                <a:gd name="T16" fmla="*/ 6 w 50"/>
                <a:gd name="T17" fmla="*/ 22 h 24"/>
                <a:gd name="T18" fmla="*/ 12 w 50"/>
                <a:gd name="T19" fmla="*/ 24 h 24"/>
                <a:gd name="T20" fmla="*/ 20 w 50"/>
                <a:gd name="T21" fmla="*/ 24 h 24"/>
                <a:gd name="T22" fmla="*/ 28 w 50"/>
                <a:gd name="T23" fmla="*/ 24 h 24"/>
                <a:gd name="T24" fmla="*/ 36 w 50"/>
                <a:gd name="T25" fmla="*/ 22 h 24"/>
                <a:gd name="T26" fmla="*/ 44 w 50"/>
                <a:gd name="T27" fmla="*/ 18 h 24"/>
                <a:gd name="T28" fmla="*/ 48 w 50"/>
                <a:gd name="T29" fmla="*/ 14 h 24"/>
                <a:gd name="T30" fmla="*/ 50 w 50"/>
                <a:gd name="T31" fmla="*/ 10 h 24"/>
                <a:gd name="T32" fmla="*/ 50 w 50"/>
                <a:gd name="T33" fmla="*/ 10 h 24"/>
                <a:gd name="T34" fmla="*/ 50 w 50"/>
                <a:gd name="T35" fmla="*/ 6 h 24"/>
                <a:gd name="T36" fmla="*/ 46 w 50"/>
                <a:gd name="T37" fmla="*/ 4 h 24"/>
                <a:gd name="T38" fmla="*/ 40 w 50"/>
                <a:gd name="T39" fmla="*/ 2 h 24"/>
                <a:gd name="T40" fmla="*/ 36 w 50"/>
                <a:gd name="T41" fmla="*/ 0 h 24"/>
                <a:gd name="T42" fmla="*/ 24 w 50"/>
                <a:gd name="T43" fmla="*/ 2 h 24"/>
                <a:gd name="T44" fmla="*/ 20 w 50"/>
                <a:gd name="T45" fmla="*/ 4 h 24"/>
                <a:gd name="T46" fmla="*/ 18 w 50"/>
                <a:gd name="T47" fmla="*/ 6 h 24"/>
                <a:gd name="T48" fmla="*/ 18 w 50"/>
                <a:gd name="T49"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18" y="6"/>
                  </a:moveTo>
                  <a:lnTo>
                    <a:pt x="18" y="6"/>
                  </a:lnTo>
                  <a:lnTo>
                    <a:pt x="12" y="10"/>
                  </a:lnTo>
                  <a:lnTo>
                    <a:pt x="6" y="12"/>
                  </a:lnTo>
                  <a:lnTo>
                    <a:pt x="2" y="14"/>
                  </a:lnTo>
                  <a:lnTo>
                    <a:pt x="0" y="16"/>
                  </a:lnTo>
                  <a:lnTo>
                    <a:pt x="0" y="18"/>
                  </a:lnTo>
                  <a:lnTo>
                    <a:pt x="0" y="18"/>
                  </a:lnTo>
                  <a:lnTo>
                    <a:pt x="6" y="22"/>
                  </a:lnTo>
                  <a:lnTo>
                    <a:pt x="12" y="24"/>
                  </a:lnTo>
                  <a:lnTo>
                    <a:pt x="20" y="24"/>
                  </a:lnTo>
                  <a:lnTo>
                    <a:pt x="28" y="24"/>
                  </a:lnTo>
                  <a:lnTo>
                    <a:pt x="36" y="22"/>
                  </a:lnTo>
                  <a:lnTo>
                    <a:pt x="44" y="18"/>
                  </a:lnTo>
                  <a:lnTo>
                    <a:pt x="48" y="14"/>
                  </a:lnTo>
                  <a:lnTo>
                    <a:pt x="50" y="10"/>
                  </a:lnTo>
                  <a:lnTo>
                    <a:pt x="50" y="10"/>
                  </a:lnTo>
                  <a:lnTo>
                    <a:pt x="50" y="6"/>
                  </a:lnTo>
                  <a:lnTo>
                    <a:pt x="46" y="4"/>
                  </a:lnTo>
                  <a:lnTo>
                    <a:pt x="40" y="2"/>
                  </a:lnTo>
                  <a:lnTo>
                    <a:pt x="36" y="0"/>
                  </a:lnTo>
                  <a:lnTo>
                    <a:pt x="24" y="2"/>
                  </a:lnTo>
                  <a:lnTo>
                    <a:pt x="20" y="4"/>
                  </a:lnTo>
                  <a:lnTo>
                    <a:pt x="18" y="6"/>
                  </a:lnTo>
                  <a:lnTo>
                    <a:pt x="18" y="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3" name="Freeform 80"/>
            <p:cNvSpPr>
              <a:spLocks/>
            </p:cNvSpPr>
            <p:nvPr/>
          </p:nvSpPr>
          <p:spPr bwMode="auto">
            <a:xfrm>
              <a:off x="14963775" y="6896100"/>
              <a:ext cx="50800" cy="34925"/>
            </a:xfrm>
            <a:custGeom>
              <a:avLst/>
              <a:gdLst>
                <a:gd name="T0" fmla="*/ 0 w 32"/>
                <a:gd name="T1" fmla="*/ 16 h 22"/>
                <a:gd name="T2" fmla="*/ 0 w 32"/>
                <a:gd name="T3" fmla="*/ 16 h 22"/>
                <a:gd name="T4" fmla="*/ 4 w 32"/>
                <a:gd name="T5" fmla="*/ 20 h 22"/>
                <a:gd name="T6" fmla="*/ 10 w 32"/>
                <a:gd name="T7" fmla="*/ 22 h 22"/>
                <a:gd name="T8" fmla="*/ 14 w 32"/>
                <a:gd name="T9" fmla="*/ 22 h 22"/>
                <a:gd name="T10" fmla="*/ 20 w 32"/>
                <a:gd name="T11" fmla="*/ 22 h 22"/>
                <a:gd name="T12" fmla="*/ 24 w 32"/>
                <a:gd name="T13" fmla="*/ 20 h 22"/>
                <a:gd name="T14" fmla="*/ 28 w 32"/>
                <a:gd name="T15" fmla="*/ 18 h 22"/>
                <a:gd name="T16" fmla="*/ 30 w 32"/>
                <a:gd name="T17" fmla="*/ 14 h 22"/>
                <a:gd name="T18" fmla="*/ 32 w 32"/>
                <a:gd name="T19" fmla="*/ 8 h 22"/>
                <a:gd name="T20" fmla="*/ 32 w 32"/>
                <a:gd name="T21" fmla="*/ 8 h 22"/>
                <a:gd name="T22" fmla="*/ 30 w 32"/>
                <a:gd name="T23" fmla="*/ 2 h 22"/>
                <a:gd name="T24" fmla="*/ 26 w 32"/>
                <a:gd name="T25" fmla="*/ 0 h 22"/>
                <a:gd name="T26" fmla="*/ 20 w 32"/>
                <a:gd name="T27" fmla="*/ 0 h 22"/>
                <a:gd name="T28" fmla="*/ 12 w 32"/>
                <a:gd name="T29" fmla="*/ 2 h 22"/>
                <a:gd name="T30" fmla="*/ 6 w 32"/>
                <a:gd name="T31" fmla="*/ 6 h 22"/>
                <a:gd name="T32" fmla="*/ 2 w 32"/>
                <a:gd name="T33" fmla="*/ 10 h 22"/>
                <a:gd name="T34" fmla="*/ 0 w 32"/>
                <a:gd name="T35" fmla="*/ 12 h 22"/>
                <a:gd name="T36" fmla="*/ 0 w 32"/>
                <a:gd name="T37" fmla="*/ 16 h 22"/>
                <a:gd name="T38" fmla="*/ 0 w 32"/>
                <a:gd name="T3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2">
                  <a:moveTo>
                    <a:pt x="0" y="16"/>
                  </a:moveTo>
                  <a:lnTo>
                    <a:pt x="0" y="16"/>
                  </a:lnTo>
                  <a:lnTo>
                    <a:pt x="4" y="20"/>
                  </a:lnTo>
                  <a:lnTo>
                    <a:pt x="10" y="22"/>
                  </a:lnTo>
                  <a:lnTo>
                    <a:pt x="14" y="22"/>
                  </a:lnTo>
                  <a:lnTo>
                    <a:pt x="20" y="22"/>
                  </a:lnTo>
                  <a:lnTo>
                    <a:pt x="24" y="20"/>
                  </a:lnTo>
                  <a:lnTo>
                    <a:pt x="28" y="18"/>
                  </a:lnTo>
                  <a:lnTo>
                    <a:pt x="30" y="14"/>
                  </a:lnTo>
                  <a:lnTo>
                    <a:pt x="32" y="8"/>
                  </a:lnTo>
                  <a:lnTo>
                    <a:pt x="32" y="8"/>
                  </a:lnTo>
                  <a:lnTo>
                    <a:pt x="30" y="2"/>
                  </a:lnTo>
                  <a:lnTo>
                    <a:pt x="26" y="0"/>
                  </a:lnTo>
                  <a:lnTo>
                    <a:pt x="20" y="0"/>
                  </a:lnTo>
                  <a:lnTo>
                    <a:pt x="12" y="2"/>
                  </a:lnTo>
                  <a:lnTo>
                    <a:pt x="6" y="6"/>
                  </a:lnTo>
                  <a:lnTo>
                    <a:pt x="2" y="10"/>
                  </a:lnTo>
                  <a:lnTo>
                    <a:pt x="0" y="12"/>
                  </a:lnTo>
                  <a:lnTo>
                    <a:pt x="0" y="16"/>
                  </a:lnTo>
                  <a:lnTo>
                    <a:pt x="0" y="1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4" name="Freeform 81"/>
            <p:cNvSpPr>
              <a:spLocks/>
            </p:cNvSpPr>
            <p:nvPr/>
          </p:nvSpPr>
          <p:spPr bwMode="auto">
            <a:xfrm>
              <a:off x="15020925" y="6842125"/>
              <a:ext cx="47625" cy="28575"/>
            </a:xfrm>
            <a:custGeom>
              <a:avLst/>
              <a:gdLst>
                <a:gd name="T0" fmla="*/ 2 w 30"/>
                <a:gd name="T1" fmla="*/ 18 h 18"/>
                <a:gd name="T2" fmla="*/ 2 w 30"/>
                <a:gd name="T3" fmla="*/ 18 h 18"/>
                <a:gd name="T4" fmla="*/ 10 w 30"/>
                <a:gd name="T5" fmla="*/ 18 h 18"/>
                <a:gd name="T6" fmla="*/ 18 w 30"/>
                <a:gd name="T7" fmla="*/ 16 h 18"/>
                <a:gd name="T8" fmla="*/ 26 w 30"/>
                <a:gd name="T9" fmla="*/ 10 h 18"/>
                <a:gd name="T10" fmla="*/ 30 w 30"/>
                <a:gd name="T11" fmla="*/ 8 h 18"/>
                <a:gd name="T12" fmla="*/ 30 w 30"/>
                <a:gd name="T13" fmla="*/ 4 h 18"/>
                <a:gd name="T14" fmla="*/ 30 w 30"/>
                <a:gd name="T15" fmla="*/ 4 h 18"/>
                <a:gd name="T16" fmla="*/ 28 w 30"/>
                <a:gd name="T17" fmla="*/ 0 h 18"/>
                <a:gd name="T18" fmla="*/ 24 w 30"/>
                <a:gd name="T19" fmla="*/ 0 h 18"/>
                <a:gd name="T20" fmla="*/ 12 w 30"/>
                <a:gd name="T21" fmla="*/ 6 h 18"/>
                <a:gd name="T22" fmla="*/ 2 w 30"/>
                <a:gd name="T23" fmla="*/ 14 h 18"/>
                <a:gd name="T24" fmla="*/ 0 w 30"/>
                <a:gd name="T25" fmla="*/ 16 h 18"/>
                <a:gd name="T26" fmla="*/ 2 w 30"/>
                <a:gd name="T27" fmla="*/ 18 h 18"/>
                <a:gd name="T28" fmla="*/ 2 w 30"/>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8">
                  <a:moveTo>
                    <a:pt x="2" y="18"/>
                  </a:moveTo>
                  <a:lnTo>
                    <a:pt x="2" y="18"/>
                  </a:lnTo>
                  <a:lnTo>
                    <a:pt x="10" y="18"/>
                  </a:lnTo>
                  <a:lnTo>
                    <a:pt x="18" y="16"/>
                  </a:lnTo>
                  <a:lnTo>
                    <a:pt x="26" y="10"/>
                  </a:lnTo>
                  <a:lnTo>
                    <a:pt x="30" y="8"/>
                  </a:lnTo>
                  <a:lnTo>
                    <a:pt x="30" y="4"/>
                  </a:lnTo>
                  <a:lnTo>
                    <a:pt x="30" y="4"/>
                  </a:lnTo>
                  <a:lnTo>
                    <a:pt x="28" y="0"/>
                  </a:lnTo>
                  <a:lnTo>
                    <a:pt x="24" y="0"/>
                  </a:lnTo>
                  <a:lnTo>
                    <a:pt x="12" y="6"/>
                  </a:lnTo>
                  <a:lnTo>
                    <a:pt x="2" y="14"/>
                  </a:lnTo>
                  <a:lnTo>
                    <a:pt x="0" y="16"/>
                  </a:lnTo>
                  <a:lnTo>
                    <a:pt x="2" y="18"/>
                  </a:lnTo>
                  <a:lnTo>
                    <a:pt x="2" y="1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5" name="Freeform 82"/>
            <p:cNvSpPr>
              <a:spLocks/>
            </p:cNvSpPr>
            <p:nvPr/>
          </p:nvSpPr>
          <p:spPr bwMode="auto">
            <a:xfrm>
              <a:off x="7864475" y="4356100"/>
              <a:ext cx="123825" cy="73025"/>
            </a:xfrm>
            <a:custGeom>
              <a:avLst/>
              <a:gdLst>
                <a:gd name="T0" fmla="*/ 56 w 78"/>
                <a:gd name="T1" fmla="*/ 2 h 46"/>
                <a:gd name="T2" fmla="*/ 56 w 78"/>
                <a:gd name="T3" fmla="*/ 2 h 46"/>
                <a:gd name="T4" fmla="*/ 36 w 78"/>
                <a:gd name="T5" fmla="*/ 4 h 46"/>
                <a:gd name="T6" fmla="*/ 30 w 78"/>
                <a:gd name="T7" fmla="*/ 4 h 46"/>
                <a:gd name="T8" fmla="*/ 22 w 78"/>
                <a:gd name="T9" fmla="*/ 2 h 46"/>
                <a:gd name="T10" fmla="*/ 22 w 78"/>
                <a:gd name="T11" fmla="*/ 2 h 46"/>
                <a:gd name="T12" fmla="*/ 18 w 78"/>
                <a:gd name="T13" fmla="*/ 0 h 46"/>
                <a:gd name="T14" fmla="*/ 14 w 78"/>
                <a:gd name="T15" fmla="*/ 0 h 46"/>
                <a:gd name="T16" fmla="*/ 6 w 78"/>
                <a:gd name="T17" fmla="*/ 2 h 46"/>
                <a:gd name="T18" fmla="*/ 2 w 78"/>
                <a:gd name="T19" fmla="*/ 6 h 46"/>
                <a:gd name="T20" fmla="*/ 0 w 78"/>
                <a:gd name="T21" fmla="*/ 10 h 46"/>
                <a:gd name="T22" fmla="*/ 0 w 78"/>
                <a:gd name="T23" fmla="*/ 12 h 46"/>
                <a:gd name="T24" fmla="*/ 0 w 78"/>
                <a:gd name="T25" fmla="*/ 12 h 46"/>
                <a:gd name="T26" fmla="*/ 2 w 78"/>
                <a:gd name="T27" fmla="*/ 16 h 46"/>
                <a:gd name="T28" fmla="*/ 8 w 78"/>
                <a:gd name="T29" fmla="*/ 20 h 46"/>
                <a:gd name="T30" fmla="*/ 16 w 78"/>
                <a:gd name="T31" fmla="*/ 24 h 46"/>
                <a:gd name="T32" fmla="*/ 28 w 78"/>
                <a:gd name="T33" fmla="*/ 28 h 46"/>
                <a:gd name="T34" fmla="*/ 28 w 78"/>
                <a:gd name="T35" fmla="*/ 28 h 46"/>
                <a:gd name="T36" fmla="*/ 40 w 78"/>
                <a:gd name="T37" fmla="*/ 32 h 46"/>
                <a:gd name="T38" fmla="*/ 48 w 78"/>
                <a:gd name="T39" fmla="*/ 38 h 46"/>
                <a:gd name="T40" fmla="*/ 54 w 78"/>
                <a:gd name="T41" fmla="*/ 44 h 46"/>
                <a:gd name="T42" fmla="*/ 60 w 78"/>
                <a:gd name="T43" fmla="*/ 46 h 46"/>
                <a:gd name="T44" fmla="*/ 60 w 78"/>
                <a:gd name="T45" fmla="*/ 46 h 46"/>
                <a:gd name="T46" fmla="*/ 64 w 78"/>
                <a:gd name="T47" fmla="*/ 46 h 46"/>
                <a:gd name="T48" fmla="*/ 66 w 78"/>
                <a:gd name="T49" fmla="*/ 42 h 46"/>
                <a:gd name="T50" fmla="*/ 68 w 78"/>
                <a:gd name="T51" fmla="*/ 36 h 46"/>
                <a:gd name="T52" fmla="*/ 66 w 78"/>
                <a:gd name="T53" fmla="*/ 28 h 46"/>
                <a:gd name="T54" fmla="*/ 66 w 78"/>
                <a:gd name="T55" fmla="*/ 28 h 46"/>
                <a:gd name="T56" fmla="*/ 68 w 78"/>
                <a:gd name="T57" fmla="*/ 20 h 46"/>
                <a:gd name="T58" fmla="*/ 70 w 78"/>
                <a:gd name="T59" fmla="*/ 12 h 46"/>
                <a:gd name="T60" fmla="*/ 78 w 78"/>
                <a:gd name="T61" fmla="*/ 2 h 46"/>
                <a:gd name="T62" fmla="*/ 78 w 78"/>
                <a:gd name="T63" fmla="*/ 2 h 46"/>
                <a:gd name="T64" fmla="*/ 78 w 78"/>
                <a:gd name="T65" fmla="*/ 2 h 46"/>
                <a:gd name="T66" fmla="*/ 74 w 78"/>
                <a:gd name="T67" fmla="*/ 0 h 46"/>
                <a:gd name="T68" fmla="*/ 66 w 78"/>
                <a:gd name="T69" fmla="*/ 0 h 46"/>
                <a:gd name="T70" fmla="*/ 56 w 78"/>
                <a:gd name="T71" fmla="*/ 2 h 46"/>
                <a:gd name="T72" fmla="*/ 56 w 78"/>
                <a:gd name="T73"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 h="46">
                  <a:moveTo>
                    <a:pt x="56" y="2"/>
                  </a:moveTo>
                  <a:lnTo>
                    <a:pt x="56" y="2"/>
                  </a:lnTo>
                  <a:lnTo>
                    <a:pt x="36" y="4"/>
                  </a:lnTo>
                  <a:lnTo>
                    <a:pt x="30" y="4"/>
                  </a:lnTo>
                  <a:lnTo>
                    <a:pt x="22" y="2"/>
                  </a:lnTo>
                  <a:lnTo>
                    <a:pt x="22" y="2"/>
                  </a:lnTo>
                  <a:lnTo>
                    <a:pt x="18" y="0"/>
                  </a:lnTo>
                  <a:lnTo>
                    <a:pt x="14" y="0"/>
                  </a:lnTo>
                  <a:lnTo>
                    <a:pt x="6" y="2"/>
                  </a:lnTo>
                  <a:lnTo>
                    <a:pt x="2" y="6"/>
                  </a:lnTo>
                  <a:lnTo>
                    <a:pt x="0" y="10"/>
                  </a:lnTo>
                  <a:lnTo>
                    <a:pt x="0" y="12"/>
                  </a:lnTo>
                  <a:lnTo>
                    <a:pt x="0" y="12"/>
                  </a:lnTo>
                  <a:lnTo>
                    <a:pt x="2" y="16"/>
                  </a:lnTo>
                  <a:lnTo>
                    <a:pt x="8" y="20"/>
                  </a:lnTo>
                  <a:lnTo>
                    <a:pt x="16" y="24"/>
                  </a:lnTo>
                  <a:lnTo>
                    <a:pt x="28" y="28"/>
                  </a:lnTo>
                  <a:lnTo>
                    <a:pt x="28" y="28"/>
                  </a:lnTo>
                  <a:lnTo>
                    <a:pt x="40" y="32"/>
                  </a:lnTo>
                  <a:lnTo>
                    <a:pt x="48" y="38"/>
                  </a:lnTo>
                  <a:lnTo>
                    <a:pt x="54" y="44"/>
                  </a:lnTo>
                  <a:lnTo>
                    <a:pt x="60" y="46"/>
                  </a:lnTo>
                  <a:lnTo>
                    <a:pt x="60" y="46"/>
                  </a:lnTo>
                  <a:lnTo>
                    <a:pt x="64" y="46"/>
                  </a:lnTo>
                  <a:lnTo>
                    <a:pt x="66" y="42"/>
                  </a:lnTo>
                  <a:lnTo>
                    <a:pt x="68" y="36"/>
                  </a:lnTo>
                  <a:lnTo>
                    <a:pt x="66" y="28"/>
                  </a:lnTo>
                  <a:lnTo>
                    <a:pt x="66" y="28"/>
                  </a:lnTo>
                  <a:lnTo>
                    <a:pt x="68" y="20"/>
                  </a:lnTo>
                  <a:lnTo>
                    <a:pt x="70" y="12"/>
                  </a:lnTo>
                  <a:lnTo>
                    <a:pt x="78" y="2"/>
                  </a:lnTo>
                  <a:lnTo>
                    <a:pt x="78" y="2"/>
                  </a:lnTo>
                  <a:lnTo>
                    <a:pt x="78" y="2"/>
                  </a:lnTo>
                  <a:lnTo>
                    <a:pt x="74" y="0"/>
                  </a:lnTo>
                  <a:lnTo>
                    <a:pt x="66" y="0"/>
                  </a:lnTo>
                  <a:lnTo>
                    <a:pt x="56" y="2"/>
                  </a:lnTo>
                  <a:lnTo>
                    <a:pt x="56" y="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6" name="Freeform 83"/>
            <p:cNvSpPr>
              <a:spLocks noEditPoints="1"/>
            </p:cNvSpPr>
            <p:nvPr/>
          </p:nvSpPr>
          <p:spPr bwMode="auto">
            <a:xfrm>
              <a:off x="6578600" y="1752600"/>
              <a:ext cx="8963025" cy="5937250"/>
            </a:xfrm>
            <a:custGeom>
              <a:avLst/>
              <a:gdLst>
                <a:gd name="T0" fmla="*/ 5176 w 5646"/>
                <a:gd name="T1" fmla="*/ 426 h 3740"/>
                <a:gd name="T2" fmla="*/ 4634 w 5646"/>
                <a:gd name="T3" fmla="*/ 372 h 3740"/>
                <a:gd name="T4" fmla="*/ 4240 w 5646"/>
                <a:gd name="T5" fmla="*/ 308 h 3740"/>
                <a:gd name="T6" fmla="*/ 3958 w 5646"/>
                <a:gd name="T7" fmla="*/ 282 h 3740"/>
                <a:gd name="T8" fmla="*/ 3536 w 5646"/>
                <a:gd name="T9" fmla="*/ 242 h 3740"/>
                <a:gd name="T10" fmla="*/ 3542 w 5646"/>
                <a:gd name="T11" fmla="*/ 108 h 3740"/>
                <a:gd name="T12" fmla="*/ 3186 w 5646"/>
                <a:gd name="T13" fmla="*/ 70 h 3740"/>
                <a:gd name="T14" fmla="*/ 2840 w 5646"/>
                <a:gd name="T15" fmla="*/ 166 h 3740"/>
                <a:gd name="T16" fmla="*/ 2580 w 5646"/>
                <a:gd name="T17" fmla="*/ 290 h 3740"/>
                <a:gd name="T18" fmla="*/ 2490 w 5646"/>
                <a:gd name="T19" fmla="*/ 458 h 3740"/>
                <a:gd name="T20" fmla="*/ 2390 w 5646"/>
                <a:gd name="T21" fmla="*/ 570 h 3740"/>
                <a:gd name="T22" fmla="*/ 2292 w 5646"/>
                <a:gd name="T23" fmla="*/ 370 h 3740"/>
                <a:gd name="T24" fmla="*/ 2082 w 5646"/>
                <a:gd name="T25" fmla="*/ 486 h 3740"/>
                <a:gd name="T26" fmla="*/ 1726 w 5646"/>
                <a:gd name="T27" fmla="*/ 514 h 3740"/>
                <a:gd name="T28" fmla="*/ 1460 w 5646"/>
                <a:gd name="T29" fmla="*/ 636 h 3740"/>
                <a:gd name="T30" fmla="*/ 1542 w 5646"/>
                <a:gd name="T31" fmla="*/ 498 h 3740"/>
                <a:gd name="T32" fmla="*/ 1228 w 5646"/>
                <a:gd name="T33" fmla="*/ 384 h 3740"/>
                <a:gd name="T34" fmla="*/ 1096 w 5646"/>
                <a:gd name="T35" fmla="*/ 362 h 3740"/>
                <a:gd name="T36" fmla="*/ 942 w 5646"/>
                <a:gd name="T37" fmla="*/ 452 h 3740"/>
                <a:gd name="T38" fmla="*/ 860 w 5646"/>
                <a:gd name="T39" fmla="*/ 534 h 3740"/>
                <a:gd name="T40" fmla="*/ 628 w 5646"/>
                <a:gd name="T41" fmla="*/ 758 h 3740"/>
                <a:gd name="T42" fmla="*/ 682 w 5646"/>
                <a:gd name="T43" fmla="*/ 934 h 3740"/>
                <a:gd name="T44" fmla="*/ 960 w 5646"/>
                <a:gd name="T45" fmla="*/ 888 h 3740"/>
                <a:gd name="T46" fmla="*/ 1046 w 5646"/>
                <a:gd name="T47" fmla="*/ 720 h 3740"/>
                <a:gd name="T48" fmla="*/ 1098 w 5646"/>
                <a:gd name="T49" fmla="*/ 974 h 3740"/>
                <a:gd name="T50" fmla="*/ 772 w 5646"/>
                <a:gd name="T51" fmla="*/ 1084 h 3740"/>
                <a:gd name="T52" fmla="*/ 714 w 5646"/>
                <a:gd name="T53" fmla="*/ 1104 h 3740"/>
                <a:gd name="T54" fmla="*/ 344 w 5646"/>
                <a:gd name="T55" fmla="*/ 1286 h 3740"/>
                <a:gd name="T56" fmla="*/ 296 w 5646"/>
                <a:gd name="T57" fmla="*/ 1692 h 3740"/>
                <a:gd name="T58" fmla="*/ 818 w 5646"/>
                <a:gd name="T59" fmla="*/ 1536 h 3740"/>
                <a:gd name="T60" fmla="*/ 868 w 5646"/>
                <a:gd name="T61" fmla="*/ 1422 h 3740"/>
                <a:gd name="T62" fmla="*/ 1114 w 5646"/>
                <a:gd name="T63" fmla="*/ 1626 h 3740"/>
                <a:gd name="T64" fmla="*/ 1292 w 5646"/>
                <a:gd name="T65" fmla="*/ 1360 h 3740"/>
                <a:gd name="T66" fmla="*/ 1472 w 5646"/>
                <a:gd name="T67" fmla="*/ 1422 h 3740"/>
                <a:gd name="T68" fmla="*/ 1220 w 5646"/>
                <a:gd name="T69" fmla="*/ 1680 h 3740"/>
                <a:gd name="T70" fmla="*/ 1060 w 5646"/>
                <a:gd name="T71" fmla="*/ 1804 h 3740"/>
                <a:gd name="T72" fmla="*/ 608 w 5646"/>
                <a:gd name="T73" fmla="*/ 1686 h 3740"/>
                <a:gd name="T74" fmla="*/ 26 w 5646"/>
                <a:gd name="T75" fmla="*/ 2246 h 3740"/>
                <a:gd name="T76" fmla="*/ 702 w 5646"/>
                <a:gd name="T77" fmla="*/ 2612 h 3740"/>
                <a:gd name="T78" fmla="*/ 828 w 5646"/>
                <a:gd name="T79" fmla="*/ 3316 h 3740"/>
                <a:gd name="T80" fmla="*/ 1330 w 5646"/>
                <a:gd name="T81" fmla="*/ 3474 h 3740"/>
                <a:gd name="T82" fmla="*/ 1602 w 5646"/>
                <a:gd name="T83" fmla="*/ 2760 h 3740"/>
                <a:gd name="T84" fmla="*/ 1462 w 5646"/>
                <a:gd name="T85" fmla="*/ 2156 h 3740"/>
                <a:gd name="T86" fmla="*/ 1618 w 5646"/>
                <a:gd name="T87" fmla="*/ 2338 h 3740"/>
                <a:gd name="T88" fmla="*/ 1990 w 5646"/>
                <a:gd name="T89" fmla="*/ 2006 h 3740"/>
                <a:gd name="T90" fmla="*/ 2114 w 5646"/>
                <a:gd name="T91" fmla="*/ 2038 h 3740"/>
                <a:gd name="T92" fmla="*/ 2540 w 5646"/>
                <a:gd name="T93" fmla="*/ 2476 h 3740"/>
                <a:gd name="T94" fmla="*/ 3006 w 5646"/>
                <a:gd name="T95" fmla="*/ 2288 h 3740"/>
                <a:gd name="T96" fmla="*/ 3154 w 5646"/>
                <a:gd name="T97" fmla="*/ 2496 h 3740"/>
                <a:gd name="T98" fmla="*/ 3358 w 5646"/>
                <a:gd name="T99" fmla="*/ 2284 h 3740"/>
                <a:gd name="T100" fmla="*/ 3684 w 5646"/>
                <a:gd name="T101" fmla="*/ 2036 h 3740"/>
                <a:gd name="T102" fmla="*/ 3686 w 5646"/>
                <a:gd name="T103" fmla="*/ 1746 h 3740"/>
                <a:gd name="T104" fmla="*/ 3836 w 5646"/>
                <a:gd name="T105" fmla="*/ 1594 h 3740"/>
                <a:gd name="T106" fmla="*/ 4072 w 5646"/>
                <a:gd name="T107" fmla="*/ 1498 h 3740"/>
                <a:gd name="T108" fmla="*/ 4136 w 5646"/>
                <a:gd name="T109" fmla="*/ 1076 h 3740"/>
                <a:gd name="T110" fmla="*/ 4678 w 5646"/>
                <a:gd name="T111" fmla="*/ 892 h 3740"/>
                <a:gd name="T112" fmla="*/ 4868 w 5646"/>
                <a:gd name="T113" fmla="*/ 846 h 3740"/>
                <a:gd name="T114" fmla="*/ 4894 w 5646"/>
                <a:gd name="T115" fmla="*/ 1020 h 3740"/>
                <a:gd name="T116" fmla="*/ 5282 w 5646"/>
                <a:gd name="T117" fmla="*/ 758 h 3740"/>
                <a:gd name="T118" fmla="*/ 5472 w 5646"/>
                <a:gd name="T119" fmla="*/ 636 h 3740"/>
                <a:gd name="T120" fmla="*/ 1832 w 5646"/>
                <a:gd name="T121" fmla="*/ 1670 h 3740"/>
                <a:gd name="T122" fmla="*/ 1892 w 5646"/>
                <a:gd name="T123" fmla="*/ 1506 h 3740"/>
                <a:gd name="T124" fmla="*/ 2522 w 5646"/>
                <a:gd name="T125" fmla="*/ 1372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46" h="3740">
                  <a:moveTo>
                    <a:pt x="5580" y="626"/>
                  </a:moveTo>
                  <a:lnTo>
                    <a:pt x="5580" y="626"/>
                  </a:lnTo>
                  <a:lnTo>
                    <a:pt x="5588" y="630"/>
                  </a:lnTo>
                  <a:lnTo>
                    <a:pt x="5596" y="632"/>
                  </a:lnTo>
                  <a:lnTo>
                    <a:pt x="5610" y="632"/>
                  </a:lnTo>
                  <a:lnTo>
                    <a:pt x="5610" y="632"/>
                  </a:lnTo>
                  <a:lnTo>
                    <a:pt x="5612" y="632"/>
                  </a:lnTo>
                  <a:lnTo>
                    <a:pt x="5612" y="628"/>
                  </a:lnTo>
                  <a:lnTo>
                    <a:pt x="5608" y="626"/>
                  </a:lnTo>
                  <a:lnTo>
                    <a:pt x="5604" y="624"/>
                  </a:lnTo>
                  <a:lnTo>
                    <a:pt x="5604" y="624"/>
                  </a:lnTo>
                  <a:lnTo>
                    <a:pt x="5602" y="622"/>
                  </a:lnTo>
                  <a:lnTo>
                    <a:pt x="5602" y="622"/>
                  </a:lnTo>
                  <a:lnTo>
                    <a:pt x="5606" y="620"/>
                  </a:lnTo>
                  <a:lnTo>
                    <a:pt x="5610" y="622"/>
                  </a:lnTo>
                  <a:lnTo>
                    <a:pt x="5610" y="622"/>
                  </a:lnTo>
                  <a:lnTo>
                    <a:pt x="5614" y="624"/>
                  </a:lnTo>
                  <a:lnTo>
                    <a:pt x="5618" y="626"/>
                  </a:lnTo>
                  <a:lnTo>
                    <a:pt x="5622" y="626"/>
                  </a:lnTo>
                  <a:lnTo>
                    <a:pt x="5624" y="624"/>
                  </a:lnTo>
                  <a:lnTo>
                    <a:pt x="5624" y="624"/>
                  </a:lnTo>
                  <a:lnTo>
                    <a:pt x="5626" y="620"/>
                  </a:lnTo>
                  <a:lnTo>
                    <a:pt x="5628" y="614"/>
                  </a:lnTo>
                  <a:lnTo>
                    <a:pt x="5634" y="610"/>
                  </a:lnTo>
                  <a:lnTo>
                    <a:pt x="5638" y="608"/>
                  </a:lnTo>
                  <a:lnTo>
                    <a:pt x="5638" y="608"/>
                  </a:lnTo>
                  <a:lnTo>
                    <a:pt x="5644" y="608"/>
                  </a:lnTo>
                  <a:lnTo>
                    <a:pt x="5646" y="606"/>
                  </a:lnTo>
                  <a:lnTo>
                    <a:pt x="5646" y="604"/>
                  </a:lnTo>
                  <a:lnTo>
                    <a:pt x="5642" y="602"/>
                  </a:lnTo>
                  <a:lnTo>
                    <a:pt x="5642" y="602"/>
                  </a:lnTo>
                  <a:lnTo>
                    <a:pt x="5622" y="590"/>
                  </a:lnTo>
                  <a:lnTo>
                    <a:pt x="5610" y="580"/>
                  </a:lnTo>
                  <a:lnTo>
                    <a:pt x="5602" y="572"/>
                  </a:lnTo>
                  <a:lnTo>
                    <a:pt x="5602" y="572"/>
                  </a:lnTo>
                  <a:lnTo>
                    <a:pt x="5598" y="570"/>
                  </a:lnTo>
                  <a:lnTo>
                    <a:pt x="5594" y="566"/>
                  </a:lnTo>
                  <a:lnTo>
                    <a:pt x="5580" y="564"/>
                  </a:lnTo>
                  <a:lnTo>
                    <a:pt x="5570" y="562"/>
                  </a:lnTo>
                  <a:lnTo>
                    <a:pt x="5566" y="562"/>
                  </a:lnTo>
                  <a:lnTo>
                    <a:pt x="5564" y="564"/>
                  </a:lnTo>
                  <a:lnTo>
                    <a:pt x="5564" y="564"/>
                  </a:lnTo>
                  <a:lnTo>
                    <a:pt x="5564" y="566"/>
                  </a:lnTo>
                  <a:lnTo>
                    <a:pt x="5562" y="566"/>
                  </a:lnTo>
                  <a:lnTo>
                    <a:pt x="5558" y="564"/>
                  </a:lnTo>
                  <a:lnTo>
                    <a:pt x="5554" y="562"/>
                  </a:lnTo>
                  <a:lnTo>
                    <a:pt x="5552" y="558"/>
                  </a:lnTo>
                  <a:lnTo>
                    <a:pt x="5552" y="558"/>
                  </a:lnTo>
                  <a:lnTo>
                    <a:pt x="5550" y="556"/>
                  </a:lnTo>
                  <a:lnTo>
                    <a:pt x="5546" y="554"/>
                  </a:lnTo>
                  <a:lnTo>
                    <a:pt x="5534" y="554"/>
                  </a:lnTo>
                  <a:lnTo>
                    <a:pt x="5522" y="554"/>
                  </a:lnTo>
                  <a:lnTo>
                    <a:pt x="5518" y="556"/>
                  </a:lnTo>
                  <a:lnTo>
                    <a:pt x="5516" y="558"/>
                  </a:lnTo>
                  <a:lnTo>
                    <a:pt x="5516" y="558"/>
                  </a:lnTo>
                  <a:lnTo>
                    <a:pt x="5518" y="560"/>
                  </a:lnTo>
                  <a:lnTo>
                    <a:pt x="5520" y="564"/>
                  </a:lnTo>
                  <a:lnTo>
                    <a:pt x="5524" y="566"/>
                  </a:lnTo>
                  <a:lnTo>
                    <a:pt x="5528" y="570"/>
                  </a:lnTo>
                  <a:lnTo>
                    <a:pt x="5528" y="570"/>
                  </a:lnTo>
                  <a:lnTo>
                    <a:pt x="5530" y="574"/>
                  </a:lnTo>
                  <a:lnTo>
                    <a:pt x="5528" y="578"/>
                  </a:lnTo>
                  <a:lnTo>
                    <a:pt x="5524" y="582"/>
                  </a:lnTo>
                  <a:lnTo>
                    <a:pt x="5524" y="588"/>
                  </a:lnTo>
                  <a:lnTo>
                    <a:pt x="5524" y="588"/>
                  </a:lnTo>
                  <a:lnTo>
                    <a:pt x="5524" y="588"/>
                  </a:lnTo>
                  <a:lnTo>
                    <a:pt x="5524" y="590"/>
                  </a:lnTo>
                  <a:lnTo>
                    <a:pt x="5518" y="588"/>
                  </a:lnTo>
                  <a:lnTo>
                    <a:pt x="5508" y="580"/>
                  </a:lnTo>
                  <a:lnTo>
                    <a:pt x="5508" y="580"/>
                  </a:lnTo>
                  <a:lnTo>
                    <a:pt x="5504" y="574"/>
                  </a:lnTo>
                  <a:lnTo>
                    <a:pt x="5504" y="566"/>
                  </a:lnTo>
                  <a:lnTo>
                    <a:pt x="5506" y="552"/>
                  </a:lnTo>
                  <a:lnTo>
                    <a:pt x="5506" y="552"/>
                  </a:lnTo>
                  <a:lnTo>
                    <a:pt x="5506" y="548"/>
                  </a:lnTo>
                  <a:lnTo>
                    <a:pt x="5502" y="544"/>
                  </a:lnTo>
                  <a:lnTo>
                    <a:pt x="5498" y="542"/>
                  </a:lnTo>
                  <a:lnTo>
                    <a:pt x="5496" y="538"/>
                  </a:lnTo>
                  <a:lnTo>
                    <a:pt x="5496" y="538"/>
                  </a:lnTo>
                  <a:lnTo>
                    <a:pt x="5494" y="534"/>
                  </a:lnTo>
                  <a:lnTo>
                    <a:pt x="5490" y="530"/>
                  </a:lnTo>
                  <a:lnTo>
                    <a:pt x="5474" y="520"/>
                  </a:lnTo>
                  <a:lnTo>
                    <a:pt x="5442" y="506"/>
                  </a:lnTo>
                  <a:lnTo>
                    <a:pt x="5442" y="506"/>
                  </a:lnTo>
                  <a:lnTo>
                    <a:pt x="5418" y="496"/>
                  </a:lnTo>
                  <a:lnTo>
                    <a:pt x="5408" y="492"/>
                  </a:lnTo>
                  <a:lnTo>
                    <a:pt x="5402" y="486"/>
                  </a:lnTo>
                  <a:lnTo>
                    <a:pt x="5402" y="486"/>
                  </a:lnTo>
                  <a:lnTo>
                    <a:pt x="5400" y="484"/>
                  </a:lnTo>
                  <a:lnTo>
                    <a:pt x="5396" y="480"/>
                  </a:lnTo>
                  <a:lnTo>
                    <a:pt x="5382" y="478"/>
                  </a:lnTo>
                  <a:lnTo>
                    <a:pt x="5370" y="472"/>
                  </a:lnTo>
                  <a:lnTo>
                    <a:pt x="5364" y="470"/>
                  </a:lnTo>
                  <a:lnTo>
                    <a:pt x="5360" y="466"/>
                  </a:lnTo>
                  <a:lnTo>
                    <a:pt x="5360" y="466"/>
                  </a:lnTo>
                  <a:lnTo>
                    <a:pt x="5346" y="456"/>
                  </a:lnTo>
                  <a:lnTo>
                    <a:pt x="5324" y="446"/>
                  </a:lnTo>
                  <a:lnTo>
                    <a:pt x="5302" y="438"/>
                  </a:lnTo>
                  <a:lnTo>
                    <a:pt x="5284" y="434"/>
                  </a:lnTo>
                  <a:lnTo>
                    <a:pt x="5284" y="434"/>
                  </a:lnTo>
                  <a:lnTo>
                    <a:pt x="5272" y="432"/>
                  </a:lnTo>
                  <a:lnTo>
                    <a:pt x="5268" y="428"/>
                  </a:lnTo>
                  <a:lnTo>
                    <a:pt x="5264" y="426"/>
                  </a:lnTo>
                  <a:lnTo>
                    <a:pt x="5258" y="424"/>
                  </a:lnTo>
                  <a:lnTo>
                    <a:pt x="5258" y="424"/>
                  </a:lnTo>
                  <a:lnTo>
                    <a:pt x="5228" y="424"/>
                  </a:lnTo>
                  <a:lnTo>
                    <a:pt x="5194" y="422"/>
                  </a:lnTo>
                  <a:lnTo>
                    <a:pt x="5194" y="422"/>
                  </a:lnTo>
                  <a:lnTo>
                    <a:pt x="5186" y="422"/>
                  </a:lnTo>
                  <a:lnTo>
                    <a:pt x="5180" y="424"/>
                  </a:lnTo>
                  <a:lnTo>
                    <a:pt x="5176" y="426"/>
                  </a:lnTo>
                  <a:lnTo>
                    <a:pt x="5170" y="426"/>
                  </a:lnTo>
                  <a:lnTo>
                    <a:pt x="5170" y="426"/>
                  </a:lnTo>
                  <a:lnTo>
                    <a:pt x="5136" y="414"/>
                  </a:lnTo>
                  <a:lnTo>
                    <a:pt x="5118" y="410"/>
                  </a:lnTo>
                  <a:lnTo>
                    <a:pt x="5110" y="410"/>
                  </a:lnTo>
                  <a:lnTo>
                    <a:pt x="5106" y="412"/>
                  </a:lnTo>
                  <a:lnTo>
                    <a:pt x="5106" y="412"/>
                  </a:lnTo>
                  <a:lnTo>
                    <a:pt x="5104" y="416"/>
                  </a:lnTo>
                  <a:lnTo>
                    <a:pt x="5102" y="422"/>
                  </a:lnTo>
                  <a:lnTo>
                    <a:pt x="5100" y="426"/>
                  </a:lnTo>
                  <a:lnTo>
                    <a:pt x="5098" y="428"/>
                  </a:lnTo>
                  <a:lnTo>
                    <a:pt x="5098" y="428"/>
                  </a:lnTo>
                  <a:lnTo>
                    <a:pt x="5096" y="432"/>
                  </a:lnTo>
                  <a:lnTo>
                    <a:pt x="5098" y="436"/>
                  </a:lnTo>
                  <a:lnTo>
                    <a:pt x="5102" y="442"/>
                  </a:lnTo>
                  <a:lnTo>
                    <a:pt x="5110" y="450"/>
                  </a:lnTo>
                  <a:lnTo>
                    <a:pt x="5110" y="450"/>
                  </a:lnTo>
                  <a:lnTo>
                    <a:pt x="5114" y="454"/>
                  </a:lnTo>
                  <a:lnTo>
                    <a:pt x="5118" y="458"/>
                  </a:lnTo>
                  <a:lnTo>
                    <a:pt x="5118" y="462"/>
                  </a:lnTo>
                  <a:lnTo>
                    <a:pt x="5116" y="466"/>
                  </a:lnTo>
                  <a:lnTo>
                    <a:pt x="5112" y="472"/>
                  </a:lnTo>
                  <a:lnTo>
                    <a:pt x="5104" y="478"/>
                  </a:lnTo>
                  <a:lnTo>
                    <a:pt x="5104" y="478"/>
                  </a:lnTo>
                  <a:lnTo>
                    <a:pt x="5100" y="478"/>
                  </a:lnTo>
                  <a:lnTo>
                    <a:pt x="5094" y="478"/>
                  </a:lnTo>
                  <a:lnTo>
                    <a:pt x="5082" y="476"/>
                  </a:lnTo>
                  <a:lnTo>
                    <a:pt x="5074" y="470"/>
                  </a:lnTo>
                  <a:lnTo>
                    <a:pt x="5066" y="462"/>
                  </a:lnTo>
                  <a:lnTo>
                    <a:pt x="5066" y="462"/>
                  </a:lnTo>
                  <a:lnTo>
                    <a:pt x="5064" y="460"/>
                  </a:lnTo>
                  <a:lnTo>
                    <a:pt x="5060" y="458"/>
                  </a:lnTo>
                  <a:lnTo>
                    <a:pt x="5052" y="456"/>
                  </a:lnTo>
                  <a:lnTo>
                    <a:pt x="5044" y="452"/>
                  </a:lnTo>
                  <a:lnTo>
                    <a:pt x="5042" y="450"/>
                  </a:lnTo>
                  <a:lnTo>
                    <a:pt x="5040" y="446"/>
                  </a:lnTo>
                  <a:lnTo>
                    <a:pt x="5040" y="446"/>
                  </a:lnTo>
                  <a:lnTo>
                    <a:pt x="5040" y="438"/>
                  </a:lnTo>
                  <a:lnTo>
                    <a:pt x="5042" y="434"/>
                  </a:lnTo>
                  <a:lnTo>
                    <a:pt x="5046" y="434"/>
                  </a:lnTo>
                  <a:lnTo>
                    <a:pt x="5052" y="438"/>
                  </a:lnTo>
                  <a:lnTo>
                    <a:pt x="5052" y="438"/>
                  </a:lnTo>
                  <a:lnTo>
                    <a:pt x="5060" y="442"/>
                  </a:lnTo>
                  <a:lnTo>
                    <a:pt x="5066" y="440"/>
                  </a:lnTo>
                  <a:lnTo>
                    <a:pt x="5070" y="436"/>
                  </a:lnTo>
                  <a:lnTo>
                    <a:pt x="5072" y="430"/>
                  </a:lnTo>
                  <a:lnTo>
                    <a:pt x="5072" y="430"/>
                  </a:lnTo>
                  <a:lnTo>
                    <a:pt x="5072" y="428"/>
                  </a:lnTo>
                  <a:lnTo>
                    <a:pt x="5070" y="424"/>
                  </a:lnTo>
                  <a:lnTo>
                    <a:pt x="5062" y="420"/>
                  </a:lnTo>
                  <a:lnTo>
                    <a:pt x="5050" y="418"/>
                  </a:lnTo>
                  <a:lnTo>
                    <a:pt x="5038" y="416"/>
                  </a:lnTo>
                  <a:lnTo>
                    <a:pt x="5038" y="416"/>
                  </a:lnTo>
                  <a:lnTo>
                    <a:pt x="5034" y="418"/>
                  </a:lnTo>
                  <a:lnTo>
                    <a:pt x="5030" y="420"/>
                  </a:lnTo>
                  <a:lnTo>
                    <a:pt x="5022" y="426"/>
                  </a:lnTo>
                  <a:lnTo>
                    <a:pt x="5016" y="436"/>
                  </a:lnTo>
                  <a:lnTo>
                    <a:pt x="5006" y="442"/>
                  </a:lnTo>
                  <a:lnTo>
                    <a:pt x="5006" y="442"/>
                  </a:lnTo>
                  <a:lnTo>
                    <a:pt x="5000" y="444"/>
                  </a:lnTo>
                  <a:lnTo>
                    <a:pt x="4992" y="444"/>
                  </a:lnTo>
                  <a:lnTo>
                    <a:pt x="4970" y="442"/>
                  </a:lnTo>
                  <a:lnTo>
                    <a:pt x="4950" y="438"/>
                  </a:lnTo>
                  <a:lnTo>
                    <a:pt x="4938" y="434"/>
                  </a:lnTo>
                  <a:lnTo>
                    <a:pt x="4938" y="434"/>
                  </a:lnTo>
                  <a:lnTo>
                    <a:pt x="4934" y="432"/>
                  </a:lnTo>
                  <a:lnTo>
                    <a:pt x="4924" y="432"/>
                  </a:lnTo>
                  <a:lnTo>
                    <a:pt x="4898" y="434"/>
                  </a:lnTo>
                  <a:lnTo>
                    <a:pt x="4872" y="436"/>
                  </a:lnTo>
                  <a:lnTo>
                    <a:pt x="4856" y="440"/>
                  </a:lnTo>
                  <a:lnTo>
                    <a:pt x="4856" y="440"/>
                  </a:lnTo>
                  <a:lnTo>
                    <a:pt x="4854" y="442"/>
                  </a:lnTo>
                  <a:lnTo>
                    <a:pt x="4852" y="444"/>
                  </a:lnTo>
                  <a:lnTo>
                    <a:pt x="4852" y="454"/>
                  </a:lnTo>
                  <a:lnTo>
                    <a:pt x="4852" y="460"/>
                  </a:lnTo>
                  <a:lnTo>
                    <a:pt x="4850" y="464"/>
                  </a:lnTo>
                  <a:lnTo>
                    <a:pt x="4850" y="464"/>
                  </a:lnTo>
                  <a:lnTo>
                    <a:pt x="4850" y="464"/>
                  </a:lnTo>
                  <a:lnTo>
                    <a:pt x="4848" y="462"/>
                  </a:lnTo>
                  <a:lnTo>
                    <a:pt x="4846" y="454"/>
                  </a:lnTo>
                  <a:lnTo>
                    <a:pt x="4844" y="438"/>
                  </a:lnTo>
                  <a:lnTo>
                    <a:pt x="4844" y="438"/>
                  </a:lnTo>
                  <a:lnTo>
                    <a:pt x="4842" y="436"/>
                  </a:lnTo>
                  <a:lnTo>
                    <a:pt x="4838" y="432"/>
                  </a:lnTo>
                  <a:lnTo>
                    <a:pt x="4830" y="432"/>
                  </a:lnTo>
                  <a:lnTo>
                    <a:pt x="4822" y="430"/>
                  </a:lnTo>
                  <a:lnTo>
                    <a:pt x="4822" y="430"/>
                  </a:lnTo>
                  <a:lnTo>
                    <a:pt x="4808" y="430"/>
                  </a:lnTo>
                  <a:lnTo>
                    <a:pt x="4806" y="428"/>
                  </a:lnTo>
                  <a:lnTo>
                    <a:pt x="4808" y="426"/>
                  </a:lnTo>
                  <a:lnTo>
                    <a:pt x="4808" y="426"/>
                  </a:lnTo>
                  <a:lnTo>
                    <a:pt x="4810" y="422"/>
                  </a:lnTo>
                  <a:lnTo>
                    <a:pt x="4808" y="416"/>
                  </a:lnTo>
                  <a:lnTo>
                    <a:pt x="4808" y="412"/>
                  </a:lnTo>
                  <a:lnTo>
                    <a:pt x="4812" y="408"/>
                  </a:lnTo>
                  <a:lnTo>
                    <a:pt x="4812" y="408"/>
                  </a:lnTo>
                  <a:lnTo>
                    <a:pt x="4814" y="404"/>
                  </a:lnTo>
                  <a:lnTo>
                    <a:pt x="4814" y="400"/>
                  </a:lnTo>
                  <a:lnTo>
                    <a:pt x="4810" y="396"/>
                  </a:lnTo>
                  <a:lnTo>
                    <a:pt x="4804" y="390"/>
                  </a:lnTo>
                  <a:lnTo>
                    <a:pt x="4788" y="378"/>
                  </a:lnTo>
                  <a:lnTo>
                    <a:pt x="4768" y="370"/>
                  </a:lnTo>
                  <a:lnTo>
                    <a:pt x="4768" y="370"/>
                  </a:lnTo>
                  <a:lnTo>
                    <a:pt x="4756" y="366"/>
                  </a:lnTo>
                  <a:lnTo>
                    <a:pt x="4744" y="364"/>
                  </a:lnTo>
                  <a:lnTo>
                    <a:pt x="4712" y="364"/>
                  </a:lnTo>
                  <a:lnTo>
                    <a:pt x="4684" y="366"/>
                  </a:lnTo>
                  <a:lnTo>
                    <a:pt x="4666" y="370"/>
                  </a:lnTo>
                  <a:lnTo>
                    <a:pt x="4666" y="370"/>
                  </a:lnTo>
                  <a:lnTo>
                    <a:pt x="4650" y="372"/>
                  </a:lnTo>
                  <a:lnTo>
                    <a:pt x="4634" y="372"/>
                  </a:lnTo>
                  <a:lnTo>
                    <a:pt x="4602" y="374"/>
                  </a:lnTo>
                  <a:lnTo>
                    <a:pt x="4602" y="374"/>
                  </a:lnTo>
                  <a:lnTo>
                    <a:pt x="4594" y="372"/>
                  </a:lnTo>
                  <a:lnTo>
                    <a:pt x="4594" y="370"/>
                  </a:lnTo>
                  <a:lnTo>
                    <a:pt x="4594" y="370"/>
                  </a:lnTo>
                  <a:lnTo>
                    <a:pt x="4596" y="364"/>
                  </a:lnTo>
                  <a:lnTo>
                    <a:pt x="4594" y="360"/>
                  </a:lnTo>
                  <a:lnTo>
                    <a:pt x="4594" y="360"/>
                  </a:lnTo>
                  <a:lnTo>
                    <a:pt x="4588" y="354"/>
                  </a:lnTo>
                  <a:lnTo>
                    <a:pt x="4576" y="350"/>
                  </a:lnTo>
                  <a:lnTo>
                    <a:pt x="4566" y="348"/>
                  </a:lnTo>
                  <a:lnTo>
                    <a:pt x="4562" y="348"/>
                  </a:lnTo>
                  <a:lnTo>
                    <a:pt x="4560" y="350"/>
                  </a:lnTo>
                  <a:lnTo>
                    <a:pt x="4560" y="350"/>
                  </a:lnTo>
                  <a:lnTo>
                    <a:pt x="4556" y="352"/>
                  </a:lnTo>
                  <a:lnTo>
                    <a:pt x="4554" y="352"/>
                  </a:lnTo>
                  <a:lnTo>
                    <a:pt x="4550" y="348"/>
                  </a:lnTo>
                  <a:lnTo>
                    <a:pt x="4550" y="346"/>
                  </a:lnTo>
                  <a:lnTo>
                    <a:pt x="4550" y="346"/>
                  </a:lnTo>
                  <a:lnTo>
                    <a:pt x="4546" y="342"/>
                  </a:lnTo>
                  <a:lnTo>
                    <a:pt x="4536" y="338"/>
                  </a:lnTo>
                  <a:lnTo>
                    <a:pt x="4524" y="334"/>
                  </a:lnTo>
                  <a:lnTo>
                    <a:pt x="4516" y="334"/>
                  </a:lnTo>
                  <a:lnTo>
                    <a:pt x="4516" y="334"/>
                  </a:lnTo>
                  <a:lnTo>
                    <a:pt x="4510" y="334"/>
                  </a:lnTo>
                  <a:lnTo>
                    <a:pt x="4506" y="330"/>
                  </a:lnTo>
                  <a:lnTo>
                    <a:pt x="4506" y="326"/>
                  </a:lnTo>
                  <a:lnTo>
                    <a:pt x="4512" y="326"/>
                  </a:lnTo>
                  <a:lnTo>
                    <a:pt x="4512" y="326"/>
                  </a:lnTo>
                  <a:lnTo>
                    <a:pt x="4522" y="326"/>
                  </a:lnTo>
                  <a:lnTo>
                    <a:pt x="4530" y="324"/>
                  </a:lnTo>
                  <a:lnTo>
                    <a:pt x="4534" y="324"/>
                  </a:lnTo>
                  <a:lnTo>
                    <a:pt x="4536" y="322"/>
                  </a:lnTo>
                  <a:lnTo>
                    <a:pt x="4536" y="318"/>
                  </a:lnTo>
                  <a:lnTo>
                    <a:pt x="4534" y="314"/>
                  </a:lnTo>
                  <a:lnTo>
                    <a:pt x="4534" y="314"/>
                  </a:lnTo>
                  <a:lnTo>
                    <a:pt x="4528" y="310"/>
                  </a:lnTo>
                  <a:lnTo>
                    <a:pt x="4518" y="306"/>
                  </a:lnTo>
                  <a:lnTo>
                    <a:pt x="4490" y="302"/>
                  </a:lnTo>
                  <a:lnTo>
                    <a:pt x="4462" y="300"/>
                  </a:lnTo>
                  <a:lnTo>
                    <a:pt x="4446" y="300"/>
                  </a:lnTo>
                  <a:lnTo>
                    <a:pt x="4446" y="300"/>
                  </a:lnTo>
                  <a:lnTo>
                    <a:pt x="4444" y="304"/>
                  </a:lnTo>
                  <a:lnTo>
                    <a:pt x="4442" y="308"/>
                  </a:lnTo>
                  <a:lnTo>
                    <a:pt x="4438" y="316"/>
                  </a:lnTo>
                  <a:lnTo>
                    <a:pt x="4430" y="326"/>
                  </a:lnTo>
                  <a:lnTo>
                    <a:pt x="4430" y="326"/>
                  </a:lnTo>
                  <a:lnTo>
                    <a:pt x="4424" y="332"/>
                  </a:lnTo>
                  <a:lnTo>
                    <a:pt x="4420" y="334"/>
                  </a:lnTo>
                  <a:lnTo>
                    <a:pt x="4414" y="334"/>
                  </a:lnTo>
                  <a:lnTo>
                    <a:pt x="4410" y="334"/>
                  </a:lnTo>
                  <a:lnTo>
                    <a:pt x="4406" y="332"/>
                  </a:lnTo>
                  <a:lnTo>
                    <a:pt x="4404" y="330"/>
                  </a:lnTo>
                  <a:lnTo>
                    <a:pt x="4402" y="328"/>
                  </a:lnTo>
                  <a:lnTo>
                    <a:pt x="4402" y="324"/>
                  </a:lnTo>
                  <a:lnTo>
                    <a:pt x="4402" y="324"/>
                  </a:lnTo>
                  <a:lnTo>
                    <a:pt x="4404" y="322"/>
                  </a:lnTo>
                  <a:lnTo>
                    <a:pt x="4406" y="320"/>
                  </a:lnTo>
                  <a:lnTo>
                    <a:pt x="4414" y="318"/>
                  </a:lnTo>
                  <a:lnTo>
                    <a:pt x="4420" y="316"/>
                  </a:lnTo>
                  <a:lnTo>
                    <a:pt x="4422" y="314"/>
                  </a:lnTo>
                  <a:lnTo>
                    <a:pt x="4424" y="310"/>
                  </a:lnTo>
                  <a:lnTo>
                    <a:pt x="4424" y="310"/>
                  </a:lnTo>
                  <a:lnTo>
                    <a:pt x="4422" y="308"/>
                  </a:lnTo>
                  <a:lnTo>
                    <a:pt x="4418" y="308"/>
                  </a:lnTo>
                  <a:lnTo>
                    <a:pt x="4410" y="306"/>
                  </a:lnTo>
                  <a:lnTo>
                    <a:pt x="4398" y="304"/>
                  </a:lnTo>
                  <a:lnTo>
                    <a:pt x="4394" y="304"/>
                  </a:lnTo>
                  <a:lnTo>
                    <a:pt x="4392" y="302"/>
                  </a:lnTo>
                  <a:lnTo>
                    <a:pt x="4392" y="302"/>
                  </a:lnTo>
                  <a:lnTo>
                    <a:pt x="4392" y="298"/>
                  </a:lnTo>
                  <a:lnTo>
                    <a:pt x="4394" y="294"/>
                  </a:lnTo>
                  <a:lnTo>
                    <a:pt x="4400" y="294"/>
                  </a:lnTo>
                  <a:lnTo>
                    <a:pt x="4408" y="294"/>
                  </a:lnTo>
                  <a:lnTo>
                    <a:pt x="4408" y="294"/>
                  </a:lnTo>
                  <a:lnTo>
                    <a:pt x="4424" y="298"/>
                  </a:lnTo>
                  <a:lnTo>
                    <a:pt x="4432" y="296"/>
                  </a:lnTo>
                  <a:lnTo>
                    <a:pt x="4436" y="294"/>
                  </a:lnTo>
                  <a:lnTo>
                    <a:pt x="4436" y="294"/>
                  </a:lnTo>
                  <a:lnTo>
                    <a:pt x="4434" y="292"/>
                  </a:lnTo>
                  <a:lnTo>
                    <a:pt x="4428" y="290"/>
                  </a:lnTo>
                  <a:lnTo>
                    <a:pt x="4408" y="286"/>
                  </a:lnTo>
                  <a:lnTo>
                    <a:pt x="4408" y="286"/>
                  </a:lnTo>
                  <a:lnTo>
                    <a:pt x="4372" y="280"/>
                  </a:lnTo>
                  <a:lnTo>
                    <a:pt x="4352" y="276"/>
                  </a:lnTo>
                  <a:lnTo>
                    <a:pt x="4334" y="276"/>
                  </a:lnTo>
                  <a:lnTo>
                    <a:pt x="4334" y="276"/>
                  </a:lnTo>
                  <a:lnTo>
                    <a:pt x="4320" y="276"/>
                  </a:lnTo>
                  <a:lnTo>
                    <a:pt x="4310" y="274"/>
                  </a:lnTo>
                  <a:lnTo>
                    <a:pt x="4300" y="270"/>
                  </a:lnTo>
                  <a:lnTo>
                    <a:pt x="4292" y="268"/>
                  </a:lnTo>
                  <a:lnTo>
                    <a:pt x="4292" y="268"/>
                  </a:lnTo>
                  <a:lnTo>
                    <a:pt x="4286" y="268"/>
                  </a:lnTo>
                  <a:lnTo>
                    <a:pt x="4282" y="272"/>
                  </a:lnTo>
                  <a:lnTo>
                    <a:pt x="4284" y="276"/>
                  </a:lnTo>
                  <a:lnTo>
                    <a:pt x="4286" y="280"/>
                  </a:lnTo>
                  <a:lnTo>
                    <a:pt x="4286" y="280"/>
                  </a:lnTo>
                  <a:lnTo>
                    <a:pt x="4288" y="282"/>
                  </a:lnTo>
                  <a:lnTo>
                    <a:pt x="4286" y="284"/>
                  </a:lnTo>
                  <a:lnTo>
                    <a:pt x="4280" y="288"/>
                  </a:lnTo>
                  <a:lnTo>
                    <a:pt x="4272" y="290"/>
                  </a:lnTo>
                  <a:lnTo>
                    <a:pt x="4262" y="288"/>
                  </a:lnTo>
                  <a:lnTo>
                    <a:pt x="4262" y="288"/>
                  </a:lnTo>
                  <a:lnTo>
                    <a:pt x="4252" y="290"/>
                  </a:lnTo>
                  <a:lnTo>
                    <a:pt x="4242" y="292"/>
                  </a:lnTo>
                  <a:lnTo>
                    <a:pt x="4238" y="296"/>
                  </a:lnTo>
                  <a:lnTo>
                    <a:pt x="4236" y="298"/>
                  </a:lnTo>
                  <a:lnTo>
                    <a:pt x="4236" y="302"/>
                  </a:lnTo>
                  <a:lnTo>
                    <a:pt x="4236" y="306"/>
                  </a:lnTo>
                  <a:lnTo>
                    <a:pt x="4236" y="306"/>
                  </a:lnTo>
                  <a:lnTo>
                    <a:pt x="4240" y="308"/>
                  </a:lnTo>
                  <a:lnTo>
                    <a:pt x="4242" y="310"/>
                  </a:lnTo>
                  <a:lnTo>
                    <a:pt x="4248" y="308"/>
                  </a:lnTo>
                  <a:lnTo>
                    <a:pt x="4254" y="306"/>
                  </a:lnTo>
                  <a:lnTo>
                    <a:pt x="4258" y="306"/>
                  </a:lnTo>
                  <a:lnTo>
                    <a:pt x="4258" y="306"/>
                  </a:lnTo>
                  <a:lnTo>
                    <a:pt x="4260" y="308"/>
                  </a:lnTo>
                  <a:lnTo>
                    <a:pt x="4258" y="310"/>
                  </a:lnTo>
                  <a:lnTo>
                    <a:pt x="4254" y="312"/>
                  </a:lnTo>
                  <a:lnTo>
                    <a:pt x="4250" y="316"/>
                  </a:lnTo>
                  <a:lnTo>
                    <a:pt x="4250" y="318"/>
                  </a:lnTo>
                  <a:lnTo>
                    <a:pt x="4252" y="320"/>
                  </a:lnTo>
                  <a:lnTo>
                    <a:pt x="4252" y="320"/>
                  </a:lnTo>
                  <a:lnTo>
                    <a:pt x="4256" y="324"/>
                  </a:lnTo>
                  <a:lnTo>
                    <a:pt x="4260" y="330"/>
                  </a:lnTo>
                  <a:lnTo>
                    <a:pt x="4260" y="340"/>
                  </a:lnTo>
                  <a:lnTo>
                    <a:pt x="4260" y="340"/>
                  </a:lnTo>
                  <a:lnTo>
                    <a:pt x="4260" y="340"/>
                  </a:lnTo>
                  <a:lnTo>
                    <a:pt x="4258" y="342"/>
                  </a:lnTo>
                  <a:lnTo>
                    <a:pt x="4252" y="344"/>
                  </a:lnTo>
                  <a:lnTo>
                    <a:pt x="4244" y="342"/>
                  </a:lnTo>
                  <a:lnTo>
                    <a:pt x="4238" y="340"/>
                  </a:lnTo>
                  <a:lnTo>
                    <a:pt x="4238" y="340"/>
                  </a:lnTo>
                  <a:lnTo>
                    <a:pt x="4232" y="336"/>
                  </a:lnTo>
                  <a:lnTo>
                    <a:pt x="4226" y="336"/>
                  </a:lnTo>
                  <a:lnTo>
                    <a:pt x="4220" y="338"/>
                  </a:lnTo>
                  <a:lnTo>
                    <a:pt x="4212" y="338"/>
                  </a:lnTo>
                  <a:lnTo>
                    <a:pt x="4212" y="338"/>
                  </a:lnTo>
                  <a:lnTo>
                    <a:pt x="4204" y="338"/>
                  </a:lnTo>
                  <a:lnTo>
                    <a:pt x="4200" y="340"/>
                  </a:lnTo>
                  <a:lnTo>
                    <a:pt x="4198" y="340"/>
                  </a:lnTo>
                  <a:lnTo>
                    <a:pt x="4198" y="342"/>
                  </a:lnTo>
                  <a:lnTo>
                    <a:pt x="4204" y="344"/>
                  </a:lnTo>
                  <a:lnTo>
                    <a:pt x="4204" y="344"/>
                  </a:lnTo>
                  <a:lnTo>
                    <a:pt x="4212" y="346"/>
                  </a:lnTo>
                  <a:lnTo>
                    <a:pt x="4214" y="350"/>
                  </a:lnTo>
                  <a:lnTo>
                    <a:pt x="4214" y="350"/>
                  </a:lnTo>
                  <a:lnTo>
                    <a:pt x="4212" y="352"/>
                  </a:lnTo>
                  <a:lnTo>
                    <a:pt x="4204" y="354"/>
                  </a:lnTo>
                  <a:lnTo>
                    <a:pt x="4204" y="354"/>
                  </a:lnTo>
                  <a:lnTo>
                    <a:pt x="4200" y="354"/>
                  </a:lnTo>
                  <a:lnTo>
                    <a:pt x="4196" y="352"/>
                  </a:lnTo>
                  <a:lnTo>
                    <a:pt x="4190" y="348"/>
                  </a:lnTo>
                  <a:lnTo>
                    <a:pt x="4188" y="344"/>
                  </a:lnTo>
                  <a:lnTo>
                    <a:pt x="4186" y="342"/>
                  </a:lnTo>
                  <a:lnTo>
                    <a:pt x="4182" y="342"/>
                  </a:lnTo>
                  <a:lnTo>
                    <a:pt x="4182" y="342"/>
                  </a:lnTo>
                  <a:lnTo>
                    <a:pt x="4174" y="342"/>
                  </a:lnTo>
                  <a:lnTo>
                    <a:pt x="4162" y="338"/>
                  </a:lnTo>
                  <a:lnTo>
                    <a:pt x="4150" y="336"/>
                  </a:lnTo>
                  <a:lnTo>
                    <a:pt x="4140" y="334"/>
                  </a:lnTo>
                  <a:lnTo>
                    <a:pt x="4140" y="334"/>
                  </a:lnTo>
                  <a:lnTo>
                    <a:pt x="4134" y="336"/>
                  </a:lnTo>
                  <a:lnTo>
                    <a:pt x="4126" y="340"/>
                  </a:lnTo>
                  <a:lnTo>
                    <a:pt x="4118" y="342"/>
                  </a:lnTo>
                  <a:lnTo>
                    <a:pt x="4110" y="344"/>
                  </a:lnTo>
                  <a:lnTo>
                    <a:pt x="4110" y="344"/>
                  </a:lnTo>
                  <a:lnTo>
                    <a:pt x="4098" y="344"/>
                  </a:lnTo>
                  <a:lnTo>
                    <a:pt x="4086" y="340"/>
                  </a:lnTo>
                  <a:lnTo>
                    <a:pt x="4074" y="336"/>
                  </a:lnTo>
                  <a:lnTo>
                    <a:pt x="4068" y="330"/>
                  </a:lnTo>
                  <a:lnTo>
                    <a:pt x="4068" y="330"/>
                  </a:lnTo>
                  <a:lnTo>
                    <a:pt x="4064" y="324"/>
                  </a:lnTo>
                  <a:lnTo>
                    <a:pt x="4060" y="322"/>
                  </a:lnTo>
                  <a:lnTo>
                    <a:pt x="4058" y="324"/>
                  </a:lnTo>
                  <a:lnTo>
                    <a:pt x="4052" y="328"/>
                  </a:lnTo>
                  <a:lnTo>
                    <a:pt x="4052" y="328"/>
                  </a:lnTo>
                  <a:lnTo>
                    <a:pt x="4048" y="336"/>
                  </a:lnTo>
                  <a:lnTo>
                    <a:pt x="4046" y="346"/>
                  </a:lnTo>
                  <a:lnTo>
                    <a:pt x="4042" y="352"/>
                  </a:lnTo>
                  <a:lnTo>
                    <a:pt x="4040" y="354"/>
                  </a:lnTo>
                  <a:lnTo>
                    <a:pt x="4038" y="356"/>
                  </a:lnTo>
                  <a:lnTo>
                    <a:pt x="4038" y="356"/>
                  </a:lnTo>
                  <a:lnTo>
                    <a:pt x="4034" y="360"/>
                  </a:lnTo>
                  <a:lnTo>
                    <a:pt x="4030" y="366"/>
                  </a:lnTo>
                  <a:lnTo>
                    <a:pt x="4026" y="372"/>
                  </a:lnTo>
                  <a:lnTo>
                    <a:pt x="4020" y="378"/>
                  </a:lnTo>
                  <a:lnTo>
                    <a:pt x="4020" y="378"/>
                  </a:lnTo>
                  <a:lnTo>
                    <a:pt x="4016" y="378"/>
                  </a:lnTo>
                  <a:lnTo>
                    <a:pt x="4012" y="376"/>
                  </a:lnTo>
                  <a:lnTo>
                    <a:pt x="4010" y="372"/>
                  </a:lnTo>
                  <a:lnTo>
                    <a:pt x="4004" y="372"/>
                  </a:lnTo>
                  <a:lnTo>
                    <a:pt x="4004" y="372"/>
                  </a:lnTo>
                  <a:lnTo>
                    <a:pt x="4000" y="370"/>
                  </a:lnTo>
                  <a:lnTo>
                    <a:pt x="3994" y="368"/>
                  </a:lnTo>
                  <a:lnTo>
                    <a:pt x="3980" y="356"/>
                  </a:lnTo>
                  <a:lnTo>
                    <a:pt x="3968" y="344"/>
                  </a:lnTo>
                  <a:lnTo>
                    <a:pt x="3962" y="336"/>
                  </a:lnTo>
                  <a:lnTo>
                    <a:pt x="3962" y="336"/>
                  </a:lnTo>
                  <a:lnTo>
                    <a:pt x="3958" y="328"/>
                  </a:lnTo>
                  <a:lnTo>
                    <a:pt x="3952" y="320"/>
                  </a:lnTo>
                  <a:lnTo>
                    <a:pt x="3938" y="308"/>
                  </a:lnTo>
                  <a:lnTo>
                    <a:pt x="3938" y="308"/>
                  </a:lnTo>
                  <a:lnTo>
                    <a:pt x="3936" y="306"/>
                  </a:lnTo>
                  <a:lnTo>
                    <a:pt x="3940" y="304"/>
                  </a:lnTo>
                  <a:lnTo>
                    <a:pt x="3944" y="306"/>
                  </a:lnTo>
                  <a:lnTo>
                    <a:pt x="3948" y="308"/>
                  </a:lnTo>
                  <a:lnTo>
                    <a:pt x="3948" y="308"/>
                  </a:lnTo>
                  <a:lnTo>
                    <a:pt x="3954" y="310"/>
                  </a:lnTo>
                  <a:lnTo>
                    <a:pt x="3958" y="312"/>
                  </a:lnTo>
                  <a:lnTo>
                    <a:pt x="3964" y="312"/>
                  </a:lnTo>
                  <a:lnTo>
                    <a:pt x="3968" y="310"/>
                  </a:lnTo>
                  <a:lnTo>
                    <a:pt x="3968" y="310"/>
                  </a:lnTo>
                  <a:lnTo>
                    <a:pt x="3972" y="306"/>
                  </a:lnTo>
                  <a:lnTo>
                    <a:pt x="3972" y="300"/>
                  </a:lnTo>
                  <a:lnTo>
                    <a:pt x="3970" y="294"/>
                  </a:lnTo>
                  <a:lnTo>
                    <a:pt x="3966" y="292"/>
                  </a:lnTo>
                  <a:lnTo>
                    <a:pt x="3964" y="292"/>
                  </a:lnTo>
                  <a:lnTo>
                    <a:pt x="3964" y="292"/>
                  </a:lnTo>
                  <a:lnTo>
                    <a:pt x="3958" y="290"/>
                  </a:lnTo>
                  <a:lnTo>
                    <a:pt x="3956" y="286"/>
                  </a:lnTo>
                  <a:lnTo>
                    <a:pt x="3958" y="282"/>
                  </a:lnTo>
                  <a:lnTo>
                    <a:pt x="3962" y="280"/>
                  </a:lnTo>
                  <a:lnTo>
                    <a:pt x="3962" y="280"/>
                  </a:lnTo>
                  <a:lnTo>
                    <a:pt x="3964" y="280"/>
                  </a:lnTo>
                  <a:lnTo>
                    <a:pt x="3962" y="276"/>
                  </a:lnTo>
                  <a:lnTo>
                    <a:pt x="3958" y="270"/>
                  </a:lnTo>
                  <a:lnTo>
                    <a:pt x="3956" y="264"/>
                  </a:lnTo>
                  <a:lnTo>
                    <a:pt x="3956" y="262"/>
                  </a:lnTo>
                  <a:lnTo>
                    <a:pt x="3956" y="262"/>
                  </a:lnTo>
                  <a:lnTo>
                    <a:pt x="3956" y="262"/>
                  </a:lnTo>
                  <a:lnTo>
                    <a:pt x="3960" y="260"/>
                  </a:lnTo>
                  <a:lnTo>
                    <a:pt x="3960" y="256"/>
                  </a:lnTo>
                  <a:lnTo>
                    <a:pt x="3956" y="254"/>
                  </a:lnTo>
                  <a:lnTo>
                    <a:pt x="3952" y="252"/>
                  </a:lnTo>
                  <a:lnTo>
                    <a:pt x="3952" y="252"/>
                  </a:lnTo>
                  <a:lnTo>
                    <a:pt x="3944" y="250"/>
                  </a:lnTo>
                  <a:lnTo>
                    <a:pt x="3938" y="246"/>
                  </a:lnTo>
                  <a:lnTo>
                    <a:pt x="3934" y="242"/>
                  </a:lnTo>
                  <a:lnTo>
                    <a:pt x="3932" y="238"/>
                  </a:lnTo>
                  <a:lnTo>
                    <a:pt x="3932" y="238"/>
                  </a:lnTo>
                  <a:lnTo>
                    <a:pt x="3930" y="238"/>
                  </a:lnTo>
                  <a:lnTo>
                    <a:pt x="3926" y="236"/>
                  </a:lnTo>
                  <a:lnTo>
                    <a:pt x="3914" y="234"/>
                  </a:lnTo>
                  <a:lnTo>
                    <a:pt x="3902" y="236"/>
                  </a:lnTo>
                  <a:lnTo>
                    <a:pt x="3898" y="238"/>
                  </a:lnTo>
                  <a:lnTo>
                    <a:pt x="3896" y="240"/>
                  </a:lnTo>
                  <a:lnTo>
                    <a:pt x="3896" y="240"/>
                  </a:lnTo>
                  <a:lnTo>
                    <a:pt x="3896" y="242"/>
                  </a:lnTo>
                  <a:lnTo>
                    <a:pt x="3896" y="242"/>
                  </a:lnTo>
                  <a:lnTo>
                    <a:pt x="3892" y="244"/>
                  </a:lnTo>
                  <a:lnTo>
                    <a:pt x="3888" y="242"/>
                  </a:lnTo>
                  <a:lnTo>
                    <a:pt x="3886" y="240"/>
                  </a:lnTo>
                  <a:lnTo>
                    <a:pt x="3886" y="238"/>
                  </a:lnTo>
                  <a:lnTo>
                    <a:pt x="3886" y="238"/>
                  </a:lnTo>
                  <a:lnTo>
                    <a:pt x="3886" y="236"/>
                  </a:lnTo>
                  <a:lnTo>
                    <a:pt x="3884" y="236"/>
                  </a:lnTo>
                  <a:lnTo>
                    <a:pt x="3878" y="234"/>
                  </a:lnTo>
                  <a:lnTo>
                    <a:pt x="3868" y="232"/>
                  </a:lnTo>
                  <a:lnTo>
                    <a:pt x="3856" y="230"/>
                  </a:lnTo>
                  <a:lnTo>
                    <a:pt x="3856" y="230"/>
                  </a:lnTo>
                  <a:lnTo>
                    <a:pt x="3844" y="226"/>
                  </a:lnTo>
                  <a:lnTo>
                    <a:pt x="3838" y="220"/>
                  </a:lnTo>
                  <a:lnTo>
                    <a:pt x="3834" y="214"/>
                  </a:lnTo>
                  <a:lnTo>
                    <a:pt x="3832" y="212"/>
                  </a:lnTo>
                  <a:lnTo>
                    <a:pt x="3832" y="212"/>
                  </a:lnTo>
                  <a:lnTo>
                    <a:pt x="3830" y="212"/>
                  </a:lnTo>
                  <a:lnTo>
                    <a:pt x="3828" y="214"/>
                  </a:lnTo>
                  <a:lnTo>
                    <a:pt x="3826" y="220"/>
                  </a:lnTo>
                  <a:lnTo>
                    <a:pt x="3824" y="224"/>
                  </a:lnTo>
                  <a:lnTo>
                    <a:pt x="3822" y="226"/>
                  </a:lnTo>
                  <a:lnTo>
                    <a:pt x="3818" y="226"/>
                  </a:lnTo>
                  <a:lnTo>
                    <a:pt x="3818" y="226"/>
                  </a:lnTo>
                  <a:lnTo>
                    <a:pt x="3812" y="224"/>
                  </a:lnTo>
                  <a:lnTo>
                    <a:pt x="3806" y="226"/>
                  </a:lnTo>
                  <a:lnTo>
                    <a:pt x="3804" y="232"/>
                  </a:lnTo>
                  <a:lnTo>
                    <a:pt x="3804" y="240"/>
                  </a:lnTo>
                  <a:lnTo>
                    <a:pt x="3804" y="240"/>
                  </a:lnTo>
                  <a:lnTo>
                    <a:pt x="3806" y="246"/>
                  </a:lnTo>
                  <a:lnTo>
                    <a:pt x="3806" y="250"/>
                  </a:lnTo>
                  <a:lnTo>
                    <a:pt x="3804" y="260"/>
                  </a:lnTo>
                  <a:lnTo>
                    <a:pt x="3804" y="260"/>
                  </a:lnTo>
                  <a:lnTo>
                    <a:pt x="3802" y="264"/>
                  </a:lnTo>
                  <a:lnTo>
                    <a:pt x="3800" y="264"/>
                  </a:lnTo>
                  <a:lnTo>
                    <a:pt x="3788" y="262"/>
                  </a:lnTo>
                  <a:lnTo>
                    <a:pt x="3788" y="262"/>
                  </a:lnTo>
                  <a:lnTo>
                    <a:pt x="3784" y="260"/>
                  </a:lnTo>
                  <a:lnTo>
                    <a:pt x="3782" y="260"/>
                  </a:lnTo>
                  <a:lnTo>
                    <a:pt x="3776" y="264"/>
                  </a:lnTo>
                  <a:lnTo>
                    <a:pt x="3768" y="266"/>
                  </a:lnTo>
                  <a:lnTo>
                    <a:pt x="3762" y="266"/>
                  </a:lnTo>
                  <a:lnTo>
                    <a:pt x="3754" y="264"/>
                  </a:lnTo>
                  <a:lnTo>
                    <a:pt x="3754" y="264"/>
                  </a:lnTo>
                  <a:lnTo>
                    <a:pt x="3740" y="262"/>
                  </a:lnTo>
                  <a:lnTo>
                    <a:pt x="3730" y="262"/>
                  </a:lnTo>
                  <a:lnTo>
                    <a:pt x="3722" y="260"/>
                  </a:lnTo>
                  <a:lnTo>
                    <a:pt x="3720" y="260"/>
                  </a:lnTo>
                  <a:lnTo>
                    <a:pt x="3718" y="258"/>
                  </a:lnTo>
                  <a:lnTo>
                    <a:pt x="3718" y="258"/>
                  </a:lnTo>
                  <a:lnTo>
                    <a:pt x="3714" y="254"/>
                  </a:lnTo>
                  <a:lnTo>
                    <a:pt x="3712" y="252"/>
                  </a:lnTo>
                  <a:lnTo>
                    <a:pt x="3708" y="252"/>
                  </a:lnTo>
                  <a:lnTo>
                    <a:pt x="3706" y="256"/>
                  </a:lnTo>
                  <a:lnTo>
                    <a:pt x="3706" y="256"/>
                  </a:lnTo>
                  <a:lnTo>
                    <a:pt x="3704" y="258"/>
                  </a:lnTo>
                  <a:lnTo>
                    <a:pt x="3700" y="258"/>
                  </a:lnTo>
                  <a:lnTo>
                    <a:pt x="3688" y="258"/>
                  </a:lnTo>
                  <a:lnTo>
                    <a:pt x="3676" y="256"/>
                  </a:lnTo>
                  <a:lnTo>
                    <a:pt x="3670" y="254"/>
                  </a:lnTo>
                  <a:lnTo>
                    <a:pt x="3668" y="250"/>
                  </a:lnTo>
                  <a:lnTo>
                    <a:pt x="3668" y="250"/>
                  </a:lnTo>
                  <a:lnTo>
                    <a:pt x="3668" y="244"/>
                  </a:lnTo>
                  <a:lnTo>
                    <a:pt x="3670" y="242"/>
                  </a:lnTo>
                  <a:lnTo>
                    <a:pt x="3680" y="238"/>
                  </a:lnTo>
                  <a:lnTo>
                    <a:pt x="3680" y="238"/>
                  </a:lnTo>
                  <a:lnTo>
                    <a:pt x="3680" y="236"/>
                  </a:lnTo>
                  <a:lnTo>
                    <a:pt x="3680" y="236"/>
                  </a:lnTo>
                  <a:lnTo>
                    <a:pt x="3676" y="234"/>
                  </a:lnTo>
                  <a:lnTo>
                    <a:pt x="3668" y="232"/>
                  </a:lnTo>
                  <a:lnTo>
                    <a:pt x="3656" y="232"/>
                  </a:lnTo>
                  <a:lnTo>
                    <a:pt x="3656" y="232"/>
                  </a:lnTo>
                  <a:lnTo>
                    <a:pt x="3642" y="232"/>
                  </a:lnTo>
                  <a:lnTo>
                    <a:pt x="3630" y="228"/>
                  </a:lnTo>
                  <a:lnTo>
                    <a:pt x="3618" y="226"/>
                  </a:lnTo>
                  <a:lnTo>
                    <a:pt x="3604" y="224"/>
                  </a:lnTo>
                  <a:lnTo>
                    <a:pt x="3604" y="224"/>
                  </a:lnTo>
                  <a:lnTo>
                    <a:pt x="3566" y="228"/>
                  </a:lnTo>
                  <a:lnTo>
                    <a:pt x="3546" y="232"/>
                  </a:lnTo>
                  <a:lnTo>
                    <a:pt x="3536" y="234"/>
                  </a:lnTo>
                  <a:lnTo>
                    <a:pt x="3536" y="234"/>
                  </a:lnTo>
                  <a:lnTo>
                    <a:pt x="3534" y="236"/>
                  </a:lnTo>
                  <a:lnTo>
                    <a:pt x="3534" y="236"/>
                  </a:lnTo>
                  <a:lnTo>
                    <a:pt x="3536" y="242"/>
                  </a:lnTo>
                  <a:lnTo>
                    <a:pt x="3536" y="246"/>
                  </a:lnTo>
                  <a:lnTo>
                    <a:pt x="3536" y="248"/>
                  </a:lnTo>
                  <a:lnTo>
                    <a:pt x="3532" y="248"/>
                  </a:lnTo>
                  <a:lnTo>
                    <a:pt x="3532" y="248"/>
                  </a:lnTo>
                  <a:lnTo>
                    <a:pt x="3530" y="248"/>
                  </a:lnTo>
                  <a:lnTo>
                    <a:pt x="3528" y="246"/>
                  </a:lnTo>
                  <a:lnTo>
                    <a:pt x="3528" y="238"/>
                  </a:lnTo>
                  <a:lnTo>
                    <a:pt x="3528" y="230"/>
                  </a:lnTo>
                  <a:lnTo>
                    <a:pt x="3528" y="222"/>
                  </a:lnTo>
                  <a:lnTo>
                    <a:pt x="3528" y="222"/>
                  </a:lnTo>
                  <a:lnTo>
                    <a:pt x="3526" y="216"/>
                  </a:lnTo>
                  <a:lnTo>
                    <a:pt x="3520" y="214"/>
                  </a:lnTo>
                  <a:lnTo>
                    <a:pt x="3516" y="214"/>
                  </a:lnTo>
                  <a:lnTo>
                    <a:pt x="3514" y="216"/>
                  </a:lnTo>
                  <a:lnTo>
                    <a:pt x="3514" y="218"/>
                  </a:lnTo>
                  <a:lnTo>
                    <a:pt x="3514" y="218"/>
                  </a:lnTo>
                  <a:lnTo>
                    <a:pt x="3514" y="220"/>
                  </a:lnTo>
                  <a:lnTo>
                    <a:pt x="3512" y="222"/>
                  </a:lnTo>
                  <a:lnTo>
                    <a:pt x="3504" y="224"/>
                  </a:lnTo>
                  <a:lnTo>
                    <a:pt x="3494" y="224"/>
                  </a:lnTo>
                  <a:lnTo>
                    <a:pt x="3486" y="222"/>
                  </a:lnTo>
                  <a:lnTo>
                    <a:pt x="3486" y="222"/>
                  </a:lnTo>
                  <a:lnTo>
                    <a:pt x="3474" y="214"/>
                  </a:lnTo>
                  <a:lnTo>
                    <a:pt x="3466" y="210"/>
                  </a:lnTo>
                  <a:lnTo>
                    <a:pt x="3454" y="206"/>
                  </a:lnTo>
                  <a:lnTo>
                    <a:pt x="3454" y="206"/>
                  </a:lnTo>
                  <a:lnTo>
                    <a:pt x="3448" y="206"/>
                  </a:lnTo>
                  <a:lnTo>
                    <a:pt x="3442" y="206"/>
                  </a:lnTo>
                  <a:lnTo>
                    <a:pt x="3432" y="212"/>
                  </a:lnTo>
                  <a:lnTo>
                    <a:pt x="3424" y="218"/>
                  </a:lnTo>
                  <a:lnTo>
                    <a:pt x="3424" y="222"/>
                  </a:lnTo>
                  <a:lnTo>
                    <a:pt x="3424" y="224"/>
                  </a:lnTo>
                  <a:lnTo>
                    <a:pt x="3424" y="224"/>
                  </a:lnTo>
                  <a:lnTo>
                    <a:pt x="3428" y="226"/>
                  </a:lnTo>
                  <a:lnTo>
                    <a:pt x="3434" y="226"/>
                  </a:lnTo>
                  <a:lnTo>
                    <a:pt x="3438" y="228"/>
                  </a:lnTo>
                  <a:lnTo>
                    <a:pt x="3440" y="228"/>
                  </a:lnTo>
                  <a:lnTo>
                    <a:pt x="3440" y="228"/>
                  </a:lnTo>
                  <a:lnTo>
                    <a:pt x="3440" y="230"/>
                  </a:lnTo>
                  <a:lnTo>
                    <a:pt x="3436" y="232"/>
                  </a:lnTo>
                  <a:lnTo>
                    <a:pt x="3424" y="234"/>
                  </a:lnTo>
                  <a:lnTo>
                    <a:pt x="3412" y="236"/>
                  </a:lnTo>
                  <a:lnTo>
                    <a:pt x="3408" y="236"/>
                  </a:lnTo>
                  <a:lnTo>
                    <a:pt x="3408" y="238"/>
                  </a:lnTo>
                  <a:lnTo>
                    <a:pt x="3408" y="238"/>
                  </a:lnTo>
                  <a:lnTo>
                    <a:pt x="3406" y="240"/>
                  </a:lnTo>
                  <a:lnTo>
                    <a:pt x="3402" y="242"/>
                  </a:lnTo>
                  <a:lnTo>
                    <a:pt x="3390" y="246"/>
                  </a:lnTo>
                  <a:lnTo>
                    <a:pt x="3366" y="252"/>
                  </a:lnTo>
                  <a:lnTo>
                    <a:pt x="3366" y="252"/>
                  </a:lnTo>
                  <a:lnTo>
                    <a:pt x="3338" y="256"/>
                  </a:lnTo>
                  <a:lnTo>
                    <a:pt x="3330" y="260"/>
                  </a:lnTo>
                  <a:lnTo>
                    <a:pt x="3320" y="266"/>
                  </a:lnTo>
                  <a:lnTo>
                    <a:pt x="3320" y="266"/>
                  </a:lnTo>
                  <a:lnTo>
                    <a:pt x="3318" y="268"/>
                  </a:lnTo>
                  <a:lnTo>
                    <a:pt x="3316" y="270"/>
                  </a:lnTo>
                  <a:lnTo>
                    <a:pt x="3316" y="264"/>
                  </a:lnTo>
                  <a:lnTo>
                    <a:pt x="3320" y="256"/>
                  </a:lnTo>
                  <a:lnTo>
                    <a:pt x="3328" y="248"/>
                  </a:lnTo>
                  <a:lnTo>
                    <a:pt x="3328" y="248"/>
                  </a:lnTo>
                  <a:lnTo>
                    <a:pt x="3336" y="242"/>
                  </a:lnTo>
                  <a:lnTo>
                    <a:pt x="3342" y="240"/>
                  </a:lnTo>
                  <a:lnTo>
                    <a:pt x="3348" y="238"/>
                  </a:lnTo>
                  <a:lnTo>
                    <a:pt x="3354" y="234"/>
                  </a:lnTo>
                  <a:lnTo>
                    <a:pt x="3354" y="234"/>
                  </a:lnTo>
                  <a:lnTo>
                    <a:pt x="3358" y="230"/>
                  </a:lnTo>
                  <a:lnTo>
                    <a:pt x="3364" y="228"/>
                  </a:lnTo>
                  <a:lnTo>
                    <a:pt x="3384" y="224"/>
                  </a:lnTo>
                  <a:lnTo>
                    <a:pt x="3384" y="224"/>
                  </a:lnTo>
                  <a:lnTo>
                    <a:pt x="3392" y="222"/>
                  </a:lnTo>
                  <a:lnTo>
                    <a:pt x="3396" y="218"/>
                  </a:lnTo>
                  <a:lnTo>
                    <a:pt x="3400" y="214"/>
                  </a:lnTo>
                  <a:lnTo>
                    <a:pt x="3404" y="210"/>
                  </a:lnTo>
                  <a:lnTo>
                    <a:pt x="3404" y="210"/>
                  </a:lnTo>
                  <a:lnTo>
                    <a:pt x="3420" y="204"/>
                  </a:lnTo>
                  <a:lnTo>
                    <a:pt x="3428" y="198"/>
                  </a:lnTo>
                  <a:lnTo>
                    <a:pt x="3434" y="192"/>
                  </a:lnTo>
                  <a:lnTo>
                    <a:pt x="3434" y="192"/>
                  </a:lnTo>
                  <a:lnTo>
                    <a:pt x="3436" y="190"/>
                  </a:lnTo>
                  <a:lnTo>
                    <a:pt x="3440" y="186"/>
                  </a:lnTo>
                  <a:lnTo>
                    <a:pt x="3454" y="180"/>
                  </a:lnTo>
                  <a:lnTo>
                    <a:pt x="3470" y="176"/>
                  </a:lnTo>
                  <a:lnTo>
                    <a:pt x="3480" y="174"/>
                  </a:lnTo>
                  <a:lnTo>
                    <a:pt x="3480" y="174"/>
                  </a:lnTo>
                  <a:lnTo>
                    <a:pt x="3482" y="174"/>
                  </a:lnTo>
                  <a:lnTo>
                    <a:pt x="3484" y="172"/>
                  </a:lnTo>
                  <a:lnTo>
                    <a:pt x="3488" y="166"/>
                  </a:lnTo>
                  <a:lnTo>
                    <a:pt x="3490" y="162"/>
                  </a:lnTo>
                  <a:lnTo>
                    <a:pt x="3492" y="160"/>
                  </a:lnTo>
                  <a:lnTo>
                    <a:pt x="3492" y="160"/>
                  </a:lnTo>
                  <a:lnTo>
                    <a:pt x="3508" y="154"/>
                  </a:lnTo>
                  <a:lnTo>
                    <a:pt x="3526" y="146"/>
                  </a:lnTo>
                  <a:lnTo>
                    <a:pt x="3526" y="146"/>
                  </a:lnTo>
                  <a:lnTo>
                    <a:pt x="3530" y="144"/>
                  </a:lnTo>
                  <a:lnTo>
                    <a:pt x="3534" y="138"/>
                  </a:lnTo>
                  <a:lnTo>
                    <a:pt x="3538" y="134"/>
                  </a:lnTo>
                  <a:lnTo>
                    <a:pt x="3538" y="130"/>
                  </a:lnTo>
                  <a:lnTo>
                    <a:pt x="3538" y="130"/>
                  </a:lnTo>
                  <a:lnTo>
                    <a:pt x="3536" y="128"/>
                  </a:lnTo>
                  <a:lnTo>
                    <a:pt x="3532" y="126"/>
                  </a:lnTo>
                  <a:lnTo>
                    <a:pt x="3528" y="124"/>
                  </a:lnTo>
                  <a:lnTo>
                    <a:pt x="3526" y="120"/>
                  </a:lnTo>
                  <a:lnTo>
                    <a:pt x="3526" y="120"/>
                  </a:lnTo>
                  <a:lnTo>
                    <a:pt x="3526" y="118"/>
                  </a:lnTo>
                  <a:lnTo>
                    <a:pt x="3530" y="118"/>
                  </a:lnTo>
                  <a:lnTo>
                    <a:pt x="3534" y="118"/>
                  </a:lnTo>
                  <a:lnTo>
                    <a:pt x="3540" y="116"/>
                  </a:lnTo>
                  <a:lnTo>
                    <a:pt x="3540" y="116"/>
                  </a:lnTo>
                  <a:lnTo>
                    <a:pt x="3542" y="114"/>
                  </a:lnTo>
                  <a:lnTo>
                    <a:pt x="3544" y="112"/>
                  </a:lnTo>
                  <a:lnTo>
                    <a:pt x="3542" y="108"/>
                  </a:lnTo>
                  <a:lnTo>
                    <a:pt x="3538" y="104"/>
                  </a:lnTo>
                  <a:lnTo>
                    <a:pt x="3532" y="104"/>
                  </a:lnTo>
                  <a:lnTo>
                    <a:pt x="3532" y="104"/>
                  </a:lnTo>
                  <a:lnTo>
                    <a:pt x="3530" y="104"/>
                  </a:lnTo>
                  <a:lnTo>
                    <a:pt x="3532" y="100"/>
                  </a:lnTo>
                  <a:lnTo>
                    <a:pt x="3532" y="96"/>
                  </a:lnTo>
                  <a:lnTo>
                    <a:pt x="3532" y="92"/>
                  </a:lnTo>
                  <a:lnTo>
                    <a:pt x="3530" y="90"/>
                  </a:lnTo>
                  <a:lnTo>
                    <a:pt x="3530" y="90"/>
                  </a:lnTo>
                  <a:lnTo>
                    <a:pt x="3528" y="88"/>
                  </a:lnTo>
                  <a:lnTo>
                    <a:pt x="3526" y="88"/>
                  </a:lnTo>
                  <a:lnTo>
                    <a:pt x="3520" y="88"/>
                  </a:lnTo>
                  <a:lnTo>
                    <a:pt x="3514" y="90"/>
                  </a:lnTo>
                  <a:lnTo>
                    <a:pt x="3514" y="88"/>
                  </a:lnTo>
                  <a:lnTo>
                    <a:pt x="3512" y="86"/>
                  </a:lnTo>
                  <a:lnTo>
                    <a:pt x="3512" y="86"/>
                  </a:lnTo>
                  <a:lnTo>
                    <a:pt x="3512" y="74"/>
                  </a:lnTo>
                  <a:lnTo>
                    <a:pt x="3510" y="70"/>
                  </a:lnTo>
                  <a:lnTo>
                    <a:pt x="3508" y="64"/>
                  </a:lnTo>
                  <a:lnTo>
                    <a:pt x="3508" y="64"/>
                  </a:lnTo>
                  <a:lnTo>
                    <a:pt x="3506" y="64"/>
                  </a:lnTo>
                  <a:lnTo>
                    <a:pt x="3502" y="64"/>
                  </a:lnTo>
                  <a:lnTo>
                    <a:pt x="3498" y="66"/>
                  </a:lnTo>
                  <a:lnTo>
                    <a:pt x="3490" y="68"/>
                  </a:lnTo>
                  <a:lnTo>
                    <a:pt x="3488" y="68"/>
                  </a:lnTo>
                  <a:lnTo>
                    <a:pt x="3484" y="66"/>
                  </a:lnTo>
                  <a:lnTo>
                    <a:pt x="3484" y="66"/>
                  </a:lnTo>
                  <a:lnTo>
                    <a:pt x="3472" y="60"/>
                  </a:lnTo>
                  <a:lnTo>
                    <a:pt x="3460" y="56"/>
                  </a:lnTo>
                  <a:lnTo>
                    <a:pt x="3448" y="56"/>
                  </a:lnTo>
                  <a:lnTo>
                    <a:pt x="3444" y="56"/>
                  </a:lnTo>
                  <a:lnTo>
                    <a:pt x="3444" y="56"/>
                  </a:lnTo>
                  <a:lnTo>
                    <a:pt x="3442" y="56"/>
                  </a:lnTo>
                  <a:lnTo>
                    <a:pt x="3436" y="56"/>
                  </a:lnTo>
                  <a:lnTo>
                    <a:pt x="3430" y="54"/>
                  </a:lnTo>
                  <a:lnTo>
                    <a:pt x="3426" y="54"/>
                  </a:lnTo>
                  <a:lnTo>
                    <a:pt x="3426" y="54"/>
                  </a:lnTo>
                  <a:lnTo>
                    <a:pt x="3422" y="56"/>
                  </a:lnTo>
                  <a:lnTo>
                    <a:pt x="3412" y="58"/>
                  </a:lnTo>
                  <a:lnTo>
                    <a:pt x="3394" y="56"/>
                  </a:lnTo>
                  <a:lnTo>
                    <a:pt x="3394" y="56"/>
                  </a:lnTo>
                  <a:lnTo>
                    <a:pt x="3388" y="56"/>
                  </a:lnTo>
                  <a:lnTo>
                    <a:pt x="3382" y="58"/>
                  </a:lnTo>
                  <a:lnTo>
                    <a:pt x="3378" y="60"/>
                  </a:lnTo>
                  <a:lnTo>
                    <a:pt x="3376" y="66"/>
                  </a:lnTo>
                  <a:lnTo>
                    <a:pt x="3376" y="66"/>
                  </a:lnTo>
                  <a:lnTo>
                    <a:pt x="3374" y="68"/>
                  </a:lnTo>
                  <a:lnTo>
                    <a:pt x="3372" y="70"/>
                  </a:lnTo>
                  <a:lnTo>
                    <a:pt x="3360" y="70"/>
                  </a:lnTo>
                  <a:lnTo>
                    <a:pt x="3342" y="68"/>
                  </a:lnTo>
                  <a:lnTo>
                    <a:pt x="3342" y="68"/>
                  </a:lnTo>
                  <a:lnTo>
                    <a:pt x="3340" y="68"/>
                  </a:lnTo>
                  <a:lnTo>
                    <a:pt x="3342" y="64"/>
                  </a:lnTo>
                  <a:lnTo>
                    <a:pt x="3350" y="58"/>
                  </a:lnTo>
                  <a:lnTo>
                    <a:pt x="3358" y="48"/>
                  </a:lnTo>
                  <a:lnTo>
                    <a:pt x="3362" y="44"/>
                  </a:lnTo>
                  <a:lnTo>
                    <a:pt x="3362" y="44"/>
                  </a:lnTo>
                  <a:lnTo>
                    <a:pt x="3360" y="42"/>
                  </a:lnTo>
                  <a:lnTo>
                    <a:pt x="3354" y="42"/>
                  </a:lnTo>
                  <a:lnTo>
                    <a:pt x="3340" y="42"/>
                  </a:lnTo>
                  <a:lnTo>
                    <a:pt x="3324" y="42"/>
                  </a:lnTo>
                  <a:lnTo>
                    <a:pt x="3320" y="42"/>
                  </a:lnTo>
                  <a:lnTo>
                    <a:pt x="3316" y="40"/>
                  </a:lnTo>
                  <a:lnTo>
                    <a:pt x="3316" y="40"/>
                  </a:lnTo>
                  <a:lnTo>
                    <a:pt x="3312" y="38"/>
                  </a:lnTo>
                  <a:lnTo>
                    <a:pt x="3304" y="36"/>
                  </a:lnTo>
                  <a:lnTo>
                    <a:pt x="3284" y="36"/>
                  </a:lnTo>
                  <a:lnTo>
                    <a:pt x="3284" y="36"/>
                  </a:lnTo>
                  <a:lnTo>
                    <a:pt x="3280" y="36"/>
                  </a:lnTo>
                  <a:lnTo>
                    <a:pt x="3282" y="34"/>
                  </a:lnTo>
                  <a:lnTo>
                    <a:pt x="3292" y="32"/>
                  </a:lnTo>
                  <a:lnTo>
                    <a:pt x="3292" y="32"/>
                  </a:lnTo>
                  <a:lnTo>
                    <a:pt x="3298" y="30"/>
                  </a:lnTo>
                  <a:lnTo>
                    <a:pt x="3304" y="28"/>
                  </a:lnTo>
                  <a:lnTo>
                    <a:pt x="3312" y="24"/>
                  </a:lnTo>
                  <a:lnTo>
                    <a:pt x="3318" y="22"/>
                  </a:lnTo>
                  <a:lnTo>
                    <a:pt x="3318" y="22"/>
                  </a:lnTo>
                  <a:lnTo>
                    <a:pt x="3322" y="20"/>
                  </a:lnTo>
                  <a:lnTo>
                    <a:pt x="3324" y="18"/>
                  </a:lnTo>
                  <a:lnTo>
                    <a:pt x="3324" y="16"/>
                  </a:lnTo>
                  <a:lnTo>
                    <a:pt x="3320" y="12"/>
                  </a:lnTo>
                  <a:lnTo>
                    <a:pt x="3320" y="12"/>
                  </a:lnTo>
                  <a:lnTo>
                    <a:pt x="3318" y="10"/>
                  </a:lnTo>
                  <a:lnTo>
                    <a:pt x="3312" y="8"/>
                  </a:lnTo>
                  <a:lnTo>
                    <a:pt x="3298" y="6"/>
                  </a:lnTo>
                  <a:lnTo>
                    <a:pt x="3298" y="6"/>
                  </a:lnTo>
                  <a:lnTo>
                    <a:pt x="3284" y="2"/>
                  </a:lnTo>
                  <a:lnTo>
                    <a:pt x="3270" y="0"/>
                  </a:lnTo>
                  <a:lnTo>
                    <a:pt x="3270" y="0"/>
                  </a:lnTo>
                  <a:lnTo>
                    <a:pt x="3264" y="0"/>
                  </a:lnTo>
                  <a:lnTo>
                    <a:pt x="3256" y="2"/>
                  </a:lnTo>
                  <a:lnTo>
                    <a:pt x="3234" y="6"/>
                  </a:lnTo>
                  <a:lnTo>
                    <a:pt x="3234" y="6"/>
                  </a:lnTo>
                  <a:lnTo>
                    <a:pt x="3228" y="8"/>
                  </a:lnTo>
                  <a:lnTo>
                    <a:pt x="3222" y="12"/>
                  </a:lnTo>
                  <a:lnTo>
                    <a:pt x="3214" y="18"/>
                  </a:lnTo>
                  <a:lnTo>
                    <a:pt x="3210" y="24"/>
                  </a:lnTo>
                  <a:lnTo>
                    <a:pt x="3204" y="30"/>
                  </a:lnTo>
                  <a:lnTo>
                    <a:pt x="3204" y="30"/>
                  </a:lnTo>
                  <a:lnTo>
                    <a:pt x="3196" y="34"/>
                  </a:lnTo>
                  <a:lnTo>
                    <a:pt x="3188" y="42"/>
                  </a:lnTo>
                  <a:lnTo>
                    <a:pt x="3182" y="50"/>
                  </a:lnTo>
                  <a:lnTo>
                    <a:pt x="3182" y="52"/>
                  </a:lnTo>
                  <a:lnTo>
                    <a:pt x="3184" y="54"/>
                  </a:lnTo>
                  <a:lnTo>
                    <a:pt x="3184" y="54"/>
                  </a:lnTo>
                  <a:lnTo>
                    <a:pt x="3188" y="54"/>
                  </a:lnTo>
                  <a:lnTo>
                    <a:pt x="3190" y="58"/>
                  </a:lnTo>
                  <a:lnTo>
                    <a:pt x="3190" y="64"/>
                  </a:lnTo>
                  <a:lnTo>
                    <a:pt x="3190" y="64"/>
                  </a:lnTo>
                  <a:lnTo>
                    <a:pt x="3190" y="68"/>
                  </a:lnTo>
                  <a:lnTo>
                    <a:pt x="3186" y="70"/>
                  </a:lnTo>
                  <a:lnTo>
                    <a:pt x="3174" y="70"/>
                  </a:lnTo>
                  <a:lnTo>
                    <a:pt x="3174" y="70"/>
                  </a:lnTo>
                  <a:lnTo>
                    <a:pt x="3164" y="68"/>
                  </a:lnTo>
                  <a:lnTo>
                    <a:pt x="3150" y="70"/>
                  </a:lnTo>
                  <a:lnTo>
                    <a:pt x="3138" y="72"/>
                  </a:lnTo>
                  <a:lnTo>
                    <a:pt x="3134" y="74"/>
                  </a:lnTo>
                  <a:lnTo>
                    <a:pt x="3134" y="76"/>
                  </a:lnTo>
                  <a:lnTo>
                    <a:pt x="3134" y="76"/>
                  </a:lnTo>
                  <a:lnTo>
                    <a:pt x="3134" y="78"/>
                  </a:lnTo>
                  <a:lnTo>
                    <a:pt x="3136" y="80"/>
                  </a:lnTo>
                  <a:lnTo>
                    <a:pt x="3142" y="84"/>
                  </a:lnTo>
                  <a:lnTo>
                    <a:pt x="3148" y="86"/>
                  </a:lnTo>
                  <a:lnTo>
                    <a:pt x="3150" y="88"/>
                  </a:lnTo>
                  <a:lnTo>
                    <a:pt x="3150" y="88"/>
                  </a:lnTo>
                  <a:lnTo>
                    <a:pt x="3150" y="88"/>
                  </a:lnTo>
                  <a:lnTo>
                    <a:pt x="3148" y="90"/>
                  </a:lnTo>
                  <a:lnTo>
                    <a:pt x="3142" y="90"/>
                  </a:lnTo>
                  <a:lnTo>
                    <a:pt x="3130" y="84"/>
                  </a:lnTo>
                  <a:lnTo>
                    <a:pt x="3130" y="84"/>
                  </a:lnTo>
                  <a:lnTo>
                    <a:pt x="3124" y="84"/>
                  </a:lnTo>
                  <a:lnTo>
                    <a:pt x="3118" y="84"/>
                  </a:lnTo>
                  <a:lnTo>
                    <a:pt x="3110" y="86"/>
                  </a:lnTo>
                  <a:lnTo>
                    <a:pt x="3106" y="90"/>
                  </a:lnTo>
                  <a:lnTo>
                    <a:pt x="3106" y="90"/>
                  </a:lnTo>
                  <a:lnTo>
                    <a:pt x="3104" y="94"/>
                  </a:lnTo>
                  <a:lnTo>
                    <a:pt x="3098" y="96"/>
                  </a:lnTo>
                  <a:lnTo>
                    <a:pt x="3088" y="94"/>
                  </a:lnTo>
                  <a:lnTo>
                    <a:pt x="3088" y="94"/>
                  </a:lnTo>
                  <a:lnTo>
                    <a:pt x="3086" y="94"/>
                  </a:lnTo>
                  <a:lnTo>
                    <a:pt x="3080" y="94"/>
                  </a:lnTo>
                  <a:lnTo>
                    <a:pt x="3076" y="96"/>
                  </a:lnTo>
                  <a:lnTo>
                    <a:pt x="3072" y="96"/>
                  </a:lnTo>
                  <a:lnTo>
                    <a:pt x="3072" y="96"/>
                  </a:lnTo>
                  <a:lnTo>
                    <a:pt x="3070" y="94"/>
                  </a:lnTo>
                  <a:lnTo>
                    <a:pt x="3070" y="92"/>
                  </a:lnTo>
                  <a:lnTo>
                    <a:pt x="3074" y="88"/>
                  </a:lnTo>
                  <a:lnTo>
                    <a:pt x="3078" y="84"/>
                  </a:lnTo>
                  <a:lnTo>
                    <a:pt x="3080" y="82"/>
                  </a:lnTo>
                  <a:lnTo>
                    <a:pt x="3078" y="80"/>
                  </a:lnTo>
                  <a:lnTo>
                    <a:pt x="3078" y="80"/>
                  </a:lnTo>
                  <a:lnTo>
                    <a:pt x="3074" y="78"/>
                  </a:lnTo>
                  <a:lnTo>
                    <a:pt x="3066" y="78"/>
                  </a:lnTo>
                  <a:lnTo>
                    <a:pt x="3058" y="82"/>
                  </a:lnTo>
                  <a:lnTo>
                    <a:pt x="3054" y="84"/>
                  </a:lnTo>
                  <a:lnTo>
                    <a:pt x="3054" y="86"/>
                  </a:lnTo>
                  <a:lnTo>
                    <a:pt x="3054" y="86"/>
                  </a:lnTo>
                  <a:lnTo>
                    <a:pt x="3052" y="88"/>
                  </a:lnTo>
                  <a:lnTo>
                    <a:pt x="3050" y="88"/>
                  </a:lnTo>
                  <a:lnTo>
                    <a:pt x="3044" y="86"/>
                  </a:lnTo>
                  <a:lnTo>
                    <a:pt x="3040" y="84"/>
                  </a:lnTo>
                  <a:lnTo>
                    <a:pt x="3034" y="84"/>
                  </a:lnTo>
                  <a:lnTo>
                    <a:pt x="3034" y="84"/>
                  </a:lnTo>
                  <a:lnTo>
                    <a:pt x="3018" y="92"/>
                  </a:lnTo>
                  <a:lnTo>
                    <a:pt x="3018" y="92"/>
                  </a:lnTo>
                  <a:lnTo>
                    <a:pt x="3010" y="94"/>
                  </a:lnTo>
                  <a:lnTo>
                    <a:pt x="3002" y="92"/>
                  </a:lnTo>
                  <a:lnTo>
                    <a:pt x="2996" y="92"/>
                  </a:lnTo>
                  <a:lnTo>
                    <a:pt x="2992" y="94"/>
                  </a:lnTo>
                  <a:lnTo>
                    <a:pt x="2990" y="96"/>
                  </a:lnTo>
                  <a:lnTo>
                    <a:pt x="2990" y="96"/>
                  </a:lnTo>
                  <a:lnTo>
                    <a:pt x="2990" y="98"/>
                  </a:lnTo>
                  <a:lnTo>
                    <a:pt x="2992" y="100"/>
                  </a:lnTo>
                  <a:lnTo>
                    <a:pt x="2998" y="102"/>
                  </a:lnTo>
                  <a:lnTo>
                    <a:pt x="3004" y="104"/>
                  </a:lnTo>
                  <a:lnTo>
                    <a:pt x="3008" y="106"/>
                  </a:lnTo>
                  <a:lnTo>
                    <a:pt x="3008" y="106"/>
                  </a:lnTo>
                  <a:lnTo>
                    <a:pt x="3000" y="108"/>
                  </a:lnTo>
                  <a:lnTo>
                    <a:pt x="2986" y="110"/>
                  </a:lnTo>
                  <a:lnTo>
                    <a:pt x="2970" y="110"/>
                  </a:lnTo>
                  <a:lnTo>
                    <a:pt x="2964" y="112"/>
                  </a:lnTo>
                  <a:lnTo>
                    <a:pt x="2962" y="114"/>
                  </a:lnTo>
                  <a:lnTo>
                    <a:pt x="2962" y="114"/>
                  </a:lnTo>
                  <a:lnTo>
                    <a:pt x="2960" y="116"/>
                  </a:lnTo>
                  <a:lnTo>
                    <a:pt x="2952" y="118"/>
                  </a:lnTo>
                  <a:lnTo>
                    <a:pt x="2928" y="118"/>
                  </a:lnTo>
                  <a:lnTo>
                    <a:pt x="2928" y="118"/>
                  </a:lnTo>
                  <a:lnTo>
                    <a:pt x="2918" y="120"/>
                  </a:lnTo>
                  <a:lnTo>
                    <a:pt x="2914" y="124"/>
                  </a:lnTo>
                  <a:lnTo>
                    <a:pt x="2910" y="128"/>
                  </a:lnTo>
                  <a:lnTo>
                    <a:pt x="2902" y="130"/>
                  </a:lnTo>
                  <a:lnTo>
                    <a:pt x="2902" y="130"/>
                  </a:lnTo>
                  <a:lnTo>
                    <a:pt x="2886" y="134"/>
                  </a:lnTo>
                  <a:lnTo>
                    <a:pt x="2880" y="136"/>
                  </a:lnTo>
                  <a:lnTo>
                    <a:pt x="2876" y="140"/>
                  </a:lnTo>
                  <a:lnTo>
                    <a:pt x="2876" y="140"/>
                  </a:lnTo>
                  <a:lnTo>
                    <a:pt x="2872" y="144"/>
                  </a:lnTo>
                  <a:lnTo>
                    <a:pt x="2866" y="146"/>
                  </a:lnTo>
                  <a:lnTo>
                    <a:pt x="2860" y="146"/>
                  </a:lnTo>
                  <a:lnTo>
                    <a:pt x="2856" y="144"/>
                  </a:lnTo>
                  <a:lnTo>
                    <a:pt x="2856" y="144"/>
                  </a:lnTo>
                  <a:lnTo>
                    <a:pt x="2854" y="142"/>
                  </a:lnTo>
                  <a:lnTo>
                    <a:pt x="2852" y="142"/>
                  </a:lnTo>
                  <a:lnTo>
                    <a:pt x="2846" y="142"/>
                  </a:lnTo>
                  <a:lnTo>
                    <a:pt x="2844" y="146"/>
                  </a:lnTo>
                  <a:lnTo>
                    <a:pt x="2844" y="146"/>
                  </a:lnTo>
                  <a:lnTo>
                    <a:pt x="2846" y="148"/>
                  </a:lnTo>
                  <a:lnTo>
                    <a:pt x="2846" y="148"/>
                  </a:lnTo>
                  <a:lnTo>
                    <a:pt x="2848" y="148"/>
                  </a:lnTo>
                  <a:lnTo>
                    <a:pt x="2848" y="152"/>
                  </a:lnTo>
                  <a:lnTo>
                    <a:pt x="2844" y="154"/>
                  </a:lnTo>
                  <a:lnTo>
                    <a:pt x="2842" y="154"/>
                  </a:lnTo>
                  <a:lnTo>
                    <a:pt x="2842" y="154"/>
                  </a:lnTo>
                  <a:lnTo>
                    <a:pt x="2836" y="154"/>
                  </a:lnTo>
                  <a:lnTo>
                    <a:pt x="2832" y="156"/>
                  </a:lnTo>
                  <a:lnTo>
                    <a:pt x="2828" y="160"/>
                  </a:lnTo>
                  <a:lnTo>
                    <a:pt x="2830" y="160"/>
                  </a:lnTo>
                  <a:lnTo>
                    <a:pt x="2832" y="160"/>
                  </a:lnTo>
                  <a:lnTo>
                    <a:pt x="2832" y="160"/>
                  </a:lnTo>
                  <a:lnTo>
                    <a:pt x="2836" y="160"/>
                  </a:lnTo>
                  <a:lnTo>
                    <a:pt x="2838" y="164"/>
                  </a:lnTo>
                  <a:lnTo>
                    <a:pt x="2840" y="166"/>
                  </a:lnTo>
                  <a:lnTo>
                    <a:pt x="2838" y="170"/>
                  </a:lnTo>
                  <a:lnTo>
                    <a:pt x="2838" y="170"/>
                  </a:lnTo>
                  <a:lnTo>
                    <a:pt x="2836" y="172"/>
                  </a:lnTo>
                  <a:lnTo>
                    <a:pt x="2834" y="172"/>
                  </a:lnTo>
                  <a:lnTo>
                    <a:pt x="2826" y="170"/>
                  </a:lnTo>
                  <a:lnTo>
                    <a:pt x="2820" y="168"/>
                  </a:lnTo>
                  <a:lnTo>
                    <a:pt x="2816" y="168"/>
                  </a:lnTo>
                  <a:lnTo>
                    <a:pt x="2814" y="168"/>
                  </a:lnTo>
                  <a:lnTo>
                    <a:pt x="2814" y="168"/>
                  </a:lnTo>
                  <a:lnTo>
                    <a:pt x="2814" y="170"/>
                  </a:lnTo>
                  <a:lnTo>
                    <a:pt x="2814" y="172"/>
                  </a:lnTo>
                  <a:lnTo>
                    <a:pt x="2818" y="174"/>
                  </a:lnTo>
                  <a:lnTo>
                    <a:pt x="2824" y="176"/>
                  </a:lnTo>
                  <a:lnTo>
                    <a:pt x="2830" y="178"/>
                  </a:lnTo>
                  <a:lnTo>
                    <a:pt x="2830" y="178"/>
                  </a:lnTo>
                  <a:lnTo>
                    <a:pt x="2834" y="178"/>
                  </a:lnTo>
                  <a:lnTo>
                    <a:pt x="2838" y="180"/>
                  </a:lnTo>
                  <a:lnTo>
                    <a:pt x="2840" y="182"/>
                  </a:lnTo>
                  <a:lnTo>
                    <a:pt x="2842" y="186"/>
                  </a:lnTo>
                  <a:lnTo>
                    <a:pt x="2842" y="186"/>
                  </a:lnTo>
                  <a:lnTo>
                    <a:pt x="2842" y="188"/>
                  </a:lnTo>
                  <a:lnTo>
                    <a:pt x="2840" y="188"/>
                  </a:lnTo>
                  <a:lnTo>
                    <a:pt x="2834" y="188"/>
                  </a:lnTo>
                  <a:lnTo>
                    <a:pt x="2826" y="186"/>
                  </a:lnTo>
                  <a:lnTo>
                    <a:pt x="2824" y="186"/>
                  </a:lnTo>
                  <a:lnTo>
                    <a:pt x="2822" y="188"/>
                  </a:lnTo>
                  <a:lnTo>
                    <a:pt x="2822" y="188"/>
                  </a:lnTo>
                  <a:lnTo>
                    <a:pt x="2820" y="190"/>
                  </a:lnTo>
                  <a:lnTo>
                    <a:pt x="2822" y="192"/>
                  </a:lnTo>
                  <a:lnTo>
                    <a:pt x="2832" y="194"/>
                  </a:lnTo>
                  <a:lnTo>
                    <a:pt x="2832" y="194"/>
                  </a:lnTo>
                  <a:lnTo>
                    <a:pt x="2836" y="196"/>
                  </a:lnTo>
                  <a:lnTo>
                    <a:pt x="2836" y="198"/>
                  </a:lnTo>
                  <a:lnTo>
                    <a:pt x="2838" y="200"/>
                  </a:lnTo>
                  <a:lnTo>
                    <a:pt x="2840" y="204"/>
                  </a:lnTo>
                  <a:lnTo>
                    <a:pt x="2840" y="204"/>
                  </a:lnTo>
                  <a:lnTo>
                    <a:pt x="2842" y="206"/>
                  </a:lnTo>
                  <a:lnTo>
                    <a:pt x="2842" y="206"/>
                  </a:lnTo>
                  <a:lnTo>
                    <a:pt x="2844" y="210"/>
                  </a:lnTo>
                  <a:lnTo>
                    <a:pt x="2842" y="212"/>
                  </a:lnTo>
                  <a:lnTo>
                    <a:pt x="2840" y="214"/>
                  </a:lnTo>
                  <a:lnTo>
                    <a:pt x="2840" y="218"/>
                  </a:lnTo>
                  <a:lnTo>
                    <a:pt x="2840" y="218"/>
                  </a:lnTo>
                  <a:lnTo>
                    <a:pt x="2838" y="220"/>
                  </a:lnTo>
                  <a:lnTo>
                    <a:pt x="2836" y="222"/>
                  </a:lnTo>
                  <a:lnTo>
                    <a:pt x="2832" y="222"/>
                  </a:lnTo>
                  <a:lnTo>
                    <a:pt x="2832" y="220"/>
                  </a:lnTo>
                  <a:lnTo>
                    <a:pt x="2832" y="220"/>
                  </a:lnTo>
                  <a:lnTo>
                    <a:pt x="2830" y="218"/>
                  </a:lnTo>
                  <a:lnTo>
                    <a:pt x="2828" y="216"/>
                  </a:lnTo>
                  <a:lnTo>
                    <a:pt x="2820" y="216"/>
                  </a:lnTo>
                  <a:lnTo>
                    <a:pt x="2812" y="216"/>
                  </a:lnTo>
                  <a:lnTo>
                    <a:pt x="2806" y="218"/>
                  </a:lnTo>
                  <a:lnTo>
                    <a:pt x="2806" y="218"/>
                  </a:lnTo>
                  <a:lnTo>
                    <a:pt x="2800" y="224"/>
                  </a:lnTo>
                  <a:lnTo>
                    <a:pt x="2796" y="226"/>
                  </a:lnTo>
                  <a:lnTo>
                    <a:pt x="2792" y="224"/>
                  </a:lnTo>
                  <a:lnTo>
                    <a:pt x="2792" y="224"/>
                  </a:lnTo>
                  <a:lnTo>
                    <a:pt x="2788" y="222"/>
                  </a:lnTo>
                  <a:lnTo>
                    <a:pt x="2778" y="222"/>
                  </a:lnTo>
                  <a:lnTo>
                    <a:pt x="2752" y="226"/>
                  </a:lnTo>
                  <a:lnTo>
                    <a:pt x="2752" y="226"/>
                  </a:lnTo>
                  <a:lnTo>
                    <a:pt x="2714" y="228"/>
                  </a:lnTo>
                  <a:lnTo>
                    <a:pt x="2694" y="228"/>
                  </a:lnTo>
                  <a:lnTo>
                    <a:pt x="2682" y="232"/>
                  </a:lnTo>
                  <a:lnTo>
                    <a:pt x="2682" y="232"/>
                  </a:lnTo>
                  <a:lnTo>
                    <a:pt x="2674" y="236"/>
                  </a:lnTo>
                  <a:lnTo>
                    <a:pt x="2670" y="242"/>
                  </a:lnTo>
                  <a:lnTo>
                    <a:pt x="2668" y="250"/>
                  </a:lnTo>
                  <a:lnTo>
                    <a:pt x="2670" y="254"/>
                  </a:lnTo>
                  <a:lnTo>
                    <a:pt x="2672" y="258"/>
                  </a:lnTo>
                  <a:lnTo>
                    <a:pt x="2672" y="258"/>
                  </a:lnTo>
                  <a:lnTo>
                    <a:pt x="2676" y="264"/>
                  </a:lnTo>
                  <a:lnTo>
                    <a:pt x="2676" y="270"/>
                  </a:lnTo>
                  <a:lnTo>
                    <a:pt x="2674" y="274"/>
                  </a:lnTo>
                  <a:lnTo>
                    <a:pt x="2674" y="278"/>
                  </a:lnTo>
                  <a:lnTo>
                    <a:pt x="2674" y="278"/>
                  </a:lnTo>
                  <a:lnTo>
                    <a:pt x="2674" y="280"/>
                  </a:lnTo>
                  <a:lnTo>
                    <a:pt x="2678" y="284"/>
                  </a:lnTo>
                  <a:lnTo>
                    <a:pt x="2686" y="290"/>
                  </a:lnTo>
                  <a:lnTo>
                    <a:pt x="2698" y="294"/>
                  </a:lnTo>
                  <a:lnTo>
                    <a:pt x="2710" y="298"/>
                  </a:lnTo>
                  <a:lnTo>
                    <a:pt x="2710" y="298"/>
                  </a:lnTo>
                  <a:lnTo>
                    <a:pt x="2714" y="298"/>
                  </a:lnTo>
                  <a:lnTo>
                    <a:pt x="2720" y="300"/>
                  </a:lnTo>
                  <a:lnTo>
                    <a:pt x="2726" y="308"/>
                  </a:lnTo>
                  <a:lnTo>
                    <a:pt x="2728" y="316"/>
                  </a:lnTo>
                  <a:lnTo>
                    <a:pt x="2728" y="320"/>
                  </a:lnTo>
                  <a:lnTo>
                    <a:pt x="2726" y="324"/>
                  </a:lnTo>
                  <a:lnTo>
                    <a:pt x="2726" y="324"/>
                  </a:lnTo>
                  <a:lnTo>
                    <a:pt x="2722" y="326"/>
                  </a:lnTo>
                  <a:lnTo>
                    <a:pt x="2718" y="328"/>
                  </a:lnTo>
                  <a:lnTo>
                    <a:pt x="2706" y="324"/>
                  </a:lnTo>
                  <a:lnTo>
                    <a:pt x="2692" y="318"/>
                  </a:lnTo>
                  <a:lnTo>
                    <a:pt x="2680" y="308"/>
                  </a:lnTo>
                  <a:lnTo>
                    <a:pt x="2680" y="308"/>
                  </a:lnTo>
                  <a:lnTo>
                    <a:pt x="2672" y="304"/>
                  </a:lnTo>
                  <a:lnTo>
                    <a:pt x="2664" y="302"/>
                  </a:lnTo>
                  <a:lnTo>
                    <a:pt x="2646" y="296"/>
                  </a:lnTo>
                  <a:lnTo>
                    <a:pt x="2630" y="294"/>
                  </a:lnTo>
                  <a:lnTo>
                    <a:pt x="2618" y="292"/>
                  </a:lnTo>
                  <a:lnTo>
                    <a:pt x="2618" y="292"/>
                  </a:lnTo>
                  <a:lnTo>
                    <a:pt x="2614" y="292"/>
                  </a:lnTo>
                  <a:lnTo>
                    <a:pt x="2612" y="292"/>
                  </a:lnTo>
                  <a:lnTo>
                    <a:pt x="2608" y="288"/>
                  </a:lnTo>
                  <a:lnTo>
                    <a:pt x="2606" y="284"/>
                  </a:lnTo>
                  <a:lnTo>
                    <a:pt x="2602" y="284"/>
                  </a:lnTo>
                  <a:lnTo>
                    <a:pt x="2598" y="282"/>
                  </a:lnTo>
                  <a:lnTo>
                    <a:pt x="2598" y="282"/>
                  </a:lnTo>
                  <a:lnTo>
                    <a:pt x="2586" y="286"/>
                  </a:lnTo>
                  <a:lnTo>
                    <a:pt x="2580" y="290"/>
                  </a:lnTo>
                  <a:lnTo>
                    <a:pt x="2576" y="294"/>
                  </a:lnTo>
                  <a:lnTo>
                    <a:pt x="2578" y="296"/>
                  </a:lnTo>
                  <a:lnTo>
                    <a:pt x="2580" y="296"/>
                  </a:lnTo>
                  <a:lnTo>
                    <a:pt x="2580" y="296"/>
                  </a:lnTo>
                  <a:lnTo>
                    <a:pt x="2592" y="296"/>
                  </a:lnTo>
                  <a:lnTo>
                    <a:pt x="2594" y="298"/>
                  </a:lnTo>
                  <a:lnTo>
                    <a:pt x="2592" y="300"/>
                  </a:lnTo>
                  <a:lnTo>
                    <a:pt x="2592" y="300"/>
                  </a:lnTo>
                  <a:lnTo>
                    <a:pt x="2590" y="304"/>
                  </a:lnTo>
                  <a:lnTo>
                    <a:pt x="2592" y="304"/>
                  </a:lnTo>
                  <a:lnTo>
                    <a:pt x="2606" y="310"/>
                  </a:lnTo>
                  <a:lnTo>
                    <a:pt x="2606" y="310"/>
                  </a:lnTo>
                  <a:lnTo>
                    <a:pt x="2610" y="312"/>
                  </a:lnTo>
                  <a:lnTo>
                    <a:pt x="2610" y="314"/>
                  </a:lnTo>
                  <a:lnTo>
                    <a:pt x="2608" y="316"/>
                  </a:lnTo>
                  <a:lnTo>
                    <a:pt x="2604" y="316"/>
                  </a:lnTo>
                  <a:lnTo>
                    <a:pt x="2594" y="318"/>
                  </a:lnTo>
                  <a:lnTo>
                    <a:pt x="2588" y="316"/>
                  </a:lnTo>
                  <a:lnTo>
                    <a:pt x="2584" y="314"/>
                  </a:lnTo>
                  <a:lnTo>
                    <a:pt x="2584" y="314"/>
                  </a:lnTo>
                  <a:lnTo>
                    <a:pt x="2578" y="310"/>
                  </a:lnTo>
                  <a:lnTo>
                    <a:pt x="2574" y="310"/>
                  </a:lnTo>
                  <a:lnTo>
                    <a:pt x="2566" y="310"/>
                  </a:lnTo>
                  <a:lnTo>
                    <a:pt x="2558" y="314"/>
                  </a:lnTo>
                  <a:lnTo>
                    <a:pt x="2554" y="320"/>
                  </a:lnTo>
                  <a:lnTo>
                    <a:pt x="2554" y="320"/>
                  </a:lnTo>
                  <a:lnTo>
                    <a:pt x="2554" y="322"/>
                  </a:lnTo>
                  <a:lnTo>
                    <a:pt x="2556" y="326"/>
                  </a:lnTo>
                  <a:lnTo>
                    <a:pt x="2562" y="334"/>
                  </a:lnTo>
                  <a:lnTo>
                    <a:pt x="2576" y="342"/>
                  </a:lnTo>
                  <a:lnTo>
                    <a:pt x="2582" y="346"/>
                  </a:lnTo>
                  <a:lnTo>
                    <a:pt x="2590" y="348"/>
                  </a:lnTo>
                  <a:lnTo>
                    <a:pt x="2590" y="348"/>
                  </a:lnTo>
                  <a:lnTo>
                    <a:pt x="2602" y="350"/>
                  </a:lnTo>
                  <a:lnTo>
                    <a:pt x="2608" y="354"/>
                  </a:lnTo>
                  <a:lnTo>
                    <a:pt x="2610" y="358"/>
                  </a:lnTo>
                  <a:lnTo>
                    <a:pt x="2616" y="362"/>
                  </a:lnTo>
                  <a:lnTo>
                    <a:pt x="2616" y="362"/>
                  </a:lnTo>
                  <a:lnTo>
                    <a:pt x="2620" y="364"/>
                  </a:lnTo>
                  <a:lnTo>
                    <a:pt x="2620" y="366"/>
                  </a:lnTo>
                  <a:lnTo>
                    <a:pt x="2616" y="368"/>
                  </a:lnTo>
                  <a:lnTo>
                    <a:pt x="2612" y="370"/>
                  </a:lnTo>
                  <a:lnTo>
                    <a:pt x="2612" y="370"/>
                  </a:lnTo>
                  <a:lnTo>
                    <a:pt x="2604" y="368"/>
                  </a:lnTo>
                  <a:lnTo>
                    <a:pt x="2596" y="364"/>
                  </a:lnTo>
                  <a:lnTo>
                    <a:pt x="2580" y="354"/>
                  </a:lnTo>
                  <a:lnTo>
                    <a:pt x="2580" y="354"/>
                  </a:lnTo>
                  <a:lnTo>
                    <a:pt x="2574" y="352"/>
                  </a:lnTo>
                  <a:lnTo>
                    <a:pt x="2568" y="352"/>
                  </a:lnTo>
                  <a:lnTo>
                    <a:pt x="2554" y="352"/>
                  </a:lnTo>
                  <a:lnTo>
                    <a:pt x="2542" y="352"/>
                  </a:lnTo>
                  <a:lnTo>
                    <a:pt x="2536" y="352"/>
                  </a:lnTo>
                  <a:lnTo>
                    <a:pt x="2534" y="350"/>
                  </a:lnTo>
                  <a:lnTo>
                    <a:pt x="2534" y="350"/>
                  </a:lnTo>
                  <a:lnTo>
                    <a:pt x="2532" y="344"/>
                  </a:lnTo>
                  <a:lnTo>
                    <a:pt x="2532" y="340"/>
                  </a:lnTo>
                  <a:lnTo>
                    <a:pt x="2534" y="336"/>
                  </a:lnTo>
                  <a:lnTo>
                    <a:pt x="2532" y="332"/>
                  </a:lnTo>
                  <a:lnTo>
                    <a:pt x="2532" y="332"/>
                  </a:lnTo>
                  <a:lnTo>
                    <a:pt x="2530" y="326"/>
                  </a:lnTo>
                  <a:lnTo>
                    <a:pt x="2530" y="320"/>
                  </a:lnTo>
                  <a:lnTo>
                    <a:pt x="2534" y="312"/>
                  </a:lnTo>
                  <a:lnTo>
                    <a:pt x="2538" y="304"/>
                  </a:lnTo>
                  <a:lnTo>
                    <a:pt x="2538" y="304"/>
                  </a:lnTo>
                  <a:lnTo>
                    <a:pt x="2540" y="300"/>
                  </a:lnTo>
                  <a:lnTo>
                    <a:pt x="2540" y="294"/>
                  </a:lnTo>
                  <a:lnTo>
                    <a:pt x="2538" y="284"/>
                  </a:lnTo>
                  <a:lnTo>
                    <a:pt x="2534" y="276"/>
                  </a:lnTo>
                  <a:lnTo>
                    <a:pt x="2530" y="272"/>
                  </a:lnTo>
                  <a:lnTo>
                    <a:pt x="2526" y="270"/>
                  </a:lnTo>
                  <a:lnTo>
                    <a:pt x="2526" y="270"/>
                  </a:lnTo>
                  <a:lnTo>
                    <a:pt x="2520" y="270"/>
                  </a:lnTo>
                  <a:lnTo>
                    <a:pt x="2518" y="274"/>
                  </a:lnTo>
                  <a:lnTo>
                    <a:pt x="2518" y="278"/>
                  </a:lnTo>
                  <a:lnTo>
                    <a:pt x="2520" y="282"/>
                  </a:lnTo>
                  <a:lnTo>
                    <a:pt x="2520" y="282"/>
                  </a:lnTo>
                  <a:lnTo>
                    <a:pt x="2520" y="286"/>
                  </a:lnTo>
                  <a:lnTo>
                    <a:pt x="2520" y="294"/>
                  </a:lnTo>
                  <a:lnTo>
                    <a:pt x="2518" y="302"/>
                  </a:lnTo>
                  <a:lnTo>
                    <a:pt x="2512" y="310"/>
                  </a:lnTo>
                  <a:lnTo>
                    <a:pt x="2512" y="310"/>
                  </a:lnTo>
                  <a:lnTo>
                    <a:pt x="2508" y="314"/>
                  </a:lnTo>
                  <a:lnTo>
                    <a:pt x="2504" y="316"/>
                  </a:lnTo>
                  <a:lnTo>
                    <a:pt x="2492" y="320"/>
                  </a:lnTo>
                  <a:lnTo>
                    <a:pt x="2484" y="322"/>
                  </a:lnTo>
                  <a:lnTo>
                    <a:pt x="2480" y="324"/>
                  </a:lnTo>
                  <a:lnTo>
                    <a:pt x="2480" y="328"/>
                  </a:lnTo>
                  <a:lnTo>
                    <a:pt x="2480" y="328"/>
                  </a:lnTo>
                  <a:lnTo>
                    <a:pt x="2478" y="332"/>
                  </a:lnTo>
                  <a:lnTo>
                    <a:pt x="2472" y="336"/>
                  </a:lnTo>
                  <a:lnTo>
                    <a:pt x="2468" y="340"/>
                  </a:lnTo>
                  <a:lnTo>
                    <a:pt x="2468" y="342"/>
                  </a:lnTo>
                  <a:lnTo>
                    <a:pt x="2468" y="344"/>
                  </a:lnTo>
                  <a:lnTo>
                    <a:pt x="2468" y="344"/>
                  </a:lnTo>
                  <a:lnTo>
                    <a:pt x="2486" y="362"/>
                  </a:lnTo>
                  <a:lnTo>
                    <a:pt x="2494" y="374"/>
                  </a:lnTo>
                  <a:lnTo>
                    <a:pt x="2500" y="382"/>
                  </a:lnTo>
                  <a:lnTo>
                    <a:pt x="2500" y="382"/>
                  </a:lnTo>
                  <a:lnTo>
                    <a:pt x="2500" y="386"/>
                  </a:lnTo>
                  <a:lnTo>
                    <a:pt x="2498" y="390"/>
                  </a:lnTo>
                  <a:lnTo>
                    <a:pt x="2492" y="402"/>
                  </a:lnTo>
                  <a:lnTo>
                    <a:pt x="2486" y="416"/>
                  </a:lnTo>
                  <a:lnTo>
                    <a:pt x="2484" y="422"/>
                  </a:lnTo>
                  <a:lnTo>
                    <a:pt x="2484" y="428"/>
                  </a:lnTo>
                  <a:lnTo>
                    <a:pt x="2484" y="428"/>
                  </a:lnTo>
                  <a:lnTo>
                    <a:pt x="2484" y="436"/>
                  </a:lnTo>
                  <a:lnTo>
                    <a:pt x="2484" y="444"/>
                  </a:lnTo>
                  <a:lnTo>
                    <a:pt x="2484" y="450"/>
                  </a:lnTo>
                  <a:lnTo>
                    <a:pt x="2484" y="454"/>
                  </a:lnTo>
                  <a:lnTo>
                    <a:pt x="2484" y="454"/>
                  </a:lnTo>
                  <a:lnTo>
                    <a:pt x="2490" y="458"/>
                  </a:lnTo>
                  <a:lnTo>
                    <a:pt x="2494" y="458"/>
                  </a:lnTo>
                  <a:lnTo>
                    <a:pt x="2500" y="458"/>
                  </a:lnTo>
                  <a:lnTo>
                    <a:pt x="2506" y="458"/>
                  </a:lnTo>
                  <a:lnTo>
                    <a:pt x="2506" y="458"/>
                  </a:lnTo>
                  <a:lnTo>
                    <a:pt x="2512" y="458"/>
                  </a:lnTo>
                  <a:lnTo>
                    <a:pt x="2518" y="458"/>
                  </a:lnTo>
                  <a:lnTo>
                    <a:pt x="2538" y="452"/>
                  </a:lnTo>
                  <a:lnTo>
                    <a:pt x="2538" y="452"/>
                  </a:lnTo>
                  <a:lnTo>
                    <a:pt x="2544" y="452"/>
                  </a:lnTo>
                  <a:lnTo>
                    <a:pt x="2550" y="452"/>
                  </a:lnTo>
                  <a:lnTo>
                    <a:pt x="2566" y="458"/>
                  </a:lnTo>
                  <a:lnTo>
                    <a:pt x="2590" y="470"/>
                  </a:lnTo>
                  <a:lnTo>
                    <a:pt x="2590" y="470"/>
                  </a:lnTo>
                  <a:lnTo>
                    <a:pt x="2596" y="474"/>
                  </a:lnTo>
                  <a:lnTo>
                    <a:pt x="2596" y="478"/>
                  </a:lnTo>
                  <a:lnTo>
                    <a:pt x="2598" y="484"/>
                  </a:lnTo>
                  <a:lnTo>
                    <a:pt x="2600" y="490"/>
                  </a:lnTo>
                  <a:lnTo>
                    <a:pt x="2600" y="490"/>
                  </a:lnTo>
                  <a:lnTo>
                    <a:pt x="2602" y="492"/>
                  </a:lnTo>
                  <a:lnTo>
                    <a:pt x="2600" y="496"/>
                  </a:lnTo>
                  <a:lnTo>
                    <a:pt x="2596" y="498"/>
                  </a:lnTo>
                  <a:lnTo>
                    <a:pt x="2590" y="504"/>
                  </a:lnTo>
                  <a:lnTo>
                    <a:pt x="2588" y="506"/>
                  </a:lnTo>
                  <a:lnTo>
                    <a:pt x="2588" y="510"/>
                  </a:lnTo>
                  <a:lnTo>
                    <a:pt x="2588" y="510"/>
                  </a:lnTo>
                  <a:lnTo>
                    <a:pt x="2588" y="514"/>
                  </a:lnTo>
                  <a:lnTo>
                    <a:pt x="2592" y="518"/>
                  </a:lnTo>
                  <a:lnTo>
                    <a:pt x="2602" y="524"/>
                  </a:lnTo>
                  <a:lnTo>
                    <a:pt x="2614" y="528"/>
                  </a:lnTo>
                  <a:lnTo>
                    <a:pt x="2620" y="532"/>
                  </a:lnTo>
                  <a:lnTo>
                    <a:pt x="2620" y="532"/>
                  </a:lnTo>
                  <a:lnTo>
                    <a:pt x="2618" y="532"/>
                  </a:lnTo>
                  <a:lnTo>
                    <a:pt x="2616" y="534"/>
                  </a:lnTo>
                  <a:lnTo>
                    <a:pt x="2608" y="532"/>
                  </a:lnTo>
                  <a:lnTo>
                    <a:pt x="2588" y="528"/>
                  </a:lnTo>
                  <a:lnTo>
                    <a:pt x="2588" y="528"/>
                  </a:lnTo>
                  <a:lnTo>
                    <a:pt x="2584" y="526"/>
                  </a:lnTo>
                  <a:lnTo>
                    <a:pt x="2580" y="520"/>
                  </a:lnTo>
                  <a:lnTo>
                    <a:pt x="2576" y="512"/>
                  </a:lnTo>
                  <a:lnTo>
                    <a:pt x="2576" y="512"/>
                  </a:lnTo>
                  <a:lnTo>
                    <a:pt x="2576" y="508"/>
                  </a:lnTo>
                  <a:lnTo>
                    <a:pt x="2578" y="504"/>
                  </a:lnTo>
                  <a:lnTo>
                    <a:pt x="2582" y="498"/>
                  </a:lnTo>
                  <a:lnTo>
                    <a:pt x="2582" y="492"/>
                  </a:lnTo>
                  <a:lnTo>
                    <a:pt x="2582" y="492"/>
                  </a:lnTo>
                  <a:lnTo>
                    <a:pt x="2582" y="486"/>
                  </a:lnTo>
                  <a:lnTo>
                    <a:pt x="2578" y="482"/>
                  </a:lnTo>
                  <a:lnTo>
                    <a:pt x="2570" y="474"/>
                  </a:lnTo>
                  <a:lnTo>
                    <a:pt x="2570" y="474"/>
                  </a:lnTo>
                  <a:lnTo>
                    <a:pt x="2562" y="466"/>
                  </a:lnTo>
                  <a:lnTo>
                    <a:pt x="2558" y="464"/>
                  </a:lnTo>
                  <a:lnTo>
                    <a:pt x="2552" y="464"/>
                  </a:lnTo>
                  <a:lnTo>
                    <a:pt x="2552" y="464"/>
                  </a:lnTo>
                  <a:lnTo>
                    <a:pt x="2532" y="466"/>
                  </a:lnTo>
                  <a:lnTo>
                    <a:pt x="2518" y="470"/>
                  </a:lnTo>
                  <a:lnTo>
                    <a:pt x="2510" y="474"/>
                  </a:lnTo>
                  <a:lnTo>
                    <a:pt x="2510" y="474"/>
                  </a:lnTo>
                  <a:lnTo>
                    <a:pt x="2508" y="478"/>
                  </a:lnTo>
                  <a:lnTo>
                    <a:pt x="2506" y="482"/>
                  </a:lnTo>
                  <a:lnTo>
                    <a:pt x="2508" y="492"/>
                  </a:lnTo>
                  <a:lnTo>
                    <a:pt x="2512" y="504"/>
                  </a:lnTo>
                  <a:lnTo>
                    <a:pt x="2516" y="512"/>
                  </a:lnTo>
                  <a:lnTo>
                    <a:pt x="2516" y="512"/>
                  </a:lnTo>
                  <a:lnTo>
                    <a:pt x="2516" y="516"/>
                  </a:lnTo>
                  <a:lnTo>
                    <a:pt x="2514" y="520"/>
                  </a:lnTo>
                  <a:lnTo>
                    <a:pt x="2506" y="530"/>
                  </a:lnTo>
                  <a:lnTo>
                    <a:pt x="2496" y="538"/>
                  </a:lnTo>
                  <a:lnTo>
                    <a:pt x="2494" y="542"/>
                  </a:lnTo>
                  <a:lnTo>
                    <a:pt x="2492" y="544"/>
                  </a:lnTo>
                  <a:lnTo>
                    <a:pt x="2492" y="544"/>
                  </a:lnTo>
                  <a:lnTo>
                    <a:pt x="2492" y="550"/>
                  </a:lnTo>
                  <a:lnTo>
                    <a:pt x="2488" y="554"/>
                  </a:lnTo>
                  <a:lnTo>
                    <a:pt x="2472" y="562"/>
                  </a:lnTo>
                  <a:lnTo>
                    <a:pt x="2472" y="562"/>
                  </a:lnTo>
                  <a:lnTo>
                    <a:pt x="2456" y="572"/>
                  </a:lnTo>
                  <a:lnTo>
                    <a:pt x="2450" y="578"/>
                  </a:lnTo>
                  <a:lnTo>
                    <a:pt x="2448" y="580"/>
                  </a:lnTo>
                  <a:lnTo>
                    <a:pt x="2448" y="584"/>
                  </a:lnTo>
                  <a:lnTo>
                    <a:pt x="2448" y="584"/>
                  </a:lnTo>
                  <a:lnTo>
                    <a:pt x="2446" y="588"/>
                  </a:lnTo>
                  <a:lnTo>
                    <a:pt x="2444" y="590"/>
                  </a:lnTo>
                  <a:lnTo>
                    <a:pt x="2438" y="590"/>
                  </a:lnTo>
                  <a:lnTo>
                    <a:pt x="2430" y="588"/>
                  </a:lnTo>
                  <a:lnTo>
                    <a:pt x="2422" y="584"/>
                  </a:lnTo>
                  <a:lnTo>
                    <a:pt x="2422" y="584"/>
                  </a:lnTo>
                  <a:lnTo>
                    <a:pt x="2416" y="582"/>
                  </a:lnTo>
                  <a:lnTo>
                    <a:pt x="2408" y="584"/>
                  </a:lnTo>
                  <a:lnTo>
                    <a:pt x="2400" y="586"/>
                  </a:lnTo>
                  <a:lnTo>
                    <a:pt x="2392" y="588"/>
                  </a:lnTo>
                  <a:lnTo>
                    <a:pt x="2392" y="588"/>
                  </a:lnTo>
                  <a:lnTo>
                    <a:pt x="2384" y="586"/>
                  </a:lnTo>
                  <a:lnTo>
                    <a:pt x="2380" y="582"/>
                  </a:lnTo>
                  <a:lnTo>
                    <a:pt x="2376" y="580"/>
                  </a:lnTo>
                  <a:lnTo>
                    <a:pt x="2370" y="580"/>
                  </a:lnTo>
                  <a:lnTo>
                    <a:pt x="2370" y="580"/>
                  </a:lnTo>
                  <a:lnTo>
                    <a:pt x="2364" y="580"/>
                  </a:lnTo>
                  <a:lnTo>
                    <a:pt x="2358" y="578"/>
                  </a:lnTo>
                  <a:lnTo>
                    <a:pt x="2356" y="574"/>
                  </a:lnTo>
                  <a:lnTo>
                    <a:pt x="2356" y="568"/>
                  </a:lnTo>
                  <a:lnTo>
                    <a:pt x="2356" y="568"/>
                  </a:lnTo>
                  <a:lnTo>
                    <a:pt x="2358" y="566"/>
                  </a:lnTo>
                  <a:lnTo>
                    <a:pt x="2360" y="566"/>
                  </a:lnTo>
                  <a:lnTo>
                    <a:pt x="2364" y="566"/>
                  </a:lnTo>
                  <a:lnTo>
                    <a:pt x="2368" y="568"/>
                  </a:lnTo>
                  <a:lnTo>
                    <a:pt x="2370" y="572"/>
                  </a:lnTo>
                  <a:lnTo>
                    <a:pt x="2370" y="572"/>
                  </a:lnTo>
                  <a:lnTo>
                    <a:pt x="2372" y="574"/>
                  </a:lnTo>
                  <a:lnTo>
                    <a:pt x="2376" y="574"/>
                  </a:lnTo>
                  <a:lnTo>
                    <a:pt x="2386" y="570"/>
                  </a:lnTo>
                  <a:lnTo>
                    <a:pt x="2386" y="570"/>
                  </a:lnTo>
                  <a:lnTo>
                    <a:pt x="2390" y="570"/>
                  </a:lnTo>
                  <a:lnTo>
                    <a:pt x="2394" y="572"/>
                  </a:lnTo>
                  <a:lnTo>
                    <a:pt x="2396" y="574"/>
                  </a:lnTo>
                  <a:lnTo>
                    <a:pt x="2402" y="576"/>
                  </a:lnTo>
                  <a:lnTo>
                    <a:pt x="2402" y="576"/>
                  </a:lnTo>
                  <a:lnTo>
                    <a:pt x="2408" y="576"/>
                  </a:lnTo>
                  <a:lnTo>
                    <a:pt x="2410" y="574"/>
                  </a:lnTo>
                  <a:lnTo>
                    <a:pt x="2412" y="572"/>
                  </a:lnTo>
                  <a:lnTo>
                    <a:pt x="2416" y="572"/>
                  </a:lnTo>
                  <a:lnTo>
                    <a:pt x="2416" y="572"/>
                  </a:lnTo>
                  <a:lnTo>
                    <a:pt x="2422" y="572"/>
                  </a:lnTo>
                  <a:lnTo>
                    <a:pt x="2424" y="570"/>
                  </a:lnTo>
                  <a:lnTo>
                    <a:pt x="2424" y="568"/>
                  </a:lnTo>
                  <a:lnTo>
                    <a:pt x="2422" y="566"/>
                  </a:lnTo>
                  <a:lnTo>
                    <a:pt x="2422" y="566"/>
                  </a:lnTo>
                  <a:lnTo>
                    <a:pt x="2422" y="562"/>
                  </a:lnTo>
                  <a:lnTo>
                    <a:pt x="2426" y="560"/>
                  </a:lnTo>
                  <a:lnTo>
                    <a:pt x="2434" y="556"/>
                  </a:lnTo>
                  <a:lnTo>
                    <a:pt x="2434" y="556"/>
                  </a:lnTo>
                  <a:lnTo>
                    <a:pt x="2438" y="552"/>
                  </a:lnTo>
                  <a:lnTo>
                    <a:pt x="2440" y="548"/>
                  </a:lnTo>
                  <a:lnTo>
                    <a:pt x="2440" y="544"/>
                  </a:lnTo>
                  <a:lnTo>
                    <a:pt x="2444" y="540"/>
                  </a:lnTo>
                  <a:lnTo>
                    <a:pt x="2444" y="540"/>
                  </a:lnTo>
                  <a:lnTo>
                    <a:pt x="2446" y="538"/>
                  </a:lnTo>
                  <a:lnTo>
                    <a:pt x="2446" y="536"/>
                  </a:lnTo>
                  <a:lnTo>
                    <a:pt x="2448" y="532"/>
                  </a:lnTo>
                  <a:lnTo>
                    <a:pt x="2450" y="532"/>
                  </a:lnTo>
                  <a:lnTo>
                    <a:pt x="2450" y="532"/>
                  </a:lnTo>
                  <a:lnTo>
                    <a:pt x="2454" y="530"/>
                  </a:lnTo>
                  <a:lnTo>
                    <a:pt x="2458" y="528"/>
                  </a:lnTo>
                  <a:lnTo>
                    <a:pt x="2460" y="524"/>
                  </a:lnTo>
                  <a:lnTo>
                    <a:pt x="2464" y="522"/>
                  </a:lnTo>
                  <a:lnTo>
                    <a:pt x="2464" y="522"/>
                  </a:lnTo>
                  <a:lnTo>
                    <a:pt x="2468" y="522"/>
                  </a:lnTo>
                  <a:lnTo>
                    <a:pt x="2470" y="518"/>
                  </a:lnTo>
                  <a:lnTo>
                    <a:pt x="2470" y="514"/>
                  </a:lnTo>
                  <a:lnTo>
                    <a:pt x="2468" y="510"/>
                  </a:lnTo>
                  <a:lnTo>
                    <a:pt x="2468" y="510"/>
                  </a:lnTo>
                  <a:lnTo>
                    <a:pt x="2468" y="506"/>
                  </a:lnTo>
                  <a:lnTo>
                    <a:pt x="2470" y="500"/>
                  </a:lnTo>
                  <a:lnTo>
                    <a:pt x="2472" y="494"/>
                  </a:lnTo>
                  <a:lnTo>
                    <a:pt x="2476" y="492"/>
                  </a:lnTo>
                  <a:lnTo>
                    <a:pt x="2476" y="492"/>
                  </a:lnTo>
                  <a:lnTo>
                    <a:pt x="2480" y="490"/>
                  </a:lnTo>
                  <a:lnTo>
                    <a:pt x="2480" y="488"/>
                  </a:lnTo>
                  <a:lnTo>
                    <a:pt x="2480" y="484"/>
                  </a:lnTo>
                  <a:lnTo>
                    <a:pt x="2476" y="482"/>
                  </a:lnTo>
                  <a:lnTo>
                    <a:pt x="2476" y="482"/>
                  </a:lnTo>
                  <a:lnTo>
                    <a:pt x="2464" y="472"/>
                  </a:lnTo>
                  <a:lnTo>
                    <a:pt x="2458" y="464"/>
                  </a:lnTo>
                  <a:lnTo>
                    <a:pt x="2456" y="462"/>
                  </a:lnTo>
                  <a:lnTo>
                    <a:pt x="2456" y="458"/>
                  </a:lnTo>
                  <a:lnTo>
                    <a:pt x="2456" y="458"/>
                  </a:lnTo>
                  <a:lnTo>
                    <a:pt x="2456" y="452"/>
                  </a:lnTo>
                  <a:lnTo>
                    <a:pt x="2454" y="444"/>
                  </a:lnTo>
                  <a:lnTo>
                    <a:pt x="2454" y="436"/>
                  </a:lnTo>
                  <a:lnTo>
                    <a:pt x="2454" y="430"/>
                  </a:lnTo>
                  <a:lnTo>
                    <a:pt x="2454" y="430"/>
                  </a:lnTo>
                  <a:lnTo>
                    <a:pt x="2456" y="426"/>
                  </a:lnTo>
                  <a:lnTo>
                    <a:pt x="2456" y="418"/>
                  </a:lnTo>
                  <a:lnTo>
                    <a:pt x="2454" y="404"/>
                  </a:lnTo>
                  <a:lnTo>
                    <a:pt x="2454" y="404"/>
                  </a:lnTo>
                  <a:lnTo>
                    <a:pt x="2454" y="400"/>
                  </a:lnTo>
                  <a:lnTo>
                    <a:pt x="2456" y="392"/>
                  </a:lnTo>
                  <a:lnTo>
                    <a:pt x="2462" y="376"/>
                  </a:lnTo>
                  <a:lnTo>
                    <a:pt x="2462" y="376"/>
                  </a:lnTo>
                  <a:lnTo>
                    <a:pt x="2462" y="372"/>
                  </a:lnTo>
                  <a:lnTo>
                    <a:pt x="2460" y="366"/>
                  </a:lnTo>
                  <a:lnTo>
                    <a:pt x="2454" y="358"/>
                  </a:lnTo>
                  <a:lnTo>
                    <a:pt x="2446" y="350"/>
                  </a:lnTo>
                  <a:lnTo>
                    <a:pt x="2438" y="346"/>
                  </a:lnTo>
                  <a:lnTo>
                    <a:pt x="2438" y="346"/>
                  </a:lnTo>
                  <a:lnTo>
                    <a:pt x="2436" y="342"/>
                  </a:lnTo>
                  <a:lnTo>
                    <a:pt x="2436" y="338"/>
                  </a:lnTo>
                  <a:lnTo>
                    <a:pt x="2440" y="332"/>
                  </a:lnTo>
                  <a:lnTo>
                    <a:pt x="2448" y="324"/>
                  </a:lnTo>
                  <a:lnTo>
                    <a:pt x="2448" y="324"/>
                  </a:lnTo>
                  <a:lnTo>
                    <a:pt x="2452" y="320"/>
                  </a:lnTo>
                  <a:lnTo>
                    <a:pt x="2454" y="314"/>
                  </a:lnTo>
                  <a:lnTo>
                    <a:pt x="2458" y="300"/>
                  </a:lnTo>
                  <a:lnTo>
                    <a:pt x="2460" y="286"/>
                  </a:lnTo>
                  <a:lnTo>
                    <a:pt x="2460" y="278"/>
                  </a:lnTo>
                  <a:lnTo>
                    <a:pt x="2460" y="278"/>
                  </a:lnTo>
                  <a:lnTo>
                    <a:pt x="2458" y="276"/>
                  </a:lnTo>
                  <a:lnTo>
                    <a:pt x="2456" y="274"/>
                  </a:lnTo>
                  <a:lnTo>
                    <a:pt x="2446" y="270"/>
                  </a:lnTo>
                  <a:lnTo>
                    <a:pt x="2434" y="268"/>
                  </a:lnTo>
                  <a:lnTo>
                    <a:pt x="2426" y="268"/>
                  </a:lnTo>
                  <a:lnTo>
                    <a:pt x="2426" y="268"/>
                  </a:lnTo>
                  <a:lnTo>
                    <a:pt x="2400" y="266"/>
                  </a:lnTo>
                  <a:lnTo>
                    <a:pt x="2374" y="264"/>
                  </a:lnTo>
                  <a:lnTo>
                    <a:pt x="2374" y="264"/>
                  </a:lnTo>
                  <a:lnTo>
                    <a:pt x="2368" y="266"/>
                  </a:lnTo>
                  <a:lnTo>
                    <a:pt x="2364" y="268"/>
                  </a:lnTo>
                  <a:lnTo>
                    <a:pt x="2358" y="280"/>
                  </a:lnTo>
                  <a:lnTo>
                    <a:pt x="2358" y="280"/>
                  </a:lnTo>
                  <a:lnTo>
                    <a:pt x="2350" y="296"/>
                  </a:lnTo>
                  <a:lnTo>
                    <a:pt x="2344" y="306"/>
                  </a:lnTo>
                  <a:lnTo>
                    <a:pt x="2340" y="318"/>
                  </a:lnTo>
                  <a:lnTo>
                    <a:pt x="2340" y="318"/>
                  </a:lnTo>
                  <a:lnTo>
                    <a:pt x="2338" y="324"/>
                  </a:lnTo>
                  <a:lnTo>
                    <a:pt x="2334" y="330"/>
                  </a:lnTo>
                  <a:lnTo>
                    <a:pt x="2324" y="338"/>
                  </a:lnTo>
                  <a:lnTo>
                    <a:pt x="2312" y="342"/>
                  </a:lnTo>
                  <a:lnTo>
                    <a:pt x="2304" y="346"/>
                  </a:lnTo>
                  <a:lnTo>
                    <a:pt x="2304" y="346"/>
                  </a:lnTo>
                  <a:lnTo>
                    <a:pt x="2298" y="350"/>
                  </a:lnTo>
                  <a:lnTo>
                    <a:pt x="2294" y="358"/>
                  </a:lnTo>
                  <a:lnTo>
                    <a:pt x="2292" y="364"/>
                  </a:lnTo>
                  <a:lnTo>
                    <a:pt x="2292" y="370"/>
                  </a:lnTo>
                  <a:lnTo>
                    <a:pt x="2292" y="370"/>
                  </a:lnTo>
                  <a:lnTo>
                    <a:pt x="2296" y="374"/>
                  </a:lnTo>
                  <a:lnTo>
                    <a:pt x="2300" y="374"/>
                  </a:lnTo>
                  <a:lnTo>
                    <a:pt x="2304" y="374"/>
                  </a:lnTo>
                  <a:lnTo>
                    <a:pt x="2308" y="374"/>
                  </a:lnTo>
                  <a:lnTo>
                    <a:pt x="2308" y="374"/>
                  </a:lnTo>
                  <a:lnTo>
                    <a:pt x="2310" y="378"/>
                  </a:lnTo>
                  <a:lnTo>
                    <a:pt x="2310" y="384"/>
                  </a:lnTo>
                  <a:lnTo>
                    <a:pt x="2308" y="392"/>
                  </a:lnTo>
                  <a:lnTo>
                    <a:pt x="2304" y="396"/>
                  </a:lnTo>
                  <a:lnTo>
                    <a:pt x="2304" y="396"/>
                  </a:lnTo>
                  <a:lnTo>
                    <a:pt x="2304" y="398"/>
                  </a:lnTo>
                  <a:lnTo>
                    <a:pt x="2306" y="402"/>
                  </a:lnTo>
                  <a:lnTo>
                    <a:pt x="2306" y="404"/>
                  </a:lnTo>
                  <a:lnTo>
                    <a:pt x="2304" y="408"/>
                  </a:lnTo>
                  <a:lnTo>
                    <a:pt x="2304" y="408"/>
                  </a:lnTo>
                  <a:lnTo>
                    <a:pt x="2298" y="412"/>
                  </a:lnTo>
                  <a:lnTo>
                    <a:pt x="2294" y="418"/>
                  </a:lnTo>
                  <a:lnTo>
                    <a:pt x="2292" y="422"/>
                  </a:lnTo>
                  <a:lnTo>
                    <a:pt x="2294" y="428"/>
                  </a:lnTo>
                  <a:lnTo>
                    <a:pt x="2294" y="428"/>
                  </a:lnTo>
                  <a:lnTo>
                    <a:pt x="2300" y="430"/>
                  </a:lnTo>
                  <a:lnTo>
                    <a:pt x="2308" y="434"/>
                  </a:lnTo>
                  <a:lnTo>
                    <a:pt x="2318" y="436"/>
                  </a:lnTo>
                  <a:lnTo>
                    <a:pt x="2326" y="440"/>
                  </a:lnTo>
                  <a:lnTo>
                    <a:pt x="2326" y="440"/>
                  </a:lnTo>
                  <a:lnTo>
                    <a:pt x="2330" y="444"/>
                  </a:lnTo>
                  <a:lnTo>
                    <a:pt x="2332" y="448"/>
                  </a:lnTo>
                  <a:lnTo>
                    <a:pt x="2334" y="454"/>
                  </a:lnTo>
                  <a:lnTo>
                    <a:pt x="2338" y="462"/>
                  </a:lnTo>
                  <a:lnTo>
                    <a:pt x="2338" y="462"/>
                  </a:lnTo>
                  <a:lnTo>
                    <a:pt x="2342" y="466"/>
                  </a:lnTo>
                  <a:lnTo>
                    <a:pt x="2348" y="466"/>
                  </a:lnTo>
                  <a:lnTo>
                    <a:pt x="2352" y="468"/>
                  </a:lnTo>
                  <a:lnTo>
                    <a:pt x="2354" y="470"/>
                  </a:lnTo>
                  <a:lnTo>
                    <a:pt x="2354" y="470"/>
                  </a:lnTo>
                  <a:lnTo>
                    <a:pt x="2354" y="472"/>
                  </a:lnTo>
                  <a:lnTo>
                    <a:pt x="2354" y="476"/>
                  </a:lnTo>
                  <a:lnTo>
                    <a:pt x="2350" y="484"/>
                  </a:lnTo>
                  <a:lnTo>
                    <a:pt x="2342" y="492"/>
                  </a:lnTo>
                  <a:lnTo>
                    <a:pt x="2338" y="496"/>
                  </a:lnTo>
                  <a:lnTo>
                    <a:pt x="2338" y="496"/>
                  </a:lnTo>
                  <a:lnTo>
                    <a:pt x="2330" y="494"/>
                  </a:lnTo>
                  <a:lnTo>
                    <a:pt x="2322" y="486"/>
                  </a:lnTo>
                  <a:lnTo>
                    <a:pt x="2304" y="470"/>
                  </a:lnTo>
                  <a:lnTo>
                    <a:pt x="2304" y="470"/>
                  </a:lnTo>
                  <a:lnTo>
                    <a:pt x="2296" y="466"/>
                  </a:lnTo>
                  <a:lnTo>
                    <a:pt x="2284" y="462"/>
                  </a:lnTo>
                  <a:lnTo>
                    <a:pt x="2260" y="452"/>
                  </a:lnTo>
                  <a:lnTo>
                    <a:pt x="2260" y="452"/>
                  </a:lnTo>
                  <a:lnTo>
                    <a:pt x="2252" y="448"/>
                  </a:lnTo>
                  <a:lnTo>
                    <a:pt x="2242" y="446"/>
                  </a:lnTo>
                  <a:lnTo>
                    <a:pt x="2234" y="442"/>
                  </a:lnTo>
                  <a:lnTo>
                    <a:pt x="2224" y="436"/>
                  </a:lnTo>
                  <a:lnTo>
                    <a:pt x="2224" y="436"/>
                  </a:lnTo>
                  <a:lnTo>
                    <a:pt x="2214" y="430"/>
                  </a:lnTo>
                  <a:lnTo>
                    <a:pt x="2204" y="426"/>
                  </a:lnTo>
                  <a:lnTo>
                    <a:pt x="2190" y="424"/>
                  </a:lnTo>
                  <a:lnTo>
                    <a:pt x="2174" y="424"/>
                  </a:lnTo>
                  <a:lnTo>
                    <a:pt x="2174" y="424"/>
                  </a:lnTo>
                  <a:lnTo>
                    <a:pt x="2156" y="422"/>
                  </a:lnTo>
                  <a:lnTo>
                    <a:pt x="2142" y="420"/>
                  </a:lnTo>
                  <a:lnTo>
                    <a:pt x="2132" y="420"/>
                  </a:lnTo>
                  <a:lnTo>
                    <a:pt x="2124" y="418"/>
                  </a:lnTo>
                  <a:lnTo>
                    <a:pt x="2124" y="418"/>
                  </a:lnTo>
                  <a:lnTo>
                    <a:pt x="2120" y="418"/>
                  </a:lnTo>
                  <a:lnTo>
                    <a:pt x="2116" y="414"/>
                  </a:lnTo>
                  <a:lnTo>
                    <a:pt x="2112" y="410"/>
                  </a:lnTo>
                  <a:lnTo>
                    <a:pt x="2104" y="404"/>
                  </a:lnTo>
                  <a:lnTo>
                    <a:pt x="2104" y="404"/>
                  </a:lnTo>
                  <a:lnTo>
                    <a:pt x="2086" y="394"/>
                  </a:lnTo>
                  <a:lnTo>
                    <a:pt x="2078" y="392"/>
                  </a:lnTo>
                  <a:lnTo>
                    <a:pt x="2072" y="394"/>
                  </a:lnTo>
                  <a:lnTo>
                    <a:pt x="2072" y="394"/>
                  </a:lnTo>
                  <a:lnTo>
                    <a:pt x="2068" y="396"/>
                  </a:lnTo>
                  <a:lnTo>
                    <a:pt x="2066" y="398"/>
                  </a:lnTo>
                  <a:lnTo>
                    <a:pt x="2066" y="406"/>
                  </a:lnTo>
                  <a:lnTo>
                    <a:pt x="2070" y="412"/>
                  </a:lnTo>
                  <a:lnTo>
                    <a:pt x="2074" y="414"/>
                  </a:lnTo>
                  <a:lnTo>
                    <a:pt x="2078" y="416"/>
                  </a:lnTo>
                  <a:lnTo>
                    <a:pt x="2078" y="416"/>
                  </a:lnTo>
                  <a:lnTo>
                    <a:pt x="2086" y="418"/>
                  </a:lnTo>
                  <a:lnTo>
                    <a:pt x="2088" y="420"/>
                  </a:lnTo>
                  <a:lnTo>
                    <a:pt x="2092" y="424"/>
                  </a:lnTo>
                  <a:lnTo>
                    <a:pt x="2098" y="424"/>
                  </a:lnTo>
                  <a:lnTo>
                    <a:pt x="2098" y="424"/>
                  </a:lnTo>
                  <a:lnTo>
                    <a:pt x="2108" y="424"/>
                  </a:lnTo>
                  <a:lnTo>
                    <a:pt x="2112" y="426"/>
                  </a:lnTo>
                  <a:lnTo>
                    <a:pt x="2116" y="430"/>
                  </a:lnTo>
                  <a:lnTo>
                    <a:pt x="2116" y="436"/>
                  </a:lnTo>
                  <a:lnTo>
                    <a:pt x="2116" y="436"/>
                  </a:lnTo>
                  <a:lnTo>
                    <a:pt x="2118" y="442"/>
                  </a:lnTo>
                  <a:lnTo>
                    <a:pt x="2120" y="448"/>
                  </a:lnTo>
                  <a:lnTo>
                    <a:pt x="2128" y="458"/>
                  </a:lnTo>
                  <a:lnTo>
                    <a:pt x="2128" y="458"/>
                  </a:lnTo>
                  <a:lnTo>
                    <a:pt x="2132" y="464"/>
                  </a:lnTo>
                  <a:lnTo>
                    <a:pt x="2130" y="468"/>
                  </a:lnTo>
                  <a:lnTo>
                    <a:pt x="2128" y="472"/>
                  </a:lnTo>
                  <a:lnTo>
                    <a:pt x="2120" y="474"/>
                  </a:lnTo>
                  <a:lnTo>
                    <a:pt x="2120" y="474"/>
                  </a:lnTo>
                  <a:lnTo>
                    <a:pt x="2112" y="474"/>
                  </a:lnTo>
                  <a:lnTo>
                    <a:pt x="2106" y="476"/>
                  </a:lnTo>
                  <a:lnTo>
                    <a:pt x="2102" y="478"/>
                  </a:lnTo>
                  <a:lnTo>
                    <a:pt x="2100" y="480"/>
                  </a:lnTo>
                  <a:lnTo>
                    <a:pt x="2102" y="484"/>
                  </a:lnTo>
                  <a:lnTo>
                    <a:pt x="2102" y="484"/>
                  </a:lnTo>
                  <a:lnTo>
                    <a:pt x="2104" y="488"/>
                  </a:lnTo>
                  <a:lnTo>
                    <a:pt x="2100" y="490"/>
                  </a:lnTo>
                  <a:lnTo>
                    <a:pt x="2096" y="490"/>
                  </a:lnTo>
                  <a:lnTo>
                    <a:pt x="2088" y="488"/>
                  </a:lnTo>
                  <a:lnTo>
                    <a:pt x="2088" y="488"/>
                  </a:lnTo>
                  <a:lnTo>
                    <a:pt x="2082" y="486"/>
                  </a:lnTo>
                  <a:lnTo>
                    <a:pt x="2082" y="480"/>
                  </a:lnTo>
                  <a:lnTo>
                    <a:pt x="2084" y="476"/>
                  </a:lnTo>
                  <a:lnTo>
                    <a:pt x="2088" y="472"/>
                  </a:lnTo>
                  <a:lnTo>
                    <a:pt x="2088" y="472"/>
                  </a:lnTo>
                  <a:lnTo>
                    <a:pt x="2088" y="470"/>
                  </a:lnTo>
                  <a:lnTo>
                    <a:pt x="2088" y="470"/>
                  </a:lnTo>
                  <a:lnTo>
                    <a:pt x="2084" y="466"/>
                  </a:lnTo>
                  <a:lnTo>
                    <a:pt x="2072" y="460"/>
                  </a:lnTo>
                  <a:lnTo>
                    <a:pt x="2072" y="460"/>
                  </a:lnTo>
                  <a:lnTo>
                    <a:pt x="2068" y="460"/>
                  </a:lnTo>
                  <a:lnTo>
                    <a:pt x="2062" y="462"/>
                  </a:lnTo>
                  <a:lnTo>
                    <a:pt x="2050" y="468"/>
                  </a:lnTo>
                  <a:lnTo>
                    <a:pt x="2030" y="482"/>
                  </a:lnTo>
                  <a:lnTo>
                    <a:pt x="2030" y="482"/>
                  </a:lnTo>
                  <a:lnTo>
                    <a:pt x="2022" y="482"/>
                  </a:lnTo>
                  <a:lnTo>
                    <a:pt x="2010" y="480"/>
                  </a:lnTo>
                  <a:lnTo>
                    <a:pt x="1998" y="480"/>
                  </a:lnTo>
                  <a:lnTo>
                    <a:pt x="1984" y="482"/>
                  </a:lnTo>
                  <a:lnTo>
                    <a:pt x="1984" y="482"/>
                  </a:lnTo>
                  <a:lnTo>
                    <a:pt x="1976" y="484"/>
                  </a:lnTo>
                  <a:lnTo>
                    <a:pt x="1972" y="486"/>
                  </a:lnTo>
                  <a:lnTo>
                    <a:pt x="1966" y="492"/>
                  </a:lnTo>
                  <a:lnTo>
                    <a:pt x="1962" y="498"/>
                  </a:lnTo>
                  <a:lnTo>
                    <a:pt x="1960" y="500"/>
                  </a:lnTo>
                  <a:lnTo>
                    <a:pt x="1958" y="500"/>
                  </a:lnTo>
                  <a:lnTo>
                    <a:pt x="1958" y="500"/>
                  </a:lnTo>
                  <a:lnTo>
                    <a:pt x="1940" y="500"/>
                  </a:lnTo>
                  <a:lnTo>
                    <a:pt x="1930" y="500"/>
                  </a:lnTo>
                  <a:lnTo>
                    <a:pt x="1922" y="496"/>
                  </a:lnTo>
                  <a:lnTo>
                    <a:pt x="1922" y="496"/>
                  </a:lnTo>
                  <a:lnTo>
                    <a:pt x="1918" y="494"/>
                  </a:lnTo>
                  <a:lnTo>
                    <a:pt x="1918" y="492"/>
                  </a:lnTo>
                  <a:lnTo>
                    <a:pt x="1922" y="490"/>
                  </a:lnTo>
                  <a:lnTo>
                    <a:pt x="1928" y="490"/>
                  </a:lnTo>
                  <a:lnTo>
                    <a:pt x="1928" y="490"/>
                  </a:lnTo>
                  <a:lnTo>
                    <a:pt x="1934" y="490"/>
                  </a:lnTo>
                  <a:lnTo>
                    <a:pt x="1936" y="488"/>
                  </a:lnTo>
                  <a:lnTo>
                    <a:pt x="1936" y="486"/>
                  </a:lnTo>
                  <a:lnTo>
                    <a:pt x="1934" y="482"/>
                  </a:lnTo>
                  <a:lnTo>
                    <a:pt x="1934" y="482"/>
                  </a:lnTo>
                  <a:lnTo>
                    <a:pt x="1934" y="480"/>
                  </a:lnTo>
                  <a:lnTo>
                    <a:pt x="1934" y="476"/>
                  </a:lnTo>
                  <a:lnTo>
                    <a:pt x="1936" y="472"/>
                  </a:lnTo>
                  <a:lnTo>
                    <a:pt x="1940" y="466"/>
                  </a:lnTo>
                  <a:lnTo>
                    <a:pt x="1940" y="462"/>
                  </a:lnTo>
                  <a:lnTo>
                    <a:pt x="1940" y="462"/>
                  </a:lnTo>
                  <a:lnTo>
                    <a:pt x="1940" y="462"/>
                  </a:lnTo>
                  <a:lnTo>
                    <a:pt x="1936" y="462"/>
                  </a:lnTo>
                  <a:lnTo>
                    <a:pt x="1924" y="466"/>
                  </a:lnTo>
                  <a:lnTo>
                    <a:pt x="1912" y="470"/>
                  </a:lnTo>
                  <a:lnTo>
                    <a:pt x="1904" y="474"/>
                  </a:lnTo>
                  <a:lnTo>
                    <a:pt x="1904" y="474"/>
                  </a:lnTo>
                  <a:lnTo>
                    <a:pt x="1902" y="478"/>
                  </a:lnTo>
                  <a:lnTo>
                    <a:pt x="1900" y="482"/>
                  </a:lnTo>
                  <a:lnTo>
                    <a:pt x="1900" y="486"/>
                  </a:lnTo>
                  <a:lnTo>
                    <a:pt x="1898" y="490"/>
                  </a:lnTo>
                  <a:lnTo>
                    <a:pt x="1898" y="490"/>
                  </a:lnTo>
                  <a:lnTo>
                    <a:pt x="1894" y="490"/>
                  </a:lnTo>
                  <a:lnTo>
                    <a:pt x="1892" y="488"/>
                  </a:lnTo>
                  <a:lnTo>
                    <a:pt x="1890" y="484"/>
                  </a:lnTo>
                  <a:lnTo>
                    <a:pt x="1886" y="482"/>
                  </a:lnTo>
                  <a:lnTo>
                    <a:pt x="1886" y="482"/>
                  </a:lnTo>
                  <a:lnTo>
                    <a:pt x="1874" y="482"/>
                  </a:lnTo>
                  <a:lnTo>
                    <a:pt x="1856" y="486"/>
                  </a:lnTo>
                  <a:lnTo>
                    <a:pt x="1836" y="492"/>
                  </a:lnTo>
                  <a:lnTo>
                    <a:pt x="1828" y="496"/>
                  </a:lnTo>
                  <a:lnTo>
                    <a:pt x="1824" y="500"/>
                  </a:lnTo>
                  <a:lnTo>
                    <a:pt x="1824" y="500"/>
                  </a:lnTo>
                  <a:lnTo>
                    <a:pt x="1816" y="506"/>
                  </a:lnTo>
                  <a:lnTo>
                    <a:pt x="1808" y="510"/>
                  </a:lnTo>
                  <a:lnTo>
                    <a:pt x="1800" y="514"/>
                  </a:lnTo>
                  <a:lnTo>
                    <a:pt x="1798" y="514"/>
                  </a:lnTo>
                  <a:lnTo>
                    <a:pt x="1798" y="516"/>
                  </a:lnTo>
                  <a:lnTo>
                    <a:pt x="1798" y="516"/>
                  </a:lnTo>
                  <a:lnTo>
                    <a:pt x="1796" y="518"/>
                  </a:lnTo>
                  <a:lnTo>
                    <a:pt x="1794" y="520"/>
                  </a:lnTo>
                  <a:lnTo>
                    <a:pt x="1786" y="522"/>
                  </a:lnTo>
                  <a:lnTo>
                    <a:pt x="1776" y="524"/>
                  </a:lnTo>
                  <a:lnTo>
                    <a:pt x="1768" y="526"/>
                  </a:lnTo>
                  <a:lnTo>
                    <a:pt x="1768" y="526"/>
                  </a:lnTo>
                  <a:lnTo>
                    <a:pt x="1766" y="528"/>
                  </a:lnTo>
                  <a:lnTo>
                    <a:pt x="1764" y="530"/>
                  </a:lnTo>
                  <a:lnTo>
                    <a:pt x="1762" y="538"/>
                  </a:lnTo>
                  <a:lnTo>
                    <a:pt x="1762" y="548"/>
                  </a:lnTo>
                  <a:lnTo>
                    <a:pt x="1762" y="554"/>
                  </a:lnTo>
                  <a:lnTo>
                    <a:pt x="1762" y="554"/>
                  </a:lnTo>
                  <a:lnTo>
                    <a:pt x="1760" y="556"/>
                  </a:lnTo>
                  <a:lnTo>
                    <a:pt x="1754" y="558"/>
                  </a:lnTo>
                  <a:lnTo>
                    <a:pt x="1742" y="560"/>
                  </a:lnTo>
                  <a:lnTo>
                    <a:pt x="1716" y="560"/>
                  </a:lnTo>
                  <a:lnTo>
                    <a:pt x="1716" y="560"/>
                  </a:lnTo>
                  <a:lnTo>
                    <a:pt x="1712" y="560"/>
                  </a:lnTo>
                  <a:lnTo>
                    <a:pt x="1708" y="558"/>
                  </a:lnTo>
                  <a:lnTo>
                    <a:pt x="1704" y="550"/>
                  </a:lnTo>
                  <a:lnTo>
                    <a:pt x="1698" y="544"/>
                  </a:lnTo>
                  <a:lnTo>
                    <a:pt x="1696" y="542"/>
                  </a:lnTo>
                  <a:lnTo>
                    <a:pt x="1694" y="540"/>
                  </a:lnTo>
                  <a:lnTo>
                    <a:pt x="1694" y="540"/>
                  </a:lnTo>
                  <a:lnTo>
                    <a:pt x="1692" y="538"/>
                  </a:lnTo>
                  <a:lnTo>
                    <a:pt x="1690" y="538"/>
                  </a:lnTo>
                  <a:lnTo>
                    <a:pt x="1690" y="532"/>
                  </a:lnTo>
                  <a:lnTo>
                    <a:pt x="1692" y="522"/>
                  </a:lnTo>
                  <a:lnTo>
                    <a:pt x="1692" y="522"/>
                  </a:lnTo>
                  <a:lnTo>
                    <a:pt x="1696" y="520"/>
                  </a:lnTo>
                  <a:lnTo>
                    <a:pt x="1700" y="520"/>
                  </a:lnTo>
                  <a:lnTo>
                    <a:pt x="1704" y="518"/>
                  </a:lnTo>
                  <a:lnTo>
                    <a:pt x="1712" y="516"/>
                  </a:lnTo>
                  <a:lnTo>
                    <a:pt x="1712" y="516"/>
                  </a:lnTo>
                  <a:lnTo>
                    <a:pt x="1716" y="514"/>
                  </a:lnTo>
                  <a:lnTo>
                    <a:pt x="1720" y="512"/>
                  </a:lnTo>
                  <a:lnTo>
                    <a:pt x="1726" y="514"/>
                  </a:lnTo>
                  <a:lnTo>
                    <a:pt x="1732" y="516"/>
                  </a:lnTo>
                  <a:lnTo>
                    <a:pt x="1736" y="514"/>
                  </a:lnTo>
                  <a:lnTo>
                    <a:pt x="1736" y="514"/>
                  </a:lnTo>
                  <a:lnTo>
                    <a:pt x="1736" y="512"/>
                  </a:lnTo>
                  <a:lnTo>
                    <a:pt x="1736" y="510"/>
                  </a:lnTo>
                  <a:lnTo>
                    <a:pt x="1730" y="504"/>
                  </a:lnTo>
                  <a:lnTo>
                    <a:pt x="1722" y="496"/>
                  </a:lnTo>
                  <a:lnTo>
                    <a:pt x="1720" y="492"/>
                  </a:lnTo>
                  <a:lnTo>
                    <a:pt x="1720" y="488"/>
                  </a:lnTo>
                  <a:lnTo>
                    <a:pt x="1720" y="488"/>
                  </a:lnTo>
                  <a:lnTo>
                    <a:pt x="1718" y="484"/>
                  </a:lnTo>
                  <a:lnTo>
                    <a:pt x="1716" y="482"/>
                  </a:lnTo>
                  <a:lnTo>
                    <a:pt x="1706" y="478"/>
                  </a:lnTo>
                  <a:lnTo>
                    <a:pt x="1694" y="476"/>
                  </a:lnTo>
                  <a:lnTo>
                    <a:pt x="1684" y="478"/>
                  </a:lnTo>
                  <a:lnTo>
                    <a:pt x="1684" y="478"/>
                  </a:lnTo>
                  <a:lnTo>
                    <a:pt x="1676" y="480"/>
                  </a:lnTo>
                  <a:lnTo>
                    <a:pt x="1666" y="480"/>
                  </a:lnTo>
                  <a:lnTo>
                    <a:pt x="1658" y="478"/>
                  </a:lnTo>
                  <a:lnTo>
                    <a:pt x="1650" y="474"/>
                  </a:lnTo>
                  <a:lnTo>
                    <a:pt x="1650" y="474"/>
                  </a:lnTo>
                  <a:lnTo>
                    <a:pt x="1646" y="474"/>
                  </a:lnTo>
                  <a:lnTo>
                    <a:pt x="1646" y="478"/>
                  </a:lnTo>
                  <a:lnTo>
                    <a:pt x="1648" y="482"/>
                  </a:lnTo>
                  <a:lnTo>
                    <a:pt x="1656" y="486"/>
                  </a:lnTo>
                  <a:lnTo>
                    <a:pt x="1656" y="486"/>
                  </a:lnTo>
                  <a:lnTo>
                    <a:pt x="1660" y="486"/>
                  </a:lnTo>
                  <a:lnTo>
                    <a:pt x="1662" y="488"/>
                  </a:lnTo>
                  <a:lnTo>
                    <a:pt x="1664" y="494"/>
                  </a:lnTo>
                  <a:lnTo>
                    <a:pt x="1664" y="498"/>
                  </a:lnTo>
                  <a:lnTo>
                    <a:pt x="1664" y="504"/>
                  </a:lnTo>
                  <a:lnTo>
                    <a:pt x="1664" y="504"/>
                  </a:lnTo>
                  <a:lnTo>
                    <a:pt x="1664" y="510"/>
                  </a:lnTo>
                  <a:lnTo>
                    <a:pt x="1662" y="518"/>
                  </a:lnTo>
                  <a:lnTo>
                    <a:pt x="1658" y="526"/>
                  </a:lnTo>
                  <a:lnTo>
                    <a:pt x="1654" y="534"/>
                  </a:lnTo>
                  <a:lnTo>
                    <a:pt x="1654" y="534"/>
                  </a:lnTo>
                  <a:lnTo>
                    <a:pt x="1650" y="540"/>
                  </a:lnTo>
                  <a:lnTo>
                    <a:pt x="1650" y="544"/>
                  </a:lnTo>
                  <a:lnTo>
                    <a:pt x="1656" y="544"/>
                  </a:lnTo>
                  <a:lnTo>
                    <a:pt x="1662" y="544"/>
                  </a:lnTo>
                  <a:lnTo>
                    <a:pt x="1662" y="544"/>
                  </a:lnTo>
                  <a:lnTo>
                    <a:pt x="1666" y="544"/>
                  </a:lnTo>
                  <a:lnTo>
                    <a:pt x="1668" y="546"/>
                  </a:lnTo>
                  <a:lnTo>
                    <a:pt x="1672" y="552"/>
                  </a:lnTo>
                  <a:lnTo>
                    <a:pt x="1672" y="560"/>
                  </a:lnTo>
                  <a:lnTo>
                    <a:pt x="1672" y="568"/>
                  </a:lnTo>
                  <a:lnTo>
                    <a:pt x="1672" y="568"/>
                  </a:lnTo>
                  <a:lnTo>
                    <a:pt x="1670" y="574"/>
                  </a:lnTo>
                  <a:lnTo>
                    <a:pt x="1668" y="580"/>
                  </a:lnTo>
                  <a:lnTo>
                    <a:pt x="1666" y="584"/>
                  </a:lnTo>
                  <a:lnTo>
                    <a:pt x="1664" y="590"/>
                  </a:lnTo>
                  <a:lnTo>
                    <a:pt x="1664" y="590"/>
                  </a:lnTo>
                  <a:lnTo>
                    <a:pt x="1664" y="592"/>
                  </a:lnTo>
                  <a:lnTo>
                    <a:pt x="1662" y="592"/>
                  </a:lnTo>
                  <a:lnTo>
                    <a:pt x="1658" y="590"/>
                  </a:lnTo>
                  <a:lnTo>
                    <a:pt x="1656" y="588"/>
                  </a:lnTo>
                  <a:lnTo>
                    <a:pt x="1652" y="588"/>
                  </a:lnTo>
                  <a:lnTo>
                    <a:pt x="1652" y="588"/>
                  </a:lnTo>
                  <a:lnTo>
                    <a:pt x="1650" y="590"/>
                  </a:lnTo>
                  <a:lnTo>
                    <a:pt x="1648" y="588"/>
                  </a:lnTo>
                  <a:lnTo>
                    <a:pt x="1644" y="580"/>
                  </a:lnTo>
                  <a:lnTo>
                    <a:pt x="1644" y="580"/>
                  </a:lnTo>
                  <a:lnTo>
                    <a:pt x="1642" y="578"/>
                  </a:lnTo>
                  <a:lnTo>
                    <a:pt x="1640" y="578"/>
                  </a:lnTo>
                  <a:lnTo>
                    <a:pt x="1634" y="576"/>
                  </a:lnTo>
                  <a:lnTo>
                    <a:pt x="1624" y="576"/>
                  </a:lnTo>
                  <a:lnTo>
                    <a:pt x="1616" y="576"/>
                  </a:lnTo>
                  <a:lnTo>
                    <a:pt x="1616" y="576"/>
                  </a:lnTo>
                  <a:lnTo>
                    <a:pt x="1610" y="574"/>
                  </a:lnTo>
                  <a:lnTo>
                    <a:pt x="1606" y="576"/>
                  </a:lnTo>
                  <a:lnTo>
                    <a:pt x="1602" y="580"/>
                  </a:lnTo>
                  <a:lnTo>
                    <a:pt x="1600" y="584"/>
                  </a:lnTo>
                  <a:lnTo>
                    <a:pt x="1600" y="584"/>
                  </a:lnTo>
                  <a:lnTo>
                    <a:pt x="1594" y="588"/>
                  </a:lnTo>
                  <a:lnTo>
                    <a:pt x="1588" y="592"/>
                  </a:lnTo>
                  <a:lnTo>
                    <a:pt x="1576" y="594"/>
                  </a:lnTo>
                  <a:lnTo>
                    <a:pt x="1576" y="594"/>
                  </a:lnTo>
                  <a:lnTo>
                    <a:pt x="1568" y="596"/>
                  </a:lnTo>
                  <a:lnTo>
                    <a:pt x="1562" y="602"/>
                  </a:lnTo>
                  <a:lnTo>
                    <a:pt x="1548" y="614"/>
                  </a:lnTo>
                  <a:lnTo>
                    <a:pt x="1548" y="614"/>
                  </a:lnTo>
                  <a:lnTo>
                    <a:pt x="1544" y="618"/>
                  </a:lnTo>
                  <a:lnTo>
                    <a:pt x="1544" y="624"/>
                  </a:lnTo>
                  <a:lnTo>
                    <a:pt x="1544" y="630"/>
                  </a:lnTo>
                  <a:lnTo>
                    <a:pt x="1550" y="636"/>
                  </a:lnTo>
                  <a:lnTo>
                    <a:pt x="1550" y="636"/>
                  </a:lnTo>
                  <a:lnTo>
                    <a:pt x="1556" y="644"/>
                  </a:lnTo>
                  <a:lnTo>
                    <a:pt x="1560" y="650"/>
                  </a:lnTo>
                  <a:lnTo>
                    <a:pt x="1562" y="654"/>
                  </a:lnTo>
                  <a:lnTo>
                    <a:pt x="1562" y="658"/>
                  </a:lnTo>
                  <a:lnTo>
                    <a:pt x="1562" y="658"/>
                  </a:lnTo>
                  <a:lnTo>
                    <a:pt x="1560" y="660"/>
                  </a:lnTo>
                  <a:lnTo>
                    <a:pt x="1556" y="662"/>
                  </a:lnTo>
                  <a:lnTo>
                    <a:pt x="1546" y="662"/>
                  </a:lnTo>
                  <a:lnTo>
                    <a:pt x="1536" y="660"/>
                  </a:lnTo>
                  <a:lnTo>
                    <a:pt x="1530" y="656"/>
                  </a:lnTo>
                  <a:lnTo>
                    <a:pt x="1530" y="656"/>
                  </a:lnTo>
                  <a:lnTo>
                    <a:pt x="1524" y="652"/>
                  </a:lnTo>
                  <a:lnTo>
                    <a:pt x="1516" y="650"/>
                  </a:lnTo>
                  <a:lnTo>
                    <a:pt x="1508" y="650"/>
                  </a:lnTo>
                  <a:lnTo>
                    <a:pt x="1500" y="650"/>
                  </a:lnTo>
                  <a:lnTo>
                    <a:pt x="1500" y="650"/>
                  </a:lnTo>
                  <a:lnTo>
                    <a:pt x="1498" y="650"/>
                  </a:lnTo>
                  <a:lnTo>
                    <a:pt x="1494" y="648"/>
                  </a:lnTo>
                  <a:lnTo>
                    <a:pt x="1486" y="642"/>
                  </a:lnTo>
                  <a:lnTo>
                    <a:pt x="1478" y="634"/>
                  </a:lnTo>
                  <a:lnTo>
                    <a:pt x="1470" y="632"/>
                  </a:lnTo>
                  <a:lnTo>
                    <a:pt x="1470" y="632"/>
                  </a:lnTo>
                  <a:lnTo>
                    <a:pt x="1464" y="632"/>
                  </a:lnTo>
                  <a:lnTo>
                    <a:pt x="1460" y="636"/>
                  </a:lnTo>
                  <a:lnTo>
                    <a:pt x="1454" y="646"/>
                  </a:lnTo>
                  <a:lnTo>
                    <a:pt x="1454" y="646"/>
                  </a:lnTo>
                  <a:lnTo>
                    <a:pt x="1452" y="650"/>
                  </a:lnTo>
                  <a:lnTo>
                    <a:pt x="1454" y="654"/>
                  </a:lnTo>
                  <a:lnTo>
                    <a:pt x="1458" y="656"/>
                  </a:lnTo>
                  <a:lnTo>
                    <a:pt x="1462" y="662"/>
                  </a:lnTo>
                  <a:lnTo>
                    <a:pt x="1462" y="662"/>
                  </a:lnTo>
                  <a:lnTo>
                    <a:pt x="1466" y="668"/>
                  </a:lnTo>
                  <a:lnTo>
                    <a:pt x="1474" y="670"/>
                  </a:lnTo>
                  <a:lnTo>
                    <a:pt x="1488" y="672"/>
                  </a:lnTo>
                  <a:lnTo>
                    <a:pt x="1488" y="672"/>
                  </a:lnTo>
                  <a:lnTo>
                    <a:pt x="1490" y="672"/>
                  </a:lnTo>
                  <a:lnTo>
                    <a:pt x="1492" y="674"/>
                  </a:lnTo>
                  <a:lnTo>
                    <a:pt x="1494" y="678"/>
                  </a:lnTo>
                  <a:lnTo>
                    <a:pt x="1492" y="684"/>
                  </a:lnTo>
                  <a:lnTo>
                    <a:pt x="1490" y="688"/>
                  </a:lnTo>
                  <a:lnTo>
                    <a:pt x="1490" y="688"/>
                  </a:lnTo>
                  <a:lnTo>
                    <a:pt x="1486" y="692"/>
                  </a:lnTo>
                  <a:lnTo>
                    <a:pt x="1480" y="694"/>
                  </a:lnTo>
                  <a:lnTo>
                    <a:pt x="1474" y="694"/>
                  </a:lnTo>
                  <a:lnTo>
                    <a:pt x="1470" y="692"/>
                  </a:lnTo>
                  <a:lnTo>
                    <a:pt x="1470" y="692"/>
                  </a:lnTo>
                  <a:lnTo>
                    <a:pt x="1464" y="690"/>
                  </a:lnTo>
                  <a:lnTo>
                    <a:pt x="1458" y="688"/>
                  </a:lnTo>
                  <a:lnTo>
                    <a:pt x="1452" y="688"/>
                  </a:lnTo>
                  <a:lnTo>
                    <a:pt x="1450" y="686"/>
                  </a:lnTo>
                  <a:lnTo>
                    <a:pt x="1448" y="684"/>
                  </a:lnTo>
                  <a:lnTo>
                    <a:pt x="1448" y="684"/>
                  </a:lnTo>
                  <a:lnTo>
                    <a:pt x="1446" y="680"/>
                  </a:lnTo>
                  <a:lnTo>
                    <a:pt x="1440" y="674"/>
                  </a:lnTo>
                  <a:lnTo>
                    <a:pt x="1432" y="672"/>
                  </a:lnTo>
                  <a:lnTo>
                    <a:pt x="1424" y="670"/>
                  </a:lnTo>
                  <a:lnTo>
                    <a:pt x="1424" y="670"/>
                  </a:lnTo>
                  <a:lnTo>
                    <a:pt x="1416" y="670"/>
                  </a:lnTo>
                  <a:lnTo>
                    <a:pt x="1412" y="668"/>
                  </a:lnTo>
                  <a:lnTo>
                    <a:pt x="1410" y="662"/>
                  </a:lnTo>
                  <a:lnTo>
                    <a:pt x="1410" y="656"/>
                  </a:lnTo>
                  <a:lnTo>
                    <a:pt x="1410" y="656"/>
                  </a:lnTo>
                  <a:lnTo>
                    <a:pt x="1408" y="648"/>
                  </a:lnTo>
                  <a:lnTo>
                    <a:pt x="1406" y="644"/>
                  </a:lnTo>
                  <a:lnTo>
                    <a:pt x="1404" y="638"/>
                  </a:lnTo>
                  <a:lnTo>
                    <a:pt x="1404" y="636"/>
                  </a:lnTo>
                  <a:lnTo>
                    <a:pt x="1404" y="636"/>
                  </a:lnTo>
                  <a:lnTo>
                    <a:pt x="1402" y="626"/>
                  </a:lnTo>
                  <a:lnTo>
                    <a:pt x="1402" y="622"/>
                  </a:lnTo>
                  <a:lnTo>
                    <a:pt x="1404" y="618"/>
                  </a:lnTo>
                  <a:lnTo>
                    <a:pt x="1404" y="618"/>
                  </a:lnTo>
                  <a:lnTo>
                    <a:pt x="1406" y="614"/>
                  </a:lnTo>
                  <a:lnTo>
                    <a:pt x="1408" y="610"/>
                  </a:lnTo>
                  <a:lnTo>
                    <a:pt x="1406" y="600"/>
                  </a:lnTo>
                  <a:lnTo>
                    <a:pt x="1406" y="600"/>
                  </a:lnTo>
                  <a:lnTo>
                    <a:pt x="1404" y="596"/>
                  </a:lnTo>
                  <a:lnTo>
                    <a:pt x="1400" y="590"/>
                  </a:lnTo>
                  <a:lnTo>
                    <a:pt x="1392" y="586"/>
                  </a:lnTo>
                  <a:lnTo>
                    <a:pt x="1384" y="584"/>
                  </a:lnTo>
                  <a:lnTo>
                    <a:pt x="1384" y="584"/>
                  </a:lnTo>
                  <a:lnTo>
                    <a:pt x="1380" y="584"/>
                  </a:lnTo>
                  <a:lnTo>
                    <a:pt x="1376" y="580"/>
                  </a:lnTo>
                  <a:lnTo>
                    <a:pt x="1374" y="576"/>
                  </a:lnTo>
                  <a:lnTo>
                    <a:pt x="1368" y="572"/>
                  </a:lnTo>
                  <a:lnTo>
                    <a:pt x="1368" y="572"/>
                  </a:lnTo>
                  <a:lnTo>
                    <a:pt x="1360" y="570"/>
                  </a:lnTo>
                  <a:lnTo>
                    <a:pt x="1352" y="564"/>
                  </a:lnTo>
                  <a:lnTo>
                    <a:pt x="1346" y="556"/>
                  </a:lnTo>
                  <a:lnTo>
                    <a:pt x="1342" y="550"/>
                  </a:lnTo>
                  <a:lnTo>
                    <a:pt x="1342" y="550"/>
                  </a:lnTo>
                  <a:lnTo>
                    <a:pt x="1340" y="548"/>
                  </a:lnTo>
                  <a:lnTo>
                    <a:pt x="1334" y="544"/>
                  </a:lnTo>
                  <a:lnTo>
                    <a:pt x="1332" y="544"/>
                  </a:lnTo>
                  <a:lnTo>
                    <a:pt x="1332" y="542"/>
                  </a:lnTo>
                  <a:lnTo>
                    <a:pt x="1332" y="542"/>
                  </a:lnTo>
                  <a:lnTo>
                    <a:pt x="1332" y="542"/>
                  </a:lnTo>
                  <a:lnTo>
                    <a:pt x="1336" y="542"/>
                  </a:lnTo>
                  <a:lnTo>
                    <a:pt x="1342" y="542"/>
                  </a:lnTo>
                  <a:lnTo>
                    <a:pt x="1348" y="546"/>
                  </a:lnTo>
                  <a:lnTo>
                    <a:pt x="1354" y="550"/>
                  </a:lnTo>
                  <a:lnTo>
                    <a:pt x="1354" y="550"/>
                  </a:lnTo>
                  <a:lnTo>
                    <a:pt x="1360" y="556"/>
                  </a:lnTo>
                  <a:lnTo>
                    <a:pt x="1368" y="560"/>
                  </a:lnTo>
                  <a:lnTo>
                    <a:pt x="1378" y="564"/>
                  </a:lnTo>
                  <a:lnTo>
                    <a:pt x="1392" y="566"/>
                  </a:lnTo>
                  <a:lnTo>
                    <a:pt x="1392" y="566"/>
                  </a:lnTo>
                  <a:lnTo>
                    <a:pt x="1404" y="568"/>
                  </a:lnTo>
                  <a:lnTo>
                    <a:pt x="1414" y="574"/>
                  </a:lnTo>
                  <a:lnTo>
                    <a:pt x="1426" y="578"/>
                  </a:lnTo>
                  <a:lnTo>
                    <a:pt x="1440" y="580"/>
                  </a:lnTo>
                  <a:lnTo>
                    <a:pt x="1440" y="580"/>
                  </a:lnTo>
                  <a:lnTo>
                    <a:pt x="1502" y="592"/>
                  </a:lnTo>
                  <a:lnTo>
                    <a:pt x="1502" y="592"/>
                  </a:lnTo>
                  <a:lnTo>
                    <a:pt x="1514" y="592"/>
                  </a:lnTo>
                  <a:lnTo>
                    <a:pt x="1526" y="590"/>
                  </a:lnTo>
                  <a:lnTo>
                    <a:pt x="1538" y="584"/>
                  </a:lnTo>
                  <a:lnTo>
                    <a:pt x="1550" y="578"/>
                  </a:lnTo>
                  <a:lnTo>
                    <a:pt x="1570" y="566"/>
                  </a:lnTo>
                  <a:lnTo>
                    <a:pt x="1582" y="556"/>
                  </a:lnTo>
                  <a:lnTo>
                    <a:pt x="1582" y="556"/>
                  </a:lnTo>
                  <a:lnTo>
                    <a:pt x="1584" y="554"/>
                  </a:lnTo>
                  <a:lnTo>
                    <a:pt x="1586" y="550"/>
                  </a:lnTo>
                  <a:lnTo>
                    <a:pt x="1584" y="540"/>
                  </a:lnTo>
                  <a:lnTo>
                    <a:pt x="1582" y="532"/>
                  </a:lnTo>
                  <a:lnTo>
                    <a:pt x="1580" y="524"/>
                  </a:lnTo>
                  <a:lnTo>
                    <a:pt x="1580" y="524"/>
                  </a:lnTo>
                  <a:lnTo>
                    <a:pt x="1578" y="520"/>
                  </a:lnTo>
                  <a:lnTo>
                    <a:pt x="1572" y="518"/>
                  </a:lnTo>
                  <a:lnTo>
                    <a:pt x="1568" y="516"/>
                  </a:lnTo>
                  <a:lnTo>
                    <a:pt x="1564" y="512"/>
                  </a:lnTo>
                  <a:lnTo>
                    <a:pt x="1564" y="512"/>
                  </a:lnTo>
                  <a:lnTo>
                    <a:pt x="1562" y="508"/>
                  </a:lnTo>
                  <a:lnTo>
                    <a:pt x="1556" y="504"/>
                  </a:lnTo>
                  <a:lnTo>
                    <a:pt x="1550" y="500"/>
                  </a:lnTo>
                  <a:lnTo>
                    <a:pt x="1542" y="498"/>
                  </a:lnTo>
                  <a:lnTo>
                    <a:pt x="1542" y="498"/>
                  </a:lnTo>
                  <a:lnTo>
                    <a:pt x="1538" y="498"/>
                  </a:lnTo>
                  <a:lnTo>
                    <a:pt x="1534" y="496"/>
                  </a:lnTo>
                  <a:lnTo>
                    <a:pt x="1530" y="492"/>
                  </a:lnTo>
                  <a:lnTo>
                    <a:pt x="1524" y="488"/>
                  </a:lnTo>
                  <a:lnTo>
                    <a:pt x="1522" y="486"/>
                  </a:lnTo>
                  <a:lnTo>
                    <a:pt x="1518" y="486"/>
                  </a:lnTo>
                  <a:lnTo>
                    <a:pt x="1518" y="486"/>
                  </a:lnTo>
                  <a:lnTo>
                    <a:pt x="1512" y="486"/>
                  </a:lnTo>
                  <a:lnTo>
                    <a:pt x="1504" y="482"/>
                  </a:lnTo>
                  <a:lnTo>
                    <a:pt x="1478" y="466"/>
                  </a:lnTo>
                  <a:lnTo>
                    <a:pt x="1478" y="466"/>
                  </a:lnTo>
                  <a:lnTo>
                    <a:pt x="1460" y="456"/>
                  </a:lnTo>
                  <a:lnTo>
                    <a:pt x="1440" y="446"/>
                  </a:lnTo>
                  <a:lnTo>
                    <a:pt x="1424" y="442"/>
                  </a:lnTo>
                  <a:lnTo>
                    <a:pt x="1416" y="442"/>
                  </a:lnTo>
                  <a:lnTo>
                    <a:pt x="1416" y="442"/>
                  </a:lnTo>
                  <a:lnTo>
                    <a:pt x="1408" y="444"/>
                  </a:lnTo>
                  <a:lnTo>
                    <a:pt x="1404" y="442"/>
                  </a:lnTo>
                  <a:lnTo>
                    <a:pt x="1402" y="440"/>
                  </a:lnTo>
                  <a:lnTo>
                    <a:pt x="1402" y="440"/>
                  </a:lnTo>
                  <a:lnTo>
                    <a:pt x="1398" y="436"/>
                  </a:lnTo>
                  <a:lnTo>
                    <a:pt x="1392" y="436"/>
                  </a:lnTo>
                  <a:lnTo>
                    <a:pt x="1386" y="436"/>
                  </a:lnTo>
                  <a:lnTo>
                    <a:pt x="1382" y="440"/>
                  </a:lnTo>
                  <a:lnTo>
                    <a:pt x="1382" y="440"/>
                  </a:lnTo>
                  <a:lnTo>
                    <a:pt x="1376" y="440"/>
                  </a:lnTo>
                  <a:lnTo>
                    <a:pt x="1370" y="440"/>
                  </a:lnTo>
                  <a:lnTo>
                    <a:pt x="1364" y="438"/>
                  </a:lnTo>
                  <a:lnTo>
                    <a:pt x="1356" y="438"/>
                  </a:lnTo>
                  <a:lnTo>
                    <a:pt x="1356" y="438"/>
                  </a:lnTo>
                  <a:lnTo>
                    <a:pt x="1348" y="438"/>
                  </a:lnTo>
                  <a:lnTo>
                    <a:pt x="1342" y="436"/>
                  </a:lnTo>
                  <a:lnTo>
                    <a:pt x="1340" y="432"/>
                  </a:lnTo>
                  <a:lnTo>
                    <a:pt x="1340" y="428"/>
                  </a:lnTo>
                  <a:lnTo>
                    <a:pt x="1340" y="428"/>
                  </a:lnTo>
                  <a:lnTo>
                    <a:pt x="1346" y="426"/>
                  </a:lnTo>
                  <a:lnTo>
                    <a:pt x="1352" y="426"/>
                  </a:lnTo>
                  <a:lnTo>
                    <a:pt x="1358" y="426"/>
                  </a:lnTo>
                  <a:lnTo>
                    <a:pt x="1360" y="424"/>
                  </a:lnTo>
                  <a:lnTo>
                    <a:pt x="1362" y="422"/>
                  </a:lnTo>
                  <a:lnTo>
                    <a:pt x="1362" y="422"/>
                  </a:lnTo>
                  <a:lnTo>
                    <a:pt x="1360" y="420"/>
                  </a:lnTo>
                  <a:lnTo>
                    <a:pt x="1356" y="420"/>
                  </a:lnTo>
                  <a:lnTo>
                    <a:pt x="1350" y="418"/>
                  </a:lnTo>
                  <a:lnTo>
                    <a:pt x="1342" y="414"/>
                  </a:lnTo>
                  <a:lnTo>
                    <a:pt x="1342" y="414"/>
                  </a:lnTo>
                  <a:lnTo>
                    <a:pt x="1336" y="412"/>
                  </a:lnTo>
                  <a:lnTo>
                    <a:pt x="1330" y="412"/>
                  </a:lnTo>
                  <a:lnTo>
                    <a:pt x="1326" y="414"/>
                  </a:lnTo>
                  <a:lnTo>
                    <a:pt x="1324" y="418"/>
                  </a:lnTo>
                  <a:lnTo>
                    <a:pt x="1324" y="418"/>
                  </a:lnTo>
                  <a:lnTo>
                    <a:pt x="1320" y="422"/>
                  </a:lnTo>
                  <a:lnTo>
                    <a:pt x="1316" y="422"/>
                  </a:lnTo>
                  <a:lnTo>
                    <a:pt x="1312" y="420"/>
                  </a:lnTo>
                  <a:lnTo>
                    <a:pt x="1308" y="418"/>
                  </a:lnTo>
                  <a:lnTo>
                    <a:pt x="1308" y="418"/>
                  </a:lnTo>
                  <a:lnTo>
                    <a:pt x="1302" y="414"/>
                  </a:lnTo>
                  <a:lnTo>
                    <a:pt x="1294" y="414"/>
                  </a:lnTo>
                  <a:lnTo>
                    <a:pt x="1288" y="414"/>
                  </a:lnTo>
                  <a:lnTo>
                    <a:pt x="1286" y="416"/>
                  </a:lnTo>
                  <a:lnTo>
                    <a:pt x="1284" y="418"/>
                  </a:lnTo>
                  <a:lnTo>
                    <a:pt x="1284" y="418"/>
                  </a:lnTo>
                  <a:lnTo>
                    <a:pt x="1282" y="420"/>
                  </a:lnTo>
                  <a:lnTo>
                    <a:pt x="1278" y="422"/>
                  </a:lnTo>
                  <a:lnTo>
                    <a:pt x="1274" y="420"/>
                  </a:lnTo>
                  <a:lnTo>
                    <a:pt x="1272" y="416"/>
                  </a:lnTo>
                  <a:lnTo>
                    <a:pt x="1272" y="416"/>
                  </a:lnTo>
                  <a:lnTo>
                    <a:pt x="1272" y="414"/>
                  </a:lnTo>
                  <a:lnTo>
                    <a:pt x="1270" y="412"/>
                  </a:lnTo>
                  <a:lnTo>
                    <a:pt x="1264" y="408"/>
                  </a:lnTo>
                  <a:lnTo>
                    <a:pt x="1258" y="404"/>
                  </a:lnTo>
                  <a:lnTo>
                    <a:pt x="1256" y="402"/>
                  </a:lnTo>
                  <a:lnTo>
                    <a:pt x="1256" y="402"/>
                  </a:lnTo>
                  <a:lnTo>
                    <a:pt x="1256" y="400"/>
                  </a:lnTo>
                  <a:lnTo>
                    <a:pt x="1260" y="400"/>
                  </a:lnTo>
                  <a:lnTo>
                    <a:pt x="1268" y="404"/>
                  </a:lnTo>
                  <a:lnTo>
                    <a:pt x="1268" y="404"/>
                  </a:lnTo>
                  <a:lnTo>
                    <a:pt x="1274" y="406"/>
                  </a:lnTo>
                  <a:lnTo>
                    <a:pt x="1278" y="404"/>
                  </a:lnTo>
                  <a:lnTo>
                    <a:pt x="1282" y="402"/>
                  </a:lnTo>
                  <a:lnTo>
                    <a:pt x="1286" y="398"/>
                  </a:lnTo>
                  <a:lnTo>
                    <a:pt x="1286" y="398"/>
                  </a:lnTo>
                  <a:lnTo>
                    <a:pt x="1292" y="394"/>
                  </a:lnTo>
                  <a:lnTo>
                    <a:pt x="1298" y="394"/>
                  </a:lnTo>
                  <a:lnTo>
                    <a:pt x="1304" y="394"/>
                  </a:lnTo>
                  <a:lnTo>
                    <a:pt x="1306" y="390"/>
                  </a:lnTo>
                  <a:lnTo>
                    <a:pt x="1306" y="390"/>
                  </a:lnTo>
                  <a:lnTo>
                    <a:pt x="1304" y="386"/>
                  </a:lnTo>
                  <a:lnTo>
                    <a:pt x="1300" y="384"/>
                  </a:lnTo>
                  <a:lnTo>
                    <a:pt x="1292" y="378"/>
                  </a:lnTo>
                  <a:lnTo>
                    <a:pt x="1292" y="378"/>
                  </a:lnTo>
                  <a:lnTo>
                    <a:pt x="1288" y="374"/>
                  </a:lnTo>
                  <a:lnTo>
                    <a:pt x="1284" y="372"/>
                  </a:lnTo>
                  <a:lnTo>
                    <a:pt x="1278" y="370"/>
                  </a:lnTo>
                  <a:lnTo>
                    <a:pt x="1270" y="370"/>
                  </a:lnTo>
                  <a:lnTo>
                    <a:pt x="1270" y="370"/>
                  </a:lnTo>
                  <a:lnTo>
                    <a:pt x="1266" y="370"/>
                  </a:lnTo>
                  <a:lnTo>
                    <a:pt x="1262" y="370"/>
                  </a:lnTo>
                  <a:lnTo>
                    <a:pt x="1256" y="364"/>
                  </a:lnTo>
                  <a:lnTo>
                    <a:pt x="1256" y="364"/>
                  </a:lnTo>
                  <a:lnTo>
                    <a:pt x="1254" y="362"/>
                  </a:lnTo>
                  <a:lnTo>
                    <a:pt x="1250" y="362"/>
                  </a:lnTo>
                  <a:lnTo>
                    <a:pt x="1244" y="364"/>
                  </a:lnTo>
                  <a:lnTo>
                    <a:pt x="1238" y="370"/>
                  </a:lnTo>
                  <a:lnTo>
                    <a:pt x="1236" y="374"/>
                  </a:lnTo>
                  <a:lnTo>
                    <a:pt x="1234" y="378"/>
                  </a:lnTo>
                  <a:lnTo>
                    <a:pt x="1234" y="378"/>
                  </a:lnTo>
                  <a:lnTo>
                    <a:pt x="1234" y="384"/>
                  </a:lnTo>
                  <a:lnTo>
                    <a:pt x="1230" y="386"/>
                  </a:lnTo>
                  <a:lnTo>
                    <a:pt x="1228" y="384"/>
                  </a:lnTo>
                  <a:lnTo>
                    <a:pt x="1228" y="380"/>
                  </a:lnTo>
                  <a:lnTo>
                    <a:pt x="1228" y="380"/>
                  </a:lnTo>
                  <a:lnTo>
                    <a:pt x="1230" y="376"/>
                  </a:lnTo>
                  <a:lnTo>
                    <a:pt x="1228" y="372"/>
                  </a:lnTo>
                  <a:lnTo>
                    <a:pt x="1228" y="368"/>
                  </a:lnTo>
                  <a:lnTo>
                    <a:pt x="1232" y="364"/>
                  </a:lnTo>
                  <a:lnTo>
                    <a:pt x="1232" y="364"/>
                  </a:lnTo>
                  <a:lnTo>
                    <a:pt x="1234" y="364"/>
                  </a:lnTo>
                  <a:lnTo>
                    <a:pt x="1236" y="362"/>
                  </a:lnTo>
                  <a:lnTo>
                    <a:pt x="1234" y="358"/>
                  </a:lnTo>
                  <a:lnTo>
                    <a:pt x="1230" y="352"/>
                  </a:lnTo>
                  <a:lnTo>
                    <a:pt x="1220" y="350"/>
                  </a:lnTo>
                  <a:lnTo>
                    <a:pt x="1220" y="350"/>
                  </a:lnTo>
                  <a:lnTo>
                    <a:pt x="1216" y="350"/>
                  </a:lnTo>
                  <a:lnTo>
                    <a:pt x="1212" y="350"/>
                  </a:lnTo>
                  <a:lnTo>
                    <a:pt x="1206" y="356"/>
                  </a:lnTo>
                  <a:lnTo>
                    <a:pt x="1202" y="360"/>
                  </a:lnTo>
                  <a:lnTo>
                    <a:pt x="1204" y="364"/>
                  </a:lnTo>
                  <a:lnTo>
                    <a:pt x="1204" y="364"/>
                  </a:lnTo>
                  <a:lnTo>
                    <a:pt x="1204" y="368"/>
                  </a:lnTo>
                  <a:lnTo>
                    <a:pt x="1204" y="370"/>
                  </a:lnTo>
                  <a:lnTo>
                    <a:pt x="1200" y="378"/>
                  </a:lnTo>
                  <a:lnTo>
                    <a:pt x="1194" y="384"/>
                  </a:lnTo>
                  <a:lnTo>
                    <a:pt x="1188" y="386"/>
                  </a:lnTo>
                  <a:lnTo>
                    <a:pt x="1188" y="386"/>
                  </a:lnTo>
                  <a:lnTo>
                    <a:pt x="1186" y="386"/>
                  </a:lnTo>
                  <a:lnTo>
                    <a:pt x="1186" y="384"/>
                  </a:lnTo>
                  <a:lnTo>
                    <a:pt x="1186" y="378"/>
                  </a:lnTo>
                  <a:lnTo>
                    <a:pt x="1188" y="370"/>
                  </a:lnTo>
                  <a:lnTo>
                    <a:pt x="1188" y="364"/>
                  </a:lnTo>
                  <a:lnTo>
                    <a:pt x="1188" y="364"/>
                  </a:lnTo>
                  <a:lnTo>
                    <a:pt x="1186" y="360"/>
                  </a:lnTo>
                  <a:lnTo>
                    <a:pt x="1184" y="360"/>
                  </a:lnTo>
                  <a:lnTo>
                    <a:pt x="1170" y="372"/>
                  </a:lnTo>
                  <a:lnTo>
                    <a:pt x="1170" y="372"/>
                  </a:lnTo>
                  <a:lnTo>
                    <a:pt x="1156" y="390"/>
                  </a:lnTo>
                  <a:lnTo>
                    <a:pt x="1150" y="396"/>
                  </a:lnTo>
                  <a:lnTo>
                    <a:pt x="1144" y="398"/>
                  </a:lnTo>
                  <a:lnTo>
                    <a:pt x="1144" y="398"/>
                  </a:lnTo>
                  <a:lnTo>
                    <a:pt x="1142" y="398"/>
                  </a:lnTo>
                  <a:lnTo>
                    <a:pt x="1140" y="398"/>
                  </a:lnTo>
                  <a:lnTo>
                    <a:pt x="1140" y="392"/>
                  </a:lnTo>
                  <a:lnTo>
                    <a:pt x="1144" y="386"/>
                  </a:lnTo>
                  <a:lnTo>
                    <a:pt x="1150" y="382"/>
                  </a:lnTo>
                  <a:lnTo>
                    <a:pt x="1150" y="382"/>
                  </a:lnTo>
                  <a:lnTo>
                    <a:pt x="1156" y="376"/>
                  </a:lnTo>
                  <a:lnTo>
                    <a:pt x="1160" y="368"/>
                  </a:lnTo>
                  <a:lnTo>
                    <a:pt x="1162" y="362"/>
                  </a:lnTo>
                  <a:lnTo>
                    <a:pt x="1164" y="360"/>
                  </a:lnTo>
                  <a:lnTo>
                    <a:pt x="1166" y="360"/>
                  </a:lnTo>
                  <a:lnTo>
                    <a:pt x="1166" y="360"/>
                  </a:lnTo>
                  <a:lnTo>
                    <a:pt x="1170" y="358"/>
                  </a:lnTo>
                  <a:lnTo>
                    <a:pt x="1172" y="356"/>
                  </a:lnTo>
                  <a:lnTo>
                    <a:pt x="1170" y="352"/>
                  </a:lnTo>
                  <a:lnTo>
                    <a:pt x="1164" y="350"/>
                  </a:lnTo>
                  <a:lnTo>
                    <a:pt x="1164" y="350"/>
                  </a:lnTo>
                  <a:lnTo>
                    <a:pt x="1158" y="350"/>
                  </a:lnTo>
                  <a:lnTo>
                    <a:pt x="1154" y="354"/>
                  </a:lnTo>
                  <a:lnTo>
                    <a:pt x="1148" y="362"/>
                  </a:lnTo>
                  <a:lnTo>
                    <a:pt x="1148" y="362"/>
                  </a:lnTo>
                  <a:lnTo>
                    <a:pt x="1144" y="362"/>
                  </a:lnTo>
                  <a:lnTo>
                    <a:pt x="1138" y="360"/>
                  </a:lnTo>
                  <a:lnTo>
                    <a:pt x="1132" y="358"/>
                  </a:lnTo>
                  <a:lnTo>
                    <a:pt x="1130" y="358"/>
                  </a:lnTo>
                  <a:lnTo>
                    <a:pt x="1130" y="360"/>
                  </a:lnTo>
                  <a:lnTo>
                    <a:pt x="1130" y="360"/>
                  </a:lnTo>
                  <a:lnTo>
                    <a:pt x="1128" y="362"/>
                  </a:lnTo>
                  <a:lnTo>
                    <a:pt x="1126" y="364"/>
                  </a:lnTo>
                  <a:lnTo>
                    <a:pt x="1124" y="366"/>
                  </a:lnTo>
                  <a:lnTo>
                    <a:pt x="1124" y="370"/>
                  </a:lnTo>
                  <a:lnTo>
                    <a:pt x="1124" y="370"/>
                  </a:lnTo>
                  <a:lnTo>
                    <a:pt x="1126" y="374"/>
                  </a:lnTo>
                  <a:lnTo>
                    <a:pt x="1124" y="376"/>
                  </a:lnTo>
                  <a:lnTo>
                    <a:pt x="1122" y="378"/>
                  </a:lnTo>
                  <a:lnTo>
                    <a:pt x="1118" y="374"/>
                  </a:lnTo>
                  <a:lnTo>
                    <a:pt x="1118" y="374"/>
                  </a:lnTo>
                  <a:lnTo>
                    <a:pt x="1114" y="370"/>
                  </a:lnTo>
                  <a:lnTo>
                    <a:pt x="1110" y="372"/>
                  </a:lnTo>
                  <a:lnTo>
                    <a:pt x="1104" y="374"/>
                  </a:lnTo>
                  <a:lnTo>
                    <a:pt x="1100" y="380"/>
                  </a:lnTo>
                  <a:lnTo>
                    <a:pt x="1100" y="380"/>
                  </a:lnTo>
                  <a:lnTo>
                    <a:pt x="1096" y="384"/>
                  </a:lnTo>
                  <a:lnTo>
                    <a:pt x="1092" y="388"/>
                  </a:lnTo>
                  <a:lnTo>
                    <a:pt x="1092" y="390"/>
                  </a:lnTo>
                  <a:lnTo>
                    <a:pt x="1094" y="390"/>
                  </a:lnTo>
                  <a:lnTo>
                    <a:pt x="1094" y="390"/>
                  </a:lnTo>
                  <a:lnTo>
                    <a:pt x="1096" y="394"/>
                  </a:lnTo>
                  <a:lnTo>
                    <a:pt x="1096" y="398"/>
                  </a:lnTo>
                  <a:lnTo>
                    <a:pt x="1094" y="404"/>
                  </a:lnTo>
                  <a:lnTo>
                    <a:pt x="1090" y="406"/>
                  </a:lnTo>
                  <a:lnTo>
                    <a:pt x="1090" y="406"/>
                  </a:lnTo>
                  <a:lnTo>
                    <a:pt x="1088" y="406"/>
                  </a:lnTo>
                  <a:lnTo>
                    <a:pt x="1086" y="404"/>
                  </a:lnTo>
                  <a:lnTo>
                    <a:pt x="1084" y="398"/>
                  </a:lnTo>
                  <a:lnTo>
                    <a:pt x="1084" y="390"/>
                  </a:lnTo>
                  <a:lnTo>
                    <a:pt x="1082" y="390"/>
                  </a:lnTo>
                  <a:lnTo>
                    <a:pt x="1080" y="388"/>
                  </a:lnTo>
                  <a:lnTo>
                    <a:pt x="1080" y="388"/>
                  </a:lnTo>
                  <a:lnTo>
                    <a:pt x="1078" y="388"/>
                  </a:lnTo>
                  <a:lnTo>
                    <a:pt x="1078" y="388"/>
                  </a:lnTo>
                  <a:lnTo>
                    <a:pt x="1078" y="384"/>
                  </a:lnTo>
                  <a:lnTo>
                    <a:pt x="1080" y="380"/>
                  </a:lnTo>
                  <a:lnTo>
                    <a:pt x="1086" y="378"/>
                  </a:lnTo>
                  <a:lnTo>
                    <a:pt x="1086" y="378"/>
                  </a:lnTo>
                  <a:lnTo>
                    <a:pt x="1092" y="376"/>
                  </a:lnTo>
                  <a:lnTo>
                    <a:pt x="1096" y="372"/>
                  </a:lnTo>
                  <a:lnTo>
                    <a:pt x="1100" y="368"/>
                  </a:lnTo>
                  <a:lnTo>
                    <a:pt x="1100" y="364"/>
                  </a:lnTo>
                  <a:lnTo>
                    <a:pt x="1100" y="364"/>
                  </a:lnTo>
                  <a:lnTo>
                    <a:pt x="1098" y="362"/>
                  </a:lnTo>
                  <a:lnTo>
                    <a:pt x="1096" y="362"/>
                  </a:lnTo>
                  <a:lnTo>
                    <a:pt x="1092" y="364"/>
                  </a:lnTo>
                  <a:lnTo>
                    <a:pt x="1090" y="366"/>
                  </a:lnTo>
                  <a:lnTo>
                    <a:pt x="1090" y="366"/>
                  </a:lnTo>
                  <a:lnTo>
                    <a:pt x="1088" y="370"/>
                  </a:lnTo>
                  <a:lnTo>
                    <a:pt x="1084" y="372"/>
                  </a:lnTo>
                  <a:lnTo>
                    <a:pt x="1068" y="372"/>
                  </a:lnTo>
                  <a:lnTo>
                    <a:pt x="1068" y="372"/>
                  </a:lnTo>
                  <a:lnTo>
                    <a:pt x="1066" y="372"/>
                  </a:lnTo>
                  <a:lnTo>
                    <a:pt x="1062" y="372"/>
                  </a:lnTo>
                  <a:lnTo>
                    <a:pt x="1062" y="378"/>
                  </a:lnTo>
                  <a:lnTo>
                    <a:pt x="1064" y="384"/>
                  </a:lnTo>
                  <a:lnTo>
                    <a:pt x="1070" y="390"/>
                  </a:lnTo>
                  <a:lnTo>
                    <a:pt x="1070" y="390"/>
                  </a:lnTo>
                  <a:lnTo>
                    <a:pt x="1074" y="392"/>
                  </a:lnTo>
                  <a:lnTo>
                    <a:pt x="1074" y="394"/>
                  </a:lnTo>
                  <a:lnTo>
                    <a:pt x="1074" y="396"/>
                  </a:lnTo>
                  <a:lnTo>
                    <a:pt x="1072" y="396"/>
                  </a:lnTo>
                  <a:lnTo>
                    <a:pt x="1068" y="396"/>
                  </a:lnTo>
                  <a:lnTo>
                    <a:pt x="1062" y="394"/>
                  </a:lnTo>
                  <a:lnTo>
                    <a:pt x="1062" y="394"/>
                  </a:lnTo>
                  <a:lnTo>
                    <a:pt x="1058" y="392"/>
                  </a:lnTo>
                  <a:lnTo>
                    <a:pt x="1052" y="392"/>
                  </a:lnTo>
                  <a:lnTo>
                    <a:pt x="1042" y="396"/>
                  </a:lnTo>
                  <a:lnTo>
                    <a:pt x="1042" y="396"/>
                  </a:lnTo>
                  <a:lnTo>
                    <a:pt x="1040" y="396"/>
                  </a:lnTo>
                  <a:lnTo>
                    <a:pt x="1042" y="398"/>
                  </a:lnTo>
                  <a:lnTo>
                    <a:pt x="1048" y="402"/>
                  </a:lnTo>
                  <a:lnTo>
                    <a:pt x="1054" y="406"/>
                  </a:lnTo>
                  <a:lnTo>
                    <a:pt x="1058" y="408"/>
                  </a:lnTo>
                  <a:lnTo>
                    <a:pt x="1058" y="408"/>
                  </a:lnTo>
                  <a:lnTo>
                    <a:pt x="1058" y="410"/>
                  </a:lnTo>
                  <a:lnTo>
                    <a:pt x="1056" y="410"/>
                  </a:lnTo>
                  <a:lnTo>
                    <a:pt x="1052" y="408"/>
                  </a:lnTo>
                  <a:lnTo>
                    <a:pt x="1048" y="406"/>
                  </a:lnTo>
                  <a:lnTo>
                    <a:pt x="1044" y="408"/>
                  </a:lnTo>
                  <a:lnTo>
                    <a:pt x="1044" y="408"/>
                  </a:lnTo>
                  <a:lnTo>
                    <a:pt x="1042" y="408"/>
                  </a:lnTo>
                  <a:lnTo>
                    <a:pt x="1036" y="406"/>
                  </a:lnTo>
                  <a:lnTo>
                    <a:pt x="1032" y="404"/>
                  </a:lnTo>
                  <a:lnTo>
                    <a:pt x="1030" y="398"/>
                  </a:lnTo>
                  <a:lnTo>
                    <a:pt x="1030" y="398"/>
                  </a:lnTo>
                  <a:lnTo>
                    <a:pt x="1028" y="396"/>
                  </a:lnTo>
                  <a:lnTo>
                    <a:pt x="1026" y="396"/>
                  </a:lnTo>
                  <a:lnTo>
                    <a:pt x="1022" y="398"/>
                  </a:lnTo>
                  <a:lnTo>
                    <a:pt x="1018" y="400"/>
                  </a:lnTo>
                  <a:lnTo>
                    <a:pt x="1018" y="402"/>
                  </a:lnTo>
                  <a:lnTo>
                    <a:pt x="1022" y="404"/>
                  </a:lnTo>
                  <a:lnTo>
                    <a:pt x="1022" y="404"/>
                  </a:lnTo>
                  <a:lnTo>
                    <a:pt x="1026" y="406"/>
                  </a:lnTo>
                  <a:lnTo>
                    <a:pt x="1028" y="410"/>
                  </a:lnTo>
                  <a:lnTo>
                    <a:pt x="1028" y="422"/>
                  </a:lnTo>
                  <a:lnTo>
                    <a:pt x="1028" y="422"/>
                  </a:lnTo>
                  <a:lnTo>
                    <a:pt x="1026" y="424"/>
                  </a:lnTo>
                  <a:lnTo>
                    <a:pt x="1026" y="426"/>
                  </a:lnTo>
                  <a:lnTo>
                    <a:pt x="1022" y="424"/>
                  </a:lnTo>
                  <a:lnTo>
                    <a:pt x="1018" y="422"/>
                  </a:lnTo>
                  <a:lnTo>
                    <a:pt x="1018" y="416"/>
                  </a:lnTo>
                  <a:lnTo>
                    <a:pt x="1018" y="416"/>
                  </a:lnTo>
                  <a:lnTo>
                    <a:pt x="1018" y="412"/>
                  </a:lnTo>
                  <a:lnTo>
                    <a:pt x="1014" y="410"/>
                  </a:lnTo>
                  <a:lnTo>
                    <a:pt x="1010" y="412"/>
                  </a:lnTo>
                  <a:lnTo>
                    <a:pt x="1002" y="414"/>
                  </a:lnTo>
                  <a:lnTo>
                    <a:pt x="1002" y="414"/>
                  </a:lnTo>
                  <a:lnTo>
                    <a:pt x="1000" y="416"/>
                  </a:lnTo>
                  <a:lnTo>
                    <a:pt x="1000" y="416"/>
                  </a:lnTo>
                  <a:lnTo>
                    <a:pt x="1000" y="412"/>
                  </a:lnTo>
                  <a:lnTo>
                    <a:pt x="1002" y="404"/>
                  </a:lnTo>
                  <a:lnTo>
                    <a:pt x="1000" y="398"/>
                  </a:lnTo>
                  <a:lnTo>
                    <a:pt x="1000" y="398"/>
                  </a:lnTo>
                  <a:lnTo>
                    <a:pt x="998" y="396"/>
                  </a:lnTo>
                  <a:lnTo>
                    <a:pt x="994" y="396"/>
                  </a:lnTo>
                  <a:lnTo>
                    <a:pt x="982" y="400"/>
                  </a:lnTo>
                  <a:lnTo>
                    <a:pt x="982" y="400"/>
                  </a:lnTo>
                  <a:lnTo>
                    <a:pt x="972" y="402"/>
                  </a:lnTo>
                  <a:lnTo>
                    <a:pt x="972" y="404"/>
                  </a:lnTo>
                  <a:lnTo>
                    <a:pt x="974" y="408"/>
                  </a:lnTo>
                  <a:lnTo>
                    <a:pt x="974" y="408"/>
                  </a:lnTo>
                  <a:lnTo>
                    <a:pt x="978" y="412"/>
                  </a:lnTo>
                  <a:lnTo>
                    <a:pt x="978" y="416"/>
                  </a:lnTo>
                  <a:lnTo>
                    <a:pt x="976" y="420"/>
                  </a:lnTo>
                  <a:lnTo>
                    <a:pt x="972" y="420"/>
                  </a:lnTo>
                  <a:lnTo>
                    <a:pt x="972" y="420"/>
                  </a:lnTo>
                  <a:lnTo>
                    <a:pt x="968" y="420"/>
                  </a:lnTo>
                  <a:lnTo>
                    <a:pt x="964" y="420"/>
                  </a:lnTo>
                  <a:lnTo>
                    <a:pt x="964" y="424"/>
                  </a:lnTo>
                  <a:lnTo>
                    <a:pt x="962" y="428"/>
                  </a:lnTo>
                  <a:lnTo>
                    <a:pt x="962" y="428"/>
                  </a:lnTo>
                  <a:lnTo>
                    <a:pt x="962" y="430"/>
                  </a:lnTo>
                  <a:lnTo>
                    <a:pt x="958" y="432"/>
                  </a:lnTo>
                  <a:lnTo>
                    <a:pt x="956" y="432"/>
                  </a:lnTo>
                  <a:lnTo>
                    <a:pt x="954" y="428"/>
                  </a:lnTo>
                  <a:lnTo>
                    <a:pt x="954" y="428"/>
                  </a:lnTo>
                  <a:lnTo>
                    <a:pt x="952" y="426"/>
                  </a:lnTo>
                  <a:lnTo>
                    <a:pt x="950" y="426"/>
                  </a:lnTo>
                  <a:lnTo>
                    <a:pt x="946" y="424"/>
                  </a:lnTo>
                  <a:lnTo>
                    <a:pt x="940" y="426"/>
                  </a:lnTo>
                  <a:lnTo>
                    <a:pt x="934" y="430"/>
                  </a:lnTo>
                  <a:lnTo>
                    <a:pt x="934" y="430"/>
                  </a:lnTo>
                  <a:lnTo>
                    <a:pt x="930" y="436"/>
                  </a:lnTo>
                  <a:lnTo>
                    <a:pt x="926" y="440"/>
                  </a:lnTo>
                  <a:lnTo>
                    <a:pt x="922" y="444"/>
                  </a:lnTo>
                  <a:lnTo>
                    <a:pt x="920" y="450"/>
                  </a:lnTo>
                  <a:lnTo>
                    <a:pt x="920" y="450"/>
                  </a:lnTo>
                  <a:lnTo>
                    <a:pt x="922" y="452"/>
                  </a:lnTo>
                  <a:lnTo>
                    <a:pt x="922" y="452"/>
                  </a:lnTo>
                  <a:lnTo>
                    <a:pt x="928" y="450"/>
                  </a:lnTo>
                  <a:lnTo>
                    <a:pt x="932" y="448"/>
                  </a:lnTo>
                  <a:lnTo>
                    <a:pt x="938" y="448"/>
                  </a:lnTo>
                  <a:lnTo>
                    <a:pt x="938" y="448"/>
                  </a:lnTo>
                  <a:lnTo>
                    <a:pt x="942" y="450"/>
                  </a:lnTo>
                  <a:lnTo>
                    <a:pt x="942" y="452"/>
                  </a:lnTo>
                  <a:lnTo>
                    <a:pt x="940" y="454"/>
                  </a:lnTo>
                  <a:lnTo>
                    <a:pt x="942" y="458"/>
                  </a:lnTo>
                  <a:lnTo>
                    <a:pt x="942" y="458"/>
                  </a:lnTo>
                  <a:lnTo>
                    <a:pt x="944" y="462"/>
                  </a:lnTo>
                  <a:lnTo>
                    <a:pt x="944" y="464"/>
                  </a:lnTo>
                  <a:lnTo>
                    <a:pt x="942" y="466"/>
                  </a:lnTo>
                  <a:lnTo>
                    <a:pt x="940" y="464"/>
                  </a:lnTo>
                  <a:lnTo>
                    <a:pt x="940" y="464"/>
                  </a:lnTo>
                  <a:lnTo>
                    <a:pt x="934" y="462"/>
                  </a:lnTo>
                  <a:lnTo>
                    <a:pt x="930" y="460"/>
                  </a:lnTo>
                  <a:lnTo>
                    <a:pt x="928" y="462"/>
                  </a:lnTo>
                  <a:lnTo>
                    <a:pt x="926" y="466"/>
                  </a:lnTo>
                  <a:lnTo>
                    <a:pt x="926" y="466"/>
                  </a:lnTo>
                  <a:lnTo>
                    <a:pt x="924" y="470"/>
                  </a:lnTo>
                  <a:lnTo>
                    <a:pt x="920" y="468"/>
                  </a:lnTo>
                  <a:lnTo>
                    <a:pt x="914" y="460"/>
                  </a:lnTo>
                  <a:lnTo>
                    <a:pt x="914" y="460"/>
                  </a:lnTo>
                  <a:lnTo>
                    <a:pt x="912" y="458"/>
                  </a:lnTo>
                  <a:lnTo>
                    <a:pt x="910" y="458"/>
                  </a:lnTo>
                  <a:lnTo>
                    <a:pt x="906" y="462"/>
                  </a:lnTo>
                  <a:lnTo>
                    <a:pt x="902" y="466"/>
                  </a:lnTo>
                  <a:lnTo>
                    <a:pt x="900" y="468"/>
                  </a:lnTo>
                  <a:lnTo>
                    <a:pt x="898" y="466"/>
                  </a:lnTo>
                  <a:lnTo>
                    <a:pt x="898" y="466"/>
                  </a:lnTo>
                  <a:lnTo>
                    <a:pt x="898" y="464"/>
                  </a:lnTo>
                  <a:lnTo>
                    <a:pt x="898" y="462"/>
                  </a:lnTo>
                  <a:lnTo>
                    <a:pt x="900" y="456"/>
                  </a:lnTo>
                  <a:lnTo>
                    <a:pt x="904" y="450"/>
                  </a:lnTo>
                  <a:lnTo>
                    <a:pt x="906" y="446"/>
                  </a:lnTo>
                  <a:lnTo>
                    <a:pt x="904" y="444"/>
                  </a:lnTo>
                  <a:lnTo>
                    <a:pt x="904" y="444"/>
                  </a:lnTo>
                  <a:lnTo>
                    <a:pt x="902" y="442"/>
                  </a:lnTo>
                  <a:lnTo>
                    <a:pt x="898" y="444"/>
                  </a:lnTo>
                  <a:lnTo>
                    <a:pt x="888" y="456"/>
                  </a:lnTo>
                  <a:lnTo>
                    <a:pt x="888" y="456"/>
                  </a:lnTo>
                  <a:lnTo>
                    <a:pt x="882" y="462"/>
                  </a:lnTo>
                  <a:lnTo>
                    <a:pt x="874" y="466"/>
                  </a:lnTo>
                  <a:lnTo>
                    <a:pt x="870" y="468"/>
                  </a:lnTo>
                  <a:lnTo>
                    <a:pt x="870" y="468"/>
                  </a:lnTo>
                  <a:lnTo>
                    <a:pt x="872" y="470"/>
                  </a:lnTo>
                  <a:lnTo>
                    <a:pt x="872" y="470"/>
                  </a:lnTo>
                  <a:lnTo>
                    <a:pt x="872" y="472"/>
                  </a:lnTo>
                  <a:lnTo>
                    <a:pt x="872" y="474"/>
                  </a:lnTo>
                  <a:lnTo>
                    <a:pt x="868" y="476"/>
                  </a:lnTo>
                  <a:lnTo>
                    <a:pt x="862" y="480"/>
                  </a:lnTo>
                  <a:lnTo>
                    <a:pt x="860" y="484"/>
                  </a:lnTo>
                  <a:lnTo>
                    <a:pt x="860" y="484"/>
                  </a:lnTo>
                  <a:lnTo>
                    <a:pt x="858" y="488"/>
                  </a:lnTo>
                  <a:lnTo>
                    <a:pt x="854" y="490"/>
                  </a:lnTo>
                  <a:lnTo>
                    <a:pt x="846" y="494"/>
                  </a:lnTo>
                  <a:lnTo>
                    <a:pt x="836" y="498"/>
                  </a:lnTo>
                  <a:lnTo>
                    <a:pt x="826" y="504"/>
                  </a:lnTo>
                  <a:lnTo>
                    <a:pt x="826" y="504"/>
                  </a:lnTo>
                  <a:lnTo>
                    <a:pt x="822" y="508"/>
                  </a:lnTo>
                  <a:lnTo>
                    <a:pt x="822" y="510"/>
                  </a:lnTo>
                  <a:lnTo>
                    <a:pt x="824" y="510"/>
                  </a:lnTo>
                  <a:lnTo>
                    <a:pt x="830" y="508"/>
                  </a:lnTo>
                  <a:lnTo>
                    <a:pt x="836" y="504"/>
                  </a:lnTo>
                  <a:lnTo>
                    <a:pt x="836" y="504"/>
                  </a:lnTo>
                  <a:lnTo>
                    <a:pt x="840" y="500"/>
                  </a:lnTo>
                  <a:lnTo>
                    <a:pt x="844" y="498"/>
                  </a:lnTo>
                  <a:lnTo>
                    <a:pt x="848" y="498"/>
                  </a:lnTo>
                  <a:lnTo>
                    <a:pt x="856" y="494"/>
                  </a:lnTo>
                  <a:lnTo>
                    <a:pt x="856" y="494"/>
                  </a:lnTo>
                  <a:lnTo>
                    <a:pt x="872" y="486"/>
                  </a:lnTo>
                  <a:lnTo>
                    <a:pt x="878" y="484"/>
                  </a:lnTo>
                  <a:lnTo>
                    <a:pt x="882" y="484"/>
                  </a:lnTo>
                  <a:lnTo>
                    <a:pt x="882" y="484"/>
                  </a:lnTo>
                  <a:lnTo>
                    <a:pt x="886" y="486"/>
                  </a:lnTo>
                  <a:lnTo>
                    <a:pt x="890" y="486"/>
                  </a:lnTo>
                  <a:lnTo>
                    <a:pt x="894" y="486"/>
                  </a:lnTo>
                  <a:lnTo>
                    <a:pt x="898" y="482"/>
                  </a:lnTo>
                  <a:lnTo>
                    <a:pt x="898" y="482"/>
                  </a:lnTo>
                  <a:lnTo>
                    <a:pt x="902" y="478"/>
                  </a:lnTo>
                  <a:lnTo>
                    <a:pt x="906" y="476"/>
                  </a:lnTo>
                  <a:lnTo>
                    <a:pt x="910" y="478"/>
                  </a:lnTo>
                  <a:lnTo>
                    <a:pt x="916" y="480"/>
                  </a:lnTo>
                  <a:lnTo>
                    <a:pt x="916" y="480"/>
                  </a:lnTo>
                  <a:lnTo>
                    <a:pt x="916" y="482"/>
                  </a:lnTo>
                  <a:lnTo>
                    <a:pt x="916" y="484"/>
                  </a:lnTo>
                  <a:lnTo>
                    <a:pt x="914" y="488"/>
                  </a:lnTo>
                  <a:lnTo>
                    <a:pt x="912" y="490"/>
                  </a:lnTo>
                  <a:lnTo>
                    <a:pt x="912" y="492"/>
                  </a:lnTo>
                  <a:lnTo>
                    <a:pt x="912" y="496"/>
                  </a:lnTo>
                  <a:lnTo>
                    <a:pt x="912" y="496"/>
                  </a:lnTo>
                  <a:lnTo>
                    <a:pt x="914" y="498"/>
                  </a:lnTo>
                  <a:lnTo>
                    <a:pt x="914" y="500"/>
                  </a:lnTo>
                  <a:lnTo>
                    <a:pt x="912" y="502"/>
                  </a:lnTo>
                  <a:lnTo>
                    <a:pt x="908" y="502"/>
                  </a:lnTo>
                  <a:lnTo>
                    <a:pt x="906" y="502"/>
                  </a:lnTo>
                  <a:lnTo>
                    <a:pt x="904" y="500"/>
                  </a:lnTo>
                  <a:lnTo>
                    <a:pt x="904" y="500"/>
                  </a:lnTo>
                  <a:lnTo>
                    <a:pt x="904" y="496"/>
                  </a:lnTo>
                  <a:lnTo>
                    <a:pt x="900" y="492"/>
                  </a:lnTo>
                  <a:lnTo>
                    <a:pt x="896" y="492"/>
                  </a:lnTo>
                  <a:lnTo>
                    <a:pt x="894" y="494"/>
                  </a:lnTo>
                  <a:lnTo>
                    <a:pt x="894" y="494"/>
                  </a:lnTo>
                  <a:lnTo>
                    <a:pt x="888" y="502"/>
                  </a:lnTo>
                  <a:lnTo>
                    <a:pt x="886" y="504"/>
                  </a:lnTo>
                  <a:lnTo>
                    <a:pt x="882" y="506"/>
                  </a:lnTo>
                  <a:lnTo>
                    <a:pt x="882" y="506"/>
                  </a:lnTo>
                  <a:lnTo>
                    <a:pt x="878" y="508"/>
                  </a:lnTo>
                  <a:lnTo>
                    <a:pt x="874" y="512"/>
                  </a:lnTo>
                  <a:lnTo>
                    <a:pt x="872" y="518"/>
                  </a:lnTo>
                  <a:lnTo>
                    <a:pt x="870" y="526"/>
                  </a:lnTo>
                  <a:lnTo>
                    <a:pt x="870" y="526"/>
                  </a:lnTo>
                  <a:lnTo>
                    <a:pt x="868" y="530"/>
                  </a:lnTo>
                  <a:lnTo>
                    <a:pt x="866" y="530"/>
                  </a:lnTo>
                  <a:lnTo>
                    <a:pt x="862" y="530"/>
                  </a:lnTo>
                  <a:lnTo>
                    <a:pt x="860" y="532"/>
                  </a:lnTo>
                  <a:lnTo>
                    <a:pt x="860" y="534"/>
                  </a:lnTo>
                  <a:lnTo>
                    <a:pt x="860" y="534"/>
                  </a:lnTo>
                  <a:lnTo>
                    <a:pt x="858" y="542"/>
                  </a:lnTo>
                  <a:lnTo>
                    <a:pt x="852" y="550"/>
                  </a:lnTo>
                  <a:lnTo>
                    <a:pt x="836" y="568"/>
                  </a:lnTo>
                  <a:lnTo>
                    <a:pt x="836" y="568"/>
                  </a:lnTo>
                  <a:lnTo>
                    <a:pt x="830" y="574"/>
                  </a:lnTo>
                  <a:lnTo>
                    <a:pt x="830" y="580"/>
                  </a:lnTo>
                  <a:lnTo>
                    <a:pt x="832" y="584"/>
                  </a:lnTo>
                  <a:lnTo>
                    <a:pt x="830" y="588"/>
                  </a:lnTo>
                  <a:lnTo>
                    <a:pt x="830" y="588"/>
                  </a:lnTo>
                  <a:lnTo>
                    <a:pt x="830" y="590"/>
                  </a:lnTo>
                  <a:lnTo>
                    <a:pt x="826" y="592"/>
                  </a:lnTo>
                  <a:lnTo>
                    <a:pt x="820" y="592"/>
                  </a:lnTo>
                  <a:lnTo>
                    <a:pt x="814" y="592"/>
                  </a:lnTo>
                  <a:lnTo>
                    <a:pt x="810" y="592"/>
                  </a:lnTo>
                  <a:lnTo>
                    <a:pt x="810" y="592"/>
                  </a:lnTo>
                  <a:lnTo>
                    <a:pt x="808" y="594"/>
                  </a:lnTo>
                  <a:lnTo>
                    <a:pt x="808" y="596"/>
                  </a:lnTo>
                  <a:lnTo>
                    <a:pt x="808" y="604"/>
                  </a:lnTo>
                  <a:lnTo>
                    <a:pt x="808" y="612"/>
                  </a:lnTo>
                  <a:lnTo>
                    <a:pt x="808" y="614"/>
                  </a:lnTo>
                  <a:lnTo>
                    <a:pt x="806" y="616"/>
                  </a:lnTo>
                  <a:lnTo>
                    <a:pt x="806" y="616"/>
                  </a:lnTo>
                  <a:lnTo>
                    <a:pt x="804" y="622"/>
                  </a:lnTo>
                  <a:lnTo>
                    <a:pt x="804" y="626"/>
                  </a:lnTo>
                  <a:lnTo>
                    <a:pt x="806" y="636"/>
                  </a:lnTo>
                  <a:lnTo>
                    <a:pt x="806" y="636"/>
                  </a:lnTo>
                  <a:lnTo>
                    <a:pt x="806" y="636"/>
                  </a:lnTo>
                  <a:lnTo>
                    <a:pt x="804" y="638"/>
                  </a:lnTo>
                  <a:lnTo>
                    <a:pt x="798" y="636"/>
                  </a:lnTo>
                  <a:lnTo>
                    <a:pt x="792" y="636"/>
                  </a:lnTo>
                  <a:lnTo>
                    <a:pt x="790" y="636"/>
                  </a:lnTo>
                  <a:lnTo>
                    <a:pt x="788" y="638"/>
                  </a:lnTo>
                  <a:lnTo>
                    <a:pt x="788" y="638"/>
                  </a:lnTo>
                  <a:lnTo>
                    <a:pt x="786" y="642"/>
                  </a:lnTo>
                  <a:lnTo>
                    <a:pt x="780" y="642"/>
                  </a:lnTo>
                  <a:lnTo>
                    <a:pt x="770" y="644"/>
                  </a:lnTo>
                  <a:lnTo>
                    <a:pt x="770" y="644"/>
                  </a:lnTo>
                  <a:lnTo>
                    <a:pt x="770" y="644"/>
                  </a:lnTo>
                  <a:lnTo>
                    <a:pt x="770" y="646"/>
                  </a:lnTo>
                  <a:lnTo>
                    <a:pt x="774" y="650"/>
                  </a:lnTo>
                  <a:lnTo>
                    <a:pt x="786" y="660"/>
                  </a:lnTo>
                  <a:lnTo>
                    <a:pt x="786" y="660"/>
                  </a:lnTo>
                  <a:lnTo>
                    <a:pt x="788" y="662"/>
                  </a:lnTo>
                  <a:lnTo>
                    <a:pt x="788" y="664"/>
                  </a:lnTo>
                  <a:lnTo>
                    <a:pt x="784" y="668"/>
                  </a:lnTo>
                  <a:lnTo>
                    <a:pt x="780" y="668"/>
                  </a:lnTo>
                  <a:lnTo>
                    <a:pt x="778" y="666"/>
                  </a:lnTo>
                  <a:lnTo>
                    <a:pt x="776" y="664"/>
                  </a:lnTo>
                  <a:lnTo>
                    <a:pt x="776" y="664"/>
                  </a:lnTo>
                  <a:lnTo>
                    <a:pt x="776" y="662"/>
                  </a:lnTo>
                  <a:lnTo>
                    <a:pt x="774" y="662"/>
                  </a:lnTo>
                  <a:lnTo>
                    <a:pt x="768" y="664"/>
                  </a:lnTo>
                  <a:lnTo>
                    <a:pt x="752" y="674"/>
                  </a:lnTo>
                  <a:lnTo>
                    <a:pt x="752" y="674"/>
                  </a:lnTo>
                  <a:lnTo>
                    <a:pt x="746" y="680"/>
                  </a:lnTo>
                  <a:lnTo>
                    <a:pt x="744" y="684"/>
                  </a:lnTo>
                  <a:lnTo>
                    <a:pt x="740" y="690"/>
                  </a:lnTo>
                  <a:lnTo>
                    <a:pt x="738" y="690"/>
                  </a:lnTo>
                  <a:lnTo>
                    <a:pt x="736" y="692"/>
                  </a:lnTo>
                  <a:lnTo>
                    <a:pt x="736" y="692"/>
                  </a:lnTo>
                  <a:lnTo>
                    <a:pt x="732" y="692"/>
                  </a:lnTo>
                  <a:lnTo>
                    <a:pt x="730" y="694"/>
                  </a:lnTo>
                  <a:lnTo>
                    <a:pt x="728" y="700"/>
                  </a:lnTo>
                  <a:lnTo>
                    <a:pt x="726" y="706"/>
                  </a:lnTo>
                  <a:lnTo>
                    <a:pt x="722" y="712"/>
                  </a:lnTo>
                  <a:lnTo>
                    <a:pt x="722" y="712"/>
                  </a:lnTo>
                  <a:lnTo>
                    <a:pt x="720" y="712"/>
                  </a:lnTo>
                  <a:lnTo>
                    <a:pt x="718" y="712"/>
                  </a:lnTo>
                  <a:lnTo>
                    <a:pt x="716" y="708"/>
                  </a:lnTo>
                  <a:lnTo>
                    <a:pt x="714" y="702"/>
                  </a:lnTo>
                  <a:lnTo>
                    <a:pt x="710" y="702"/>
                  </a:lnTo>
                  <a:lnTo>
                    <a:pt x="708" y="700"/>
                  </a:lnTo>
                  <a:lnTo>
                    <a:pt x="708" y="700"/>
                  </a:lnTo>
                  <a:lnTo>
                    <a:pt x="702" y="702"/>
                  </a:lnTo>
                  <a:lnTo>
                    <a:pt x="700" y="704"/>
                  </a:lnTo>
                  <a:lnTo>
                    <a:pt x="700" y="710"/>
                  </a:lnTo>
                  <a:lnTo>
                    <a:pt x="704" y="716"/>
                  </a:lnTo>
                  <a:lnTo>
                    <a:pt x="704" y="716"/>
                  </a:lnTo>
                  <a:lnTo>
                    <a:pt x="706" y="718"/>
                  </a:lnTo>
                  <a:lnTo>
                    <a:pt x="706" y="720"/>
                  </a:lnTo>
                  <a:lnTo>
                    <a:pt x="702" y="720"/>
                  </a:lnTo>
                  <a:lnTo>
                    <a:pt x="694" y="722"/>
                  </a:lnTo>
                  <a:lnTo>
                    <a:pt x="692" y="722"/>
                  </a:lnTo>
                  <a:lnTo>
                    <a:pt x="690" y="724"/>
                  </a:lnTo>
                  <a:lnTo>
                    <a:pt x="690" y="724"/>
                  </a:lnTo>
                  <a:lnTo>
                    <a:pt x="684" y="728"/>
                  </a:lnTo>
                  <a:lnTo>
                    <a:pt x="676" y="730"/>
                  </a:lnTo>
                  <a:lnTo>
                    <a:pt x="668" y="732"/>
                  </a:lnTo>
                  <a:lnTo>
                    <a:pt x="664" y="734"/>
                  </a:lnTo>
                  <a:lnTo>
                    <a:pt x="664" y="734"/>
                  </a:lnTo>
                  <a:lnTo>
                    <a:pt x="662" y="736"/>
                  </a:lnTo>
                  <a:lnTo>
                    <a:pt x="664" y="738"/>
                  </a:lnTo>
                  <a:lnTo>
                    <a:pt x="668" y="740"/>
                  </a:lnTo>
                  <a:lnTo>
                    <a:pt x="674" y="742"/>
                  </a:lnTo>
                  <a:lnTo>
                    <a:pt x="678" y="746"/>
                  </a:lnTo>
                  <a:lnTo>
                    <a:pt x="678" y="746"/>
                  </a:lnTo>
                  <a:lnTo>
                    <a:pt x="678" y="746"/>
                  </a:lnTo>
                  <a:lnTo>
                    <a:pt x="676" y="748"/>
                  </a:lnTo>
                  <a:lnTo>
                    <a:pt x="670" y="748"/>
                  </a:lnTo>
                  <a:lnTo>
                    <a:pt x="654" y="746"/>
                  </a:lnTo>
                  <a:lnTo>
                    <a:pt x="654" y="746"/>
                  </a:lnTo>
                  <a:lnTo>
                    <a:pt x="652" y="746"/>
                  </a:lnTo>
                  <a:lnTo>
                    <a:pt x="650" y="746"/>
                  </a:lnTo>
                  <a:lnTo>
                    <a:pt x="646" y="750"/>
                  </a:lnTo>
                  <a:lnTo>
                    <a:pt x="644" y="754"/>
                  </a:lnTo>
                  <a:lnTo>
                    <a:pt x="642" y="756"/>
                  </a:lnTo>
                  <a:lnTo>
                    <a:pt x="640" y="756"/>
                  </a:lnTo>
                  <a:lnTo>
                    <a:pt x="640" y="756"/>
                  </a:lnTo>
                  <a:lnTo>
                    <a:pt x="634" y="756"/>
                  </a:lnTo>
                  <a:lnTo>
                    <a:pt x="628" y="758"/>
                  </a:lnTo>
                  <a:lnTo>
                    <a:pt x="626" y="764"/>
                  </a:lnTo>
                  <a:lnTo>
                    <a:pt x="626" y="766"/>
                  </a:lnTo>
                  <a:lnTo>
                    <a:pt x="628" y="768"/>
                  </a:lnTo>
                  <a:lnTo>
                    <a:pt x="628" y="768"/>
                  </a:lnTo>
                  <a:lnTo>
                    <a:pt x="628" y="772"/>
                  </a:lnTo>
                  <a:lnTo>
                    <a:pt x="626" y="772"/>
                  </a:lnTo>
                  <a:lnTo>
                    <a:pt x="622" y="772"/>
                  </a:lnTo>
                  <a:lnTo>
                    <a:pt x="618" y="770"/>
                  </a:lnTo>
                  <a:lnTo>
                    <a:pt x="618" y="770"/>
                  </a:lnTo>
                  <a:lnTo>
                    <a:pt x="614" y="770"/>
                  </a:lnTo>
                  <a:lnTo>
                    <a:pt x="610" y="772"/>
                  </a:lnTo>
                  <a:lnTo>
                    <a:pt x="604" y="782"/>
                  </a:lnTo>
                  <a:lnTo>
                    <a:pt x="604" y="782"/>
                  </a:lnTo>
                  <a:lnTo>
                    <a:pt x="604" y="786"/>
                  </a:lnTo>
                  <a:lnTo>
                    <a:pt x="606" y="788"/>
                  </a:lnTo>
                  <a:lnTo>
                    <a:pt x="610" y="792"/>
                  </a:lnTo>
                  <a:lnTo>
                    <a:pt x="614" y="794"/>
                  </a:lnTo>
                  <a:lnTo>
                    <a:pt x="616" y="796"/>
                  </a:lnTo>
                  <a:lnTo>
                    <a:pt x="616" y="796"/>
                  </a:lnTo>
                  <a:lnTo>
                    <a:pt x="614" y="800"/>
                  </a:lnTo>
                  <a:lnTo>
                    <a:pt x="610" y="802"/>
                  </a:lnTo>
                  <a:lnTo>
                    <a:pt x="610" y="804"/>
                  </a:lnTo>
                  <a:lnTo>
                    <a:pt x="612" y="806"/>
                  </a:lnTo>
                  <a:lnTo>
                    <a:pt x="612" y="806"/>
                  </a:lnTo>
                  <a:lnTo>
                    <a:pt x="616" y="808"/>
                  </a:lnTo>
                  <a:lnTo>
                    <a:pt x="616" y="812"/>
                  </a:lnTo>
                  <a:lnTo>
                    <a:pt x="612" y="814"/>
                  </a:lnTo>
                  <a:lnTo>
                    <a:pt x="610" y="816"/>
                  </a:lnTo>
                  <a:lnTo>
                    <a:pt x="610" y="816"/>
                  </a:lnTo>
                  <a:lnTo>
                    <a:pt x="606" y="818"/>
                  </a:lnTo>
                  <a:lnTo>
                    <a:pt x="606" y="822"/>
                  </a:lnTo>
                  <a:lnTo>
                    <a:pt x="606" y="826"/>
                  </a:lnTo>
                  <a:lnTo>
                    <a:pt x="610" y="830"/>
                  </a:lnTo>
                  <a:lnTo>
                    <a:pt x="610" y="830"/>
                  </a:lnTo>
                  <a:lnTo>
                    <a:pt x="610" y="832"/>
                  </a:lnTo>
                  <a:lnTo>
                    <a:pt x="610" y="834"/>
                  </a:lnTo>
                  <a:lnTo>
                    <a:pt x="608" y="836"/>
                  </a:lnTo>
                  <a:lnTo>
                    <a:pt x="606" y="840"/>
                  </a:lnTo>
                  <a:lnTo>
                    <a:pt x="606" y="842"/>
                  </a:lnTo>
                  <a:lnTo>
                    <a:pt x="608" y="846"/>
                  </a:lnTo>
                  <a:lnTo>
                    <a:pt x="608" y="846"/>
                  </a:lnTo>
                  <a:lnTo>
                    <a:pt x="612" y="850"/>
                  </a:lnTo>
                  <a:lnTo>
                    <a:pt x="616" y="850"/>
                  </a:lnTo>
                  <a:lnTo>
                    <a:pt x="618" y="848"/>
                  </a:lnTo>
                  <a:lnTo>
                    <a:pt x="622" y="850"/>
                  </a:lnTo>
                  <a:lnTo>
                    <a:pt x="622" y="850"/>
                  </a:lnTo>
                  <a:lnTo>
                    <a:pt x="624" y="854"/>
                  </a:lnTo>
                  <a:lnTo>
                    <a:pt x="628" y="852"/>
                  </a:lnTo>
                  <a:lnTo>
                    <a:pt x="640" y="844"/>
                  </a:lnTo>
                  <a:lnTo>
                    <a:pt x="640" y="844"/>
                  </a:lnTo>
                  <a:lnTo>
                    <a:pt x="644" y="842"/>
                  </a:lnTo>
                  <a:lnTo>
                    <a:pt x="646" y="842"/>
                  </a:lnTo>
                  <a:lnTo>
                    <a:pt x="650" y="844"/>
                  </a:lnTo>
                  <a:lnTo>
                    <a:pt x="650" y="850"/>
                  </a:lnTo>
                  <a:lnTo>
                    <a:pt x="648" y="852"/>
                  </a:lnTo>
                  <a:lnTo>
                    <a:pt x="646" y="852"/>
                  </a:lnTo>
                  <a:lnTo>
                    <a:pt x="646" y="852"/>
                  </a:lnTo>
                  <a:lnTo>
                    <a:pt x="640" y="852"/>
                  </a:lnTo>
                  <a:lnTo>
                    <a:pt x="636" y="854"/>
                  </a:lnTo>
                  <a:lnTo>
                    <a:pt x="632" y="858"/>
                  </a:lnTo>
                  <a:lnTo>
                    <a:pt x="632" y="864"/>
                  </a:lnTo>
                  <a:lnTo>
                    <a:pt x="632" y="864"/>
                  </a:lnTo>
                  <a:lnTo>
                    <a:pt x="632" y="866"/>
                  </a:lnTo>
                  <a:lnTo>
                    <a:pt x="630" y="866"/>
                  </a:lnTo>
                  <a:lnTo>
                    <a:pt x="626" y="868"/>
                  </a:lnTo>
                  <a:lnTo>
                    <a:pt x="622" y="866"/>
                  </a:lnTo>
                  <a:lnTo>
                    <a:pt x="620" y="864"/>
                  </a:lnTo>
                  <a:lnTo>
                    <a:pt x="620" y="860"/>
                  </a:lnTo>
                  <a:lnTo>
                    <a:pt x="620" y="860"/>
                  </a:lnTo>
                  <a:lnTo>
                    <a:pt x="620" y="858"/>
                  </a:lnTo>
                  <a:lnTo>
                    <a:pt x="618" y="856"/>
                  </a:lnTo>
                  <a:lnTo>
                    <a:pt x="614" y="858"/>
                  </a:lnTo>
                  <a:lnTo>
                    <a:pt x="610" y="864"/>
                  </a:lnTo>
                  <a:lnTo>
                    <a:pt x="610" y="866"/>
                  </a:lnTo>
                  <a:lnTo>
                    <a:pt x="612" y="868"/>
                  </a:lnTo>
                  <a:lnTo>
                    <a:pt x="612" y="868"/>
                  </a:lnTo>
                  <a:lnTo>
                    <a:pt x="614" y="872"/>
                  </a:lnTo>
                  <a:lnTo>
                    <a:pt x="612" y="876"/>
                  </a:lnTo>
                  <a:lnTo>
                    <a:pt x="610" y="880"/>
                  </a:lnTo>
                  <a:lnTo>
                    <a:pt x="610" y="884"/>
                  </a:lnTo>
                  <a:lnTo>
                    <a:pt x="610" y="884"/>
                  </a:lnTo>
                  <a:lnTo>
                    <a:pt x="610" y="888"/>
                  </a:lnTo>
                  <a:lnTo>
                    <a:pt x="616" y="888"/>
                  </a:lnTo>
                  <a:lnTo>
                    <a:pt x="620" y="886"/>
                  </a:lnTo>
                  <a:lnTo>
                    <a:pt x="624" y="882"/>
                  </a:lnTo>
                  <a:lnTo>
                    <a:pt x="624" y="882"/>
                  </a:lnTo>
                  <a:lnTo>
                    <a:pt x="628" y="878"/>
                  </a:lnTo>
                  <a:lnTo>
                    <a:pt x="632" y="878"/>
                  </a:lnTo>
                  <a:lnTo>
                    <a:pt x="636" y="880"/>
                  </a:lnTo>
                  <a:lnTo>
                    <a:pt x="640" y="884"/>
                  </a:lnTo>
                  <a:lnTo>
                    <a:pt x="640" y="884"/>
                  </a:lnTo>
                  <a:lnTo>
                    <a:pt x="640" y="888"/>
                  </a:lnTo>
                  <a:lnTo>
                    <a:pt x="636" y="888"/>
                  </a:lnTo>
                  <a:lnTo>
                    <a:pt x="634" y="890"/>
                  </a:lnTo>
                  <a:lnTo>
                    <a:pt x="632" y="894"/>
                  </a:lnTo>
                  <a:lnTo>
                    <a:pt x="632" y="894"/>
                  </a:lnTo>
                  <a:lnTo>
                    <a:pt x="632" y="900"/>
                  </a:lnTo>
                  <a:lnTo>
                    <a:pt x="628" y="900"/>
                  </a:lnTo>
                  <a:lnTo>
                    <a:pt x="624" y="900"/>
                  </a:lnTo>
                  <a:lnTo>
                    <a:pt x="620" y="904"/>
                  </a:lnTo>
                  <a:lnTo>
                    <a:pt x="620" y="904"/>
                  </a:lnTo>
                  <a:lnTo>
                    <a:pt x="620" y="906"/>
                  </a:lnTo>
                  <a:lnTo>
                    <a:pt x="622" y="910"/>
                  </a:lnTo>
                  <a:lnTo>
                    <a:pt x="630" y="916"/>
                  </a:lnTo>
                  <a:lnTo>
                    <a:pt x="640" y="922"/>
                  </a:lnTo>
                  <a:lnTo>
                    <a:pt x="650" y="926"/>
                  </a:lnTo>
                  <a:lnTo>
                    <a:pt x="650" y="926"/>
                  </a:lnTo>
                  <a:lnTo>
                    <a:pt x="662" y="932"/>
                  </a:lnTo>
                  <a:lnTo>
                    <a:pt x="670" y="934"/>
                  </a:lnTo>
                  <a:lnTo>
                    <a:pt x="682" y="934"/>
                  </a:lnTo>
                  <a:lnTo>
                    <a:pt x="682" y="934"/>
                  </a:lnTo>
                  <a:lnTo>
                    <a:pt x="688" y="932"/>
                  </a:lnTo>
                  <a:lnTo>
                    <a:pt x="696" y="928"/>
                  </a:lnTo>
                  <a:lnTo>
                    <a:pt x="712" y="916"/>
                  </a:lnTo>
                  <a:lnTo>
                    <a:pt x="724" y="904"/>
                  </a:lnTo>
                  <a:lnTo>
                    <a:pt x="732" y="896"/>
                  </a:lnTo>
                  <a:lnTo>
                    <a:pt x="732" y="896"/>
                  </a:lnTo>
                  <a:lnTo>
                    <a:pt x="736" y="894"/>
                  </a:lnTo>
                  <a:lnTo>
                    <a:pt x="740" y="894"/>
                  </a:lnTo>
                  <a:lnTo>
                    <a:pt x="746" y="894"/>
                  </a:lnTo>
                  <a:lnTo>
                    <a:pt x="752" y="892"/>
                  </a:lnTo>
                  <a:lnTo>
                    <a:pt x="752" y="892"/>
                  </a:lnTo>
                  <a:lnTo>
                    <a:pt x="754" y="888"/>
                  </a:lnTo>
                  <a:lnTo>
                    <a:pt x="756" y="882"/>
                  </a:lnTo>
                  <a:lnTo>
                    <a:pt x="756" y="876"/>
                  </a:lnTo>
                  <a:lnTo>
                    <a:pt x="758" y="874"/>
                  </a:lnTo>
                  <a:lnTo>
                    <a:pt x="758" y="874"/>
                  </a:lnTo>
                  <a:lnTo>
                    <a:pt x="760" y="872"/>
                  </a:lnTo>
                  <a:lnTo>
                    <a:pt x="760" y="874"/>
                  </a:lnTo>
                  <a:lnTo>
                    <a:pt x="764" y="880"/>
                  </a:lnTo>
                  <a:lnTo>
                    <a:pt x="766" y="884"/>
                  </a:lnTo>
                  <a:lnTo>
                    <a:pt x="768" y="888"/>
                  </a:lnTo>
                  <a:lnTo>
                    <a:pt x="768" y="888"/>
                  </a:lnTo>
                  <a:lnTo>
                    <a:pt x="772" y="890"/>
                  </a:lnTo>
                  <a:lnTo>
                    <a:pt x="774" y="892"/>
                  </a:lnTo>
                  <a:lnTo>
                    <a:pt x="774" y="896"/>
                  </a:lnTo>
                  <a:lnTo>
                    <a:pt x="776" y="902"/>
                  </a:lnTo>
                  <a:lnTo>
                    <a:pt x="776" y="902"/>
                  </a:lnTo>
                  <a:lnTo>
                    <a:pt x="776" y="910"/>
                  </a:lnTo>
                  <a:lnTo>
                    <a:pt x="778" y="918"/>
                  </a:lnTo>
                  <a:lnTo>
                    <a:pt x="782" y="924"/>
                  </a:lnTo>
                  <a:lnTo>
                    <a:pt x="788" y="930"/>
                  </a:lnTo>
                  <a:lnTo>
                    <a:pt x="788" y="930"/>
                  </a:lnTo>
                  <a:lnTo>
                    <a:pt x="792" y="936"/>
                  </a:lnTo>
                  <a:lnTo>
                    <a:pt x="792" y="944"/>
                  </a:lnTo>
                  <a:lnTo>
                    <a:pt x="794" y="950"/>
                  </a:lnTo>
                  <a:lnTo>
                    <a:pt x="796" y="958"/>
                  </a:lnTo>
                  <a:lnTo>
                    <a:pt x="796" y="958"/>
                  </a:lnTo>
                  <a:lnTo>
                    <a:pt x="802" y="966"/>
                  </a:lnTo>
                  <a:lnTo>
                    <a:pt x="804" y="972"/>
                  </a:lnTo>
                  <a:lnTo>
                    <a:pt x="806" y="978"/>
                  </a:lnTo>
                  <a:lnTo>
                    <a:pt x="810" y="984"/>
                  </a:lnTo>
                  <a:lnTo>
                    <a:pt x="810" y="984"/>
                  </a:lnTo>
                  <a:lnTo>
                    <a:pt x="816" y="988"/>
                  </a:lnTo>
                  <a:lnTo>
                    <a:pt x="818" y="992"/>
                  </a:lnTo>
                  <a:lnTo>
                    <a:pt x="818" y="998"/>
                  </a:lnTo>
                  <a:lnTo>
                    <a:pt x="816" y="1004"/>
                  </a:lnTo>
                  <a:lnTo>
                    <a:pt x="816" y="1004"/>
                  </a:lnTo>
                  <a:lnTo>
                    <a:pt x="816" y="1008"/>
                  </a:lnTo>
                  <a:lnTo>
                    <a:pt x="818" y="1012"/>
                  </a:lnTo>
                  <a:lnTo>
                    <a:pt x="822" y="1014"/>
                  </a:lnTo>
                  <a:lnTo>
                    <a:pt x="824" y="1016"/>
                  </a:lnTo>
                  <a:lnTo>
                    <a:pt x="824" y="1016"/>
                  </a:lnTo>
                  <a:lnTo>
                    <a:pt x="824" y="1028"/>
                  </a:lnTo>
                  <a:lnTo>
                    <a:pt x="824" y="1034"/>
                  </a:lnTo>
                  <a:lnTo>
                    <a:pt x="824" y="1040"/>
                  </a:lnTo>
                  <a:lnTo>
                    <a:pt x="824" y="1040"/>
                  </a:lnTo>
                  <a:lnTo>
                    <a:pt x="828" y="1042"/>
                  </a:lnTo>
                  <a:lnTo>
                    <a:pt x="832" y="1042"/>
                  </a:lnTo>
                  <a:lnTo>
                    <a:pt x="838" y="1040"/>
                  </a:lnTo>
                  <a:lnTo>
                    <a:pt x="846" y="1038"/>
                  </a:lnTo>
                  <a:lnTo>
                    <a:pt x="846" y="1038"/>
                  </a:lnTo>
                  <a:lnTo>
                    <a:pt x="852" y="1038"/>
                  </a:lnTo>
                  <a:lnTo>
                    <a:pt x="856" y="1034"/>
                  </a:lnTo>
                  <a:lnTo>
                    <a:pt x="856" y="1022"/>
                  </a:lnTo>
                  <a:lnTo>
                    <a:pt x="856" y="1022"/>
                  </a:lnTo>
                  <a:lnTo>
                    <a:pt x="858" y="1018"/>
                  </a:lnTo>
                  <a:lnTo>
                    <a:pt x="860" y="1018"/>
                  </a:lnTo>
                  <a:lnTo>
                    <a:pt x="862" y="1016"/>
                  </a:lnTo>
                  <a:lnTo>
                    <a:pt x="864" y="1014"/>
                  </a:lnTo>
                  <a:lnTo>
                    <a:pt x="864" y="1014"/>
                  </a:lnTo>
                  <a:lnTo>
                    <a:pt x="868" y="1010"/>
                  </a:lnTo>
                  <a:lnTo>
                    <a:pt x="872" y="1010"/>
                  </a:lnTo>
                  <a:lnTo>
                    <a:pt x="880" y="1010"/>
                  </a:lnTo>
                  <a:lnTo>
                    <a:pt x="886" y="1012"/>
                  </a:lnTo>
                  <a:lnTo>
                    <a:pt x="886" y="1012"/>
                  </a:lnTo>
                  <a:lnTo>
                    <a:pt x="892" y="1012"/>
                  </a:lnTo>
                  <a:lnTo>
                    <a:pt x="898" y="1010"/>
                  </a:lnTo>
                  <a:lnTo>
                    <a:pt x="900" y="1006"/>
                  </a:lnTo>
                  <a:lnTo>
                    <a:pt x="902" y="1000"/>
                  </a:lnTo>
                  <a:lnTo>
                    <a:pt x="902" y="1000"/>
                  </a:lnTo>
                  <a:lnTo>
                    <a:pt x="904" y="996"/>
                  </a:lnTo>
                  <a:lnTo>
                    <a:pt x="906" y="996"/>
                  </a:lnTo>
                  <a:lnTo>
                    <a:pt x="912" y="1004"/>
                  </a:lnTo>
                  <a:lnTo>
                    <a:pt x="912" y="1004"/>
                  </a:lnTo>
                  <a:lnTo>
                    <a:pt x="916" y="1002"/>
                  </a:lnTo>
                  <a:lnTo>
                    <a:pt x="920" y="996"/>
                  </a:lnTo>
                  <a:lnTo>
                    <a:pt x="928" y="978"/>
                  </a:lnTo>
                  <a:lnTo>
                    <a:pt x="928" y="978"/>
                  </a:lnTo>
                  <a:lnTo>
                    <a:pt x="930" y="972"/>
                  </a:lnTo>
                  <a:lnTo>
                    <a:pt x="928" y="970"/>
                  </a:lnTo>
                  <a:lnTo>
                    <a:pt x="928" y="970"/>
                  </a:lnTo>
                  <a:lnTo>
                    <a:pt x="924" y="972"/>
                  </a:lnTo>
                  <a:lnTo>
                    <a:pt x="918" y="980"/>
                  </a:lnTo>
                  <a:lnTo>
                    <a:pt x="918" y="980"/>
                  </a:lnTo>
                  <a:lnTo>
                    <a:pt x="916" y="982"/>
                  </a:lnTo>
                  <a:lnTo>
                    <a:pt x="914" y="982"/>
                  </a:lnTo>
                  <a:lnTo>
                    <a:pt x="912" y="976"/>
                  </a:lnTo>
                  <a:lnTo>
                    <a:pt x="918" y="960"/>
                  </a:lnTo>
                  <a:lnTo>
                    <a:pt x="918" y="960"/>
                  </a:lnTo>
                  <a:lnTo>
                    <a:pt x="920" y="952"/>
                  </a:lnTo>
                  <a:lnTo>
                    <a:pt x="920" y="940"/>
                  </a:lnTo>
                  <a:lnTo>
                    <a:pt x="922" y="922"/>
                  </a:lnTo>
                  <a:lnTo>
                    <a:pt x="922" y="922"/>
                  </a:lnTo>
                  <a:lnTo>
                    <a:pt x="924" y="916"/>
                  </a:lnTo>
                  <a:lnTo>
                    <a:pt x="926" y="912"/>
                  </a:lnTo>
                  <a:lnTo>
                    <a:pt x="930" y="908"/>
                  </a:lnTo>
                  <a:lnTo>
                    <a:pt x="938" y="904"/>
                  </a:lnTo>
                  <a:lnTo>
                    <a:pt x="938" y="904"/>
                  </a:lnTo>
                  <a:lnTo>
                    <a:pt x="946" y="902"/>
                  </a:lnTo>
                  <a:lnTo>
                    <a:pt x="954" y="894"/>
                  </a:lnTo>
                  <a:lnTo>
                    <a:pt x="960" y="888"/>
                  </a:lnTo>
                  <a:lnTo>
                    <a:pt x="962" y="884"/>
                  </a:lnTo>
                  <a:lnTo>
                    <a:pt x="962" y="882"/>
                  </a:lnTo>
                  <a:lnTo>
                    <a:pt x="962" y="882"/>
                  </a:lnTo>
                  <a:lnTo>
                    <a:pt x="962" y="880"/>
                  </a:lnTo>
                  <a:lnTo>
                    <a:pt x="964" y="876"/>
                  </a:lnTo>
                  <a:lnTo>
                    <a:pt x="968" y="870"/>
                  </a:lnTo>
                  <a:lnTo>
                    <a:pt x="976" y="864"/>
                  </a:lnTo>
                  <a:lnTo>
                    <a:pt x="978" y="860"/>
                  </a:lnTo>
                  <a:lnTo>
                    <a:pt x="978" y="860"/>
                  </a:lnTo>
                  <a:lnTo>
                    <a:pt x="974" y="854"/>
                  </a:lnTo>
                  <a:lnTo>
                    <a:pt x="968" y="844"/>
                  </a:lnTo>
                  <a:lnTo>
                    <a:pt x="952" y="832"/>
                  </a:lnTo>
                  <a:lnTo>
                    <a:pt x="952" y="832"/>
                  </a:lnTo>
                  <a:lnTo>
                    <a:pt x="946" y="830"/>
                  </a:lnTo>
                  <a:lnTo>
                    <a:pt x="940" y="828"/>
                  </a:lnTo>
                  <a:lnTo>
                    <a:pt x="934" y="828"/>
                  </a:lnTo>
                  <a:lnTo>
                    <a:pt x="934" y="828"/>
                  </a:lnTo>
                  <a:lnTo>
                    <a:pt x="932" y="826"/>
                  </a:lnTo>
                  <a:lnTo>
                    <a:pt x="932" y="826"/>
                  </a:lnTo>
                  <a:lnTo>
                    <a:pt x="932" y="812"/>
                  </a:lnTo>
                  <a:lnTo>
                    <a:pt x="930" y="796"/>
                  </a:lnTo>
                  <a:lnTo>
                    <a:pt x="930" y="796"/>
                  </a:lnTo>
                  <a:lnTo>
                    <a:pt x="930" y="788"/>
                  </a:lnTo>
                  <a:lnTo>
                    <a:pt x="934" y="782"/>
                  </a:lnTo>
                  <a:lnTo>
                    <a:pt x="938" y="776"/>
                  </a:lnTo>
                  <a:lnTo>
                    <a:pt x="940" y="768"/>
                  </a:lnTo>
                  <a:lnTo>
                    <a:pt x="940" y="768"/>
                  </a:lnTo>
                  <a:lnTo>
                    <a:pt x="940" y="756"/>
                  </a:lnTo>
                  <a:lnTo>
                    <a:pt x="942" y="752"/>
                  </a:lnTo>
                  <a:lnTo>
                    <a:pt x="946" y="748"/>
                  </a:lnTo>
                  <a:lnTo>
                    <a:pt x="946" y="748"/>
                  </a:lnTo>
                  <a:lnTo>
                    <a:pt x="950" y="744"/>
                  </a:lnTo>
                  <a:lnTo>
                    <a:pt x="952" y="742"/>
                  </a:lnTo>
                  <a:lnTo>
                    <a:pt x="954" y="738"/>
                  </a:lnTo>
                  <a:lnTo>
                    <a:pt x="960" y="736"/>
                  </a:lnTo>
                  <a:lnTo>
                    <a:pt x="960" y="736"/>
                  </a:lnTo>
                  <a:lnTo>
                    <a:pt x="964" y="734"/>
                  </a:lnTo>
                  <a:lnTo>
                    <a:pt x="966" y="732"/>
                  </a:lnTo>
                  <a:lnTo>
                    <a:pt x="968" y="726"/>
                  </a:lnTo>
                  <a:lnTo>
                    <a:pt x="972" y="718"/>
                  </a:lnTo>
                  <a:lnTo>
                    <a:pt x="976" y="716"/>
                  </a:lnTo>
                  <a:lnTo>
                    <a:pt x="978" y="714"/>
                  </a:lnTo>
                  <a:lnTo>
                    <a:pt x="978" y="714"/>
                  </a:lnTo>
                  <a:lnTo>
                    <a:pt x="990" y="708"/>
                  </a:lnTo>
                  <a:lnTo>
                    <a:pt x="1004" y="700"/>
                  </a:lnTo>
                  <a:lnTo>
                    <a:pt x="1004" y="700"/>
                  </a:lnTo>
                  <a:lnTo>
                    <a:pt x="1030" y="684"/>
                  </a:lnTo>
                  <a:lnTo>
                    <a:pt x="1040" y="676"/>
                  </a:lnTo>
                  <a:lnTo>
                    <a:pt x="1046" y="668"/>
                  </a:lnTo>
                  <a:lnTo>
                    <a:pt x="1046" y="668"/>
                  </a:lnTo>
                  <a:lnTo>
                    <a:pt x="1046" y="664"/>
                  </a:lnTo>
                  <a:lnTo>
                    <a:pt x="1046" y="662"/>
                  </a:lnTo>
                  <a:lnTo>
                    <a:pt x="1042" y="654"/>
                  </a:lnTo>
                  <a:lnTo>
                    <a:pt x="1040" y="648"/>
                  </a:lnTo>
                  <a:lnTo>
                    <a:pt x="1040" y="644"/>
                  </a:lnTo>
                  <a:lnTo>
                    <a:pt x="1044" y="642"/>
                  </a:lnTo>
                  <a:lnTo>
                    <a:pt x="1044" y="642"/>
                  </a:lnTo>
                  <a:lnTo>
                    <a:pt x="1048" y="638"/>
                  </a:lnTo>
                  <a:lnTo>
                    <a:pt x="1048" y="634"/>
                  </a:lnTo>
                  <a:lnTo>
                    <a:pt x="1050" y="628"/>
                  </a:lnTo>
                  <a:lnTo>
                    <a:pt x="1050" y="622"/>
                  </a:lnTo>
                  <a:lnTo>
                    <a:pt x="1052" y="620"/>
                  </a:lnTo>
                  <a:lnTo>
                    <a:pt x="1054" y="620"/>
                  </a:lnTo>
                  <a:lnTo>
                    <a:pt x="1054" y="620"/>
                  </a:lnTo>
                  <a:lnTo>
                    <a:pt x="1064" y="614"/>
                  </a:lnTo>
                  <a:lnTo>
                    <a:pt x="1072" y="606"/>
                  </a:lnTo>
                  <a:lnTo>
                    <a:pt x="1072" y="606"/>
                  </a:lnTo>
                  <a:lnTo>
                    <a:pt x="1076" y="602"/>
                  </a:lnTo>
                  <a:lnTo>
                    <a:pt x="1082" y="602"/>
                  </a:lnTo>
                  <a:lnTo>
                    <a:pt x="1090" y="602"/>
                  </a:lnTo>
                  <a:lnTo>
                    <a:pt x="1100" y="602"/>
                  </a:lnTo>
                  <a:lnTo>
                    <a:pt x="1100" y="602"/>
                  </a:lnTo>
                  <a:lnTo>
                    <a:pt x="1110" y="602"/>
                  </a:lnTo>
                  <a:lnTo>
                    <a:pt x="1120" y="604"/>
                  </a:lnTo>
                  <a:lnTo>
                    <a:pt x="1138" y="612"/>
                  </a:lnTo>
                  <a:lnTo>
                    <a:pt x="1138" y="612"/>
                  </a:lnTo>
                  <a:lnTo>
                    <a:pt x="1144" y="616"/>
                  </a:lnTo>
                  <a:lnTo>
                    <a:pt x="1146" y="622"/>
                  </a:lnTo>
                  <a:lnTo>
                    <a:pt x="1146" y="632"/>
                  </a:lnTo>
                  <a:lnTo>
                    <a:pt x="1146" y="632"/>
                  </a:lnTo>
                  <a:lnTo>
                    <a:pt x="1146" y="642"/>
                  </a:lnTo>
                  <a:lnTo>
                    <a:pt x="1146" y="644"/>
                  </a:lnTo>
                  <a:lnTo>
                    <a:pt x="1142" y="642"/>
                  </a:lnTo>
                  <a:lnTo>
                    <a:pt x="1142" y="642"/>
                  </a:lnTo>
                  <a:lnTo>
                    <a:pt x="1138" y="642"/>
                  </a:lnTo>
                  <a:lnTo>
                    <a:pt x="1134" y="642"/>
                  </a:lnTo>
                  <a:lnTo>
                    <a:pt x="1130" y="648"/>
                  </a:lnTo>
                  <a:lnTo>
                    <a:pt x="1126" y="654"/>
                  </a:lnTo>
                  <a:lnTo>
                    <a:pt x="1126" y="654"/>
                  </a:lnTo>
                  <a:lnTo>
                    <a:pt x="1122" y="664"/>
                  </a:lnTo>
                  <a:lnTo>
                    <a:pt x="1116" y="672"/>
                  </a:lnTo>
                  <a:lnTo>
                    <a:pt x="1106" y="680"/>
                  </a:lnTo>
                  <a:lnTo>
                    <a:pt x="1100" y="682"/>
                  </a:lnTo>
                  <a:lnTo>
                    <a:pt x="1100" y="682"/>
                  </a:lnTo>
                  <a:lnTo>
                    <a:pt x="1094" y="684"/>
                  </a:lnTo>
                  <a:lnTo>
                    <a:pt x="1090" y="688"/>
                  </a:lnTo>
                  <a:lnTo>
                    <a:pt x="1088" y="692"/>
                  </a:lnTo>
                  <a:lnTo>
                    <a:pt x="1084" y="694"/>
                  </a:lnTo>
                  <a:lnTo>
                    <a:pt x="1084" y="694"/>
                  </a:lnTo>
                  <a:lnTo>
                    <a:pt x="1078" y="696"/>
                  </a:lnTo>
                  <a:lnTo>
                    <a:pt x="1072" y="700"/>
                  </a:lnTo>
                  <a:lnTo>
                    <a:pt x="1070" y="704"/>
                  </a:lnTo>
                  <a:lnTo>
                    <a:pt x="1068" y="710"/>
                  </a:lnTo>
                  <a:lnTo>
                    <a:pt x="1068" y="710"/>
                  </a:lnTo>
                  <a:lnTo>
                    <a:pt x="1066" y="714"/>
                  </a:lnTo>
                  <a:lnTo>
                    <a:pt x="1062" y="718"/>
                  </a:lnTo>
                  <a:lnTo>
                    <a:pt x="1056" y="718"/>
                  </a:lnTo>
                  <a:lnTo>
                    <a:pt x="1050" y="718"/>
                  </a:lnTo>
                  <a:lnTo>
                    <a:pt x="1050" y="718"/>
                  </a:lnTo>
                  <a:lnTo>
                    <a:pt x="1048" y="720"/>
                  </a:lnTo>
                  <a:lnTo>
                    <a:pt x="1046" y="720"/>
                  </a:lnTo>
                  <a:lnTo>
                    <a:pt x="1042" y="726"/>
                  </a:lnTo>
                  <a:lnTo>
                    <a:pt x="1040" y="732"/>
                  </a:lnTo>
                  <a:lnTo>
                    <a:pt x="1038" y="736"/>
                  </a:lnTo>
                  <a:lnTo>
                    <a:pt x="1038" y="736"/>
                  </a:lnTo>
                  <a:lnTo>
                    <a:pt x="1034" y="740"/>
                  </a:lnTo>
                  <a:lnTo>
                    <a:pt x="1034" y="742"/>
                  </a:lnTo>
                  <a:lnTo>
                    <a:pt x="1034" y="746"/>
                  </a:lnTo>
                  <a:lnTo>
                    <a:pt x="1038" y="752"/>
                  </a:lnTo>
                  <a:lnTo>
                    <a:pt x="1038" y="752"/>
                  </a:lnTo>
                  <a:lnTo>
                    <a:pt x="1040" y="758"/>
                  </a:lnTo>
                  <a:lnTo>
                    <a:pt x="1042" y="762"/>
                  </a:lnTo>
                  <a:lnTo>
                    <a:pt x="1040" y="766"/>
                  </a:lnTo>
                  <a:lnTo>
                    <a:pt x="1042" y="770"/>
                  </a:lnTo>
                  <a:lnTo>
                    <a:pt x="1042" y="770"/>
                  </a:lnTo>
                  <a:lnTo>
                    <a:pt x="1046" y="784"/>
                  </a:lnTo>
                  <a:lnTo>
                    <a:pt x="1048" y="792"/>
                  </a:lnTo>
                  <a:lnTo>
                    <a:pt x="1046" y="802"/>
                  </a:lnTo>
                  <a:lnTo>
                    <a:pt x="1046" y="802"/>
                  </a:lnTo>
                  <a:lnTo>
                    <a:pt x="1038" y="822"/>
                  </a:lnTo>
                  <a:lnTo>
                    <a:pt x="1036" y="828"/>
                  </a:lnTo>
                  <a:lnTo>
                    <a:pt x="1038" y="830"/>
                  </a:lnTo>
                  <a:lnTo>
                    <a:pt x="1038" y="830"/>
                  </a:lnTo>
                  <a:lnTo>
                    <a:pt x="1038" y="830"/>
                  </a:lnTo>
                  <a:lnTo>
                    <a:pt x="1044" y="830"/>
                  </a:lnTo>
                  <a:lnTo>
                    <a:pt x="1050" y="834"/>
                  </a:lnTo>
                  <a:lnTo>
                    <a:pt x="1058" y="838"/>
                  </a:lnTo>
                  <a:lnTo>
                    <a:pt x="1064" y="840"/>
                  </a:lnTo>
                  <a:lnTo>
                    <a:pt x="1064" y="840"/>
                  </a:lnTo>
                  <a:lnTo>
                    <a:pt x="1070" y="842"/>
                  </a:lnTo>
                  <a:lnTo>
                    <a:pt x="1072" y="844"/>
                  </a:lnTo>
                  <a:lnTo>
                    <a:pt x="1076" y="848"/>
                  </a:lnTo>
                  <a:lnTo>
                    <a:pt x="1080" y="848"/>
                  </a:lnTo>
                  <a:lnTo>
                    <a:pt x="1080" y="848"/>
                  </a:lnTo>
                  <a:lnTo>
                    <a:pt x="1086" y="848"/>
                  </a:lnTo>
                  <a:lnTo>
                    <a:pt x="1090" y="852"/>
                  </a:lnTo>
                  <a:lnTo>
                    <a:pt x="1098" y="854"/>
                  </a:lnTo>
                  <a:lnTo>
                    <a:pt x="1110" y="854"/>
                  </a:lnTo>
                  <a:lnTo>
                    <a:pt x="1110" y="854"/>
                  </a:lnTo>
                  <a:lnTo>
                    <a:pt x="1130" y="852"/>
                  </a:lnTo>
                  <a:lnTo>
                    <a:pt x="1154" y="844"/>
                  </a:lnTo>
                  <a:lnTo>
                    <a:pt x="1178" y="838"/>
                  </a:lnTo>
                  <a:lnTo>
                    <a:pt x="1196" y="836"/>
                  </a:lnTo>
                  <a:lnTo>
                    <a:pt x="1196" y="836"/>
                  </a:lnTo>
                  <a:lnTo>
                    <a:pt x="1208" y="836"/>
                  </a:lnTo>
                  <a:lnTo>
                    <a:pt x="1218" y="834"/>
                  </a:lnTo>
                  <a:lnTo>
                    <a:pt x="1230" y="828"/>
                  </a:lnTo>
                  <a:lnTo>
                    <a:pt x="1230" y="828"/>
                  </a:lnTo>
                  <a:lnTo>
                    <a:pt x="1234" y="828"/>
                  </a:lnTo>
                  <a:lnTo>
                    <a:pt x="1236" y="830"/>
                  </a:lnTo>
                  <a:lnTo>
                    <a:pt x="1240" y="834"/>
                  </a:lnTo>
                  <a:lnTo>
                    <a:pt x="1244" y="842"/>
                  </a:lnTo>
                  <a:lnTo>
                    <a:pt x="1248" y="846"/>
                  </a:lnTo>
                  <a:lnTo>
                    <a:pt x="1248" y="846"/>
                  </a:lnTo>
                  <a:lnTo>
                    <a:pt x="1254" y="848"/>
                  </a:lnTo>
                  <a:lnTo>
                    <a:pt x="1260" y="850"/>
                  </a:lnTo>
                  <a:lnTo>
                    <a:pt x="1268" y="850"/>
                  </a:lnTo>
                  <a:lnTo>
                    <a:pt x="1272" y="852"/>
                  </a:lnTo>
                  <a:lnTo>
                    <a:pt x="1272" y="852"/>
                  </a:lnTo>
                  <a:lnTo>
                    <a:pt x="1274" y="854"/>
                  </a:lnTo>
                  <a:lnTo>
                    <a:pt x="1270" y="856"/>
                  </a:lnTo>
                  <a:lnTo>
                    <a:pt x="1260" y="856"/>
                  </a:lnTo>
                  <a:lnTo>
                    <a:pt x="1260" y="856"/>
                  </a:lnTo>
                  <a:lnTo>
                    <a:pt x="1254" y="856"/>
                  </a:lnTo>
                  <a:lnTo>
                    <a:pt x="1248" y="858"/>
                  </a:lnTo>
                  <a:lnTo>
                    <a:pt x="1232" y="864"/>
                  </a:lnTo>
                  <a:lnTo>
                    <a:pt x="1232" y="864"/>
                  </a:lnTo>
                  <a:lnTo>
                    <a:pt x="1226" y="868"/>
                  </a:lnTo>
                  <a:lnTo>
                    <a:pt x="1222" y="872"/>
                  </a:lnTo>
                  <a:lnTo>
                    <a:pt x="1220" y="874"/>
                  </a:lnTo>
                  <a:lnTo>
                    <a:pt x="1214" y="878"/>
                  </a:lnTo>
                  <a:lnTo>
                    <a:pt x="1214" y="878"/>
                  </a:lnTo>
                  <a:lnTo>
                    <a:pt x="1202" y="878"/>
                  </a:lnTo>
                  <a:lnTo>
                    <a:pt x="1188" y="876"/>
                  </a:lnTo>
                  <a:lnTo>
                    <a:pt x="1174" y="872"/>
                  </a:lnTo>
                  <a:lnTo>
                    <a:pt x="1162" y="872"/>
                  </a:lnTo>
                  <a:lnTo>
                    <a:pt x="1162" y="872"/>
                  </a:lnTo>
                  <a:lnTo>
                    <a:pt x="1134" y="876"/>
                  </a:lnTo>
                  <a:lnTo>
                    <a:pt x="1120" y="878"/>
                  </a:lnTo>
                  <a:lnTo>
                    <a:pt x="1114" y="880"/>
                  </a:lnTo>
                  <a:lnTo>
                    <a:pt x="1112" y="882"/>
                  </a:lnTo>
                  <a:lnTo>
                    <a:pt x="1112" y="882"/>
                  </a:lnTo>
                  <a:lnTo>
                    <a:pt x="1104" y="886"/>
                  </a:lnTo>
                  <a:lnTo>
                    <a:pt x="1098" y="890"/>
                  </a:lnTo>
                  <a:lnTo>
                    <a:pt x="1094" y="894"/>
                  </a:lnTo>
                  <a:lnTo>
                    <a:pt x="1092" y="896"/>
                  </a:lnTo>
                  <a:lnTo>
                    <a:pt x="1094" y="898"/>
                  </a:lnTo>
                  <a:lnTo>
                    <a:pt x="1094" y="898"/>
                  </a:lnTo>
                  <a:lnTo>
                    <a:pt x="1098" y="902"/>
                  </a:lnTo>
                  <a:lnTo>
                    <a:pt x="1098" y="906"/>
                  </a:lnTo>
                  <a:lnTo>
                    <a:pt x="1098" y="910"/>
                  </a:lnTo>
                  <a:lnTo>
                    <a:pt x="1100" y="916"/>
                  </a:lnTo>
                  <a:lnTo>
                    <a:pt x="1100" y="916"/>
                  </a:lnTo>
                  <a:lnTo>
                    <a:pt x="1108" y="924"/>
                  </a:lnTo>
                  <a:lnTo>
                    <a:pt x="1112" y="924"/>
                  </a:lnTo>
                  <a:lnTo>
                    <a:pt x="1116" y="924"/>
                  </a:lnTo>
                  <a:lnTo>
                    <a:pt x="1116" y="924"/>
                  </a:lnTo>
                  <a:lnTo>
                    <a:pt x="1122" y="924"/>
                  </a:lnTo>
                  <a:lnTo>
                    <a:pt x="1126" y="926"/>
                  </a:lnTo>
                  <a:lnTo>
                    <a:pt x="1126" y="930"/>
                  </a:lnTo>
                  <a:lnTo>
                    <a:pt x="1122" y="936"/>
                  </a:lnTo>
                  <a:lnTo>
                    <a:pt x="1122" y="936"/>
                  </a:lnTo>
                  <a:lnTo>
                    <a:pt x="1118" y="942"/>
                  </a:lnTo>
                  <a:lnTo>
                    <a:pt x="1118" y="948"/>
                  </a:lnTo>
                  <a:lnTo>
                    <a:pt x="1118" y="954"/>
                  </a:lnTo>
                  <a:lnTo>
                    <a:pt x="1120" y="962"/>
                  </a:lnTo>
                  <a:lnTo>
                    <a:pt x="1120" y="962"/>
                  </a:lnTo>
                  <a:lnTo>
                    <a:pt x="1118" y="968"/>
                  </a:lnTo>
                  <a:lnTo>
                    <a:pt x="1116" y="970"/>
                  </a:lnTo>
                  <a:lnTo>
                    <a:pt x="1110" y="974"/>
                  </a:lnTo>
                  <a:lnTo>
                    <a:pt x="1104" y="974"/>
                  </a:lnTo>
                  <a:lnTo>
                    <a:pt x="1098" y="974"/>
                  </a:lnTo>
                  <a:lnTo>
                    <a:pt x="1098" y="974"/>
                  </a:lnTo>
                  <a:lnTo>
                    <a:pt x="1094" y="972"/>
                  </a:lnTo>
                  <a:lnTo>
                    <a:pt x="1090" y="970"/>
                  </a:lnTo>
                  <a:lnTo>
                    <a:pt x="1084" y="962"/>
                  </a:lnTo>
                  <a:lnTo>
                    <a:pt x="1074" y="946"/>
                  </a:lnTo>
                  <a:lnTo>
                    <a:pt x="1074" y="946"/>
                  </a:lnTo>
                  <a:lnTo>
                    <a:pt x="1072" y="944"/>
                  </a:lnTo>
                  <a:lnTo>
                    <a:pt x="1068" y="944"/>
                  </a:lnTo>
                  <a:lnTo>
                    <a:pt x="1062" y="948"/>
                  </a:lnTo>
                  <a:lnTo>
                    <a:pt x="1046" y="958"/>
                  </a:lnTo>
                  <a:lnTo>
                    <a:pt x="1046" y="958"/>
                  </a:lnTo>
                  <a:lnTo>
                    <a:pt x="1042" y="962"/>
                  </a:lnTo>
                  <a:lnTo>
                    <a:pt x="1040" y="968"/>
                  </a:lnTo>
                  <a:lnTo>
                    <a:pt x="1040" y="974"/>
                  </a:lnTo>
                  <a:lnTo>
                    <a:pt x="1036" y="980"/>
                  </a:lnTo>
                  <a:lnTo>
                    <a:pt x="1036" y="980"/>
                  </a:lnTo>
                  <a:lnTo>
                    <a:pt x="1032" y="984"/>
                  </a:lnTo>
                  <a:lnTo>
                    <a:pt x="1030" y="990"/>
                  </a:lnTo>
                  <a:lnTo>
                    <a:pt x="1028" y="996"/>
                  </a:lnTo>
                  <a:lnTo>
                    <a:pt x="1032" y="1004"/>
                  </a:lnTo>
                  <a:lnTo>
                    <a:pt x="1032" y="1004"/>
                  </a:lnTo>
                  <a:lnTo>
                    <a:pt x="1036" y="1014"/>
                  </a:lnTo>
                  <a:lnTo>
                    <a:pt x="1036" y="1022"/>
                  </a:lnTo>
                  <a:lnTo>
                    <a:pt x="1034" y="1030"/>
                  </a:lnTo>
                  <a:lnTo>
                    <a:pt x="1030" y="1036"/>
                  </a:lnTo>
                  <a:lnTo>
                    <a:pt x="1030" y="1036"/>
                  </a:lnTo>
                  <a:lnTo>
                    <a:pt x="1028" y="1040"/>
                  </a:lnTo>
                  <a:lnTo>
                    <a:pt x="1028" y="1042"/>
                  </a:lnTo>
                  <a:lnTo>
                    <a:pt x="1032" y="1044"/>
                  </a:lnTo>
                  <a:lnTo>
                    <a:pt x="1036" y="1048"/>
                  </a:lnTo>
                  <a:lnTo>
                    <a:pt x="1036" y="1048"/>
                  </a:lnTo>
                  <a:lnTo>
                    <a:pt x="1036" y="1050"/>
                  </a:lnTo>
                  <a:lnTo>
                    <a:pt x="1034" y="1052"/>
                  </a:lnTo>
                  <a:lnTo>
                    <a:pt x="1030" y="1054"/>
                  </a:lnTo>
                  <a:lnTo>
                    <a:pt x="1026" y="1058"/>
                  </a:lnTo>
                  <a:lnTo>
                    <a:pt x="1026" y="1060"/>
                  </a:lnTo>
                  <a:lnTo>
                    <a:pt x="1026" y="1062"/>
                  </a:lnTo>
                  <a:lnTo>
                    <a:pt x="1026" y="1062"/>
                  </a:lnTo>
                  <a:lnTo>
                    <a:pt x="1028" y="1066"/>
                  </a:lnTo>
                  <a:lnTo>
                    <a:pt x="1028" y="1066"/>
                  </a:lnTo>
                  <a:lnTo>
                    <a:pt x="1022" y="1068"/>
                  </a:lnTo>
                  <a:lnTo>
                    <a:pt x="1016" y="1066"/>
                  </a:lnTo>
                  <a:lnTo>
                    <a:pt x="1014" y="1066"/>
                  </a:lnTo>
                  <a:lnTo>
                    <a:pt x="1014" y="1062"/>
                  </a:lnTo>
                  <a:lnTo>
                    <a:pt x="1014" y="1062"/>
                  </a:lnTo>
                  <a:lnTo>
                    <a:pt x="1012" y="1060"/>
                  </a:lnTo>
                  <a:lnTo>
                    <a:pt x="1010" y="1058"/>
                  </a:lnTo>
                  <a:lnTo>
                    <a:pt x="1004" y="1058"/>
                  </a:lnTo>
                  <a:lnTo>
                    <a:pt x="998" y="1060"/>
                  </a:lnTo>
                  <a:lnTo>
                    <a:pt x="996" y="1062"/>
                  </a:lnTo>
                  <a:lnTo>
                    <a:pt x="996" y="1064"/>
                  </a:lnTo>
                  <a:lnTo>
                    <a:pt x="996" y="1064"/>
                  </a:lnTo>
                  <a:lnTo>
                    <a:pt x="994" y="1068"/>
                  </a:lnTo>
                  <a:lnTo>
                    <a:pt x="992" y="1072"/>
                  </a:lnTo>
                  <a:lnTo>
                    <a:pt x="986" y="1076"/>
                  </a:lnTo>
                  <a:lnTo>
                    <a:pt x="978" y="1078"/>
                  </a:lnTo>
                  <a:lnTo>
                    <a:pt x="978" y="1078"/>
                  </a:lnTo>
                  <a:lnTo>
                    <a:pt x="972" y="1076"/>
                  </a:lnTo>
                  <a:lnTo>
                    <a:pt x="968" y="1072"/>
                  </a:lnTo>
                  <a:lnTo>
                    <a:pt x="966" y="1066"/>
                  </a:lnTo>
                  <a:lnTo>
                    <a:pt x="966" y="1060"/>
                  </a:lnTo>
                  <a:lnTo>
                    <a:pt x="966" y="1060"/>
                  </a:lnTo>
                  <a:lnTo>
                    <a:pt x="964" y="1060"/>
                  </a:lnTo>
                  <a:lnTo>
                    <a:pt x="958" y="1060"/>
                  </a:lnTo>
                  <a:lnTo>
                    <a:pt x="940" y="1062"/>
                  </a:lnTo>
                  <a:lnTo>
                    <a:pt x="920" y="1070"/>
                  </a:lnTo>
                  <a:lnTo>
                    <a:pt x="912" y="1074"/>
                  </a:lnTo>
                  <a:lnTo>
                    <a:pt x="906" y="1078"/>
                  </a:lnTo>
                  <a:lnTo>
                    <a:pt x="906" y="1078"/>
                  </a:lnTo>
                  <a:lnTo>
                    <a:pt x="900" y="1082"/>
                  </a:lnTo>
                  <a:lnTo>
                    <a:pt x="894" y="1084"/>
                  </a:lnTo>
                  <a:lnTo>
                    <a:pt x="880" y="1088"/>
                  </a:lnTo>
                  <a:lnTo>
                    <a:pt x="870" y="1088"/>
                  </a:lnTo>
                  <a:lnTo>
                    <a:pt x="866" y="1090"/>
                  </a:lnTo>
                  <a:lnTo>
                    <a:pt x="864" y="1092"/>
                  </a:lnTo>
                  <a:lnTo>
                    <a:pt x="864" y="1092"/>
                  </a:lnTo>
                  <a:lnTo>
                    <a:pt x="862" y="1096"/>
                  </a:lnTo>
                  <a:lnTo>
                    <a:pt x="858" y="1098"/>
                  </a:lnTo>
                  <a:lnTo>
                    <a:pt x="856" y="1098"/>
                  </a:lnTo>
                  <a:lnTo>
                    <a:pt x="854" y="1096"/>
                  </a:lnTo>
                  <a:lnTo>
                    <a:pt x="854" y="1096"/>
                  </a:lnTo>
                  <a:lnTo>
                    <a:pt x="852" y="1092"/>
                  </a:lnTo>
                  <a:lnTo>
                    <a:pt x="850" y="1088"/>
                  </a:lnTo>
                  <a:lnTo>
                    <a:pt x="844" y="1086"/>
                  </a:lnTo>
                  <a:lnTo>
                    <a:pt x="838" y="1086"/>
                  </a:lnTo>
                  <a:lnTo>
                    <a:pt x="838" y="1086"/>
                  </a:lnTo>
                  <a:lnTo>
                    <a:pt x="834" y="1086"/>
                  </a:lnTo>
                  <a:lnTo>
                    <a:pt x="834" y="1084"/>
                  </a:lnTo>
                  <a:lnTo>
                    <a:pt x="836" y="1080"/>
                  </a:lnTo>
                  <a:lnTo>
                    <a:pt x="840" y="1076"/>
                  </a:lnTo>
                  <a:lnTo>
                    <a:pt x="840" y="1072"/>
                  </a:lnTo>
                  <a:lnTo>
                    <a:pt x="840" y="1070"/>
                  </a:lnTo>
                  <a:lnTo>
                    <a:pt x="840" y="1070"/>
                  </a:lnTo>
                  <a:lnTo>
                    <a:pt x="838" y="1070"/>
                  </a:lnTo>
                  <a:lnTo>
                    <a:pt x="836" y="1070"/>
                  </a:lnTo>
                  <a:lnTo>
                    <a:pt x="830" y="1074"/>
                  </a:lnTo>
                  <a:lnTo>
                    <a:pt x="824" y="1076"/>
                  </a:lnTo>
                  <a:lnTo>
                    <a:pt x="820" y="1078"/>
                  </a:lnTo>
                  <a:lnTo>
                    <a:pt x="816" y="1076"/>
                  </a:lnTo>
                  <a:lnTo>
                    <a:pt x="816" y="1076"/>
                  </a:lnTo>
                  <a:lnTo>
                    <a:pt x="812" y="1076"/>
                  </a:lnTo>
                  <a:lnTo>
                    <a:pt x="808" y="1078"/>
                  </a:lnTo>
                  <a:lnTo>
                    <a:pt x="800" y="1082"/>
                  </a:lnTo>
                  <a:lnTo>
                    <a:pt x="786" y="1094"/>
                  </a:lnTo>
                  <a:lnTo>
                    <a:pt x="786" y="1094"/>
                  </a:lnTo>
                  <a:lnTo>
                    <a:pt x="782" y="1096"/>
                  </a:lnTo>
                  <a:lnTo>
                    <a:pt x="778" y="1098"/>
                  </a:lnTo>
                  <a:lnTo>
                    <a:pt x="772" y="1096"/>
                  </a:lnTo>
                  <a:lnTo>
                    <a:pt x="770" y="1090"/>
                  </a:lnTo>
                  <a:lnTo>
                    <a:pt x="770" y="1088"/>
                  </a:lnTo>
                  <a:lnTo>
                    <a:pt x="772" y="1084"/>
                  </a:lnTo>
                  <a:lnTo>
                    <a:pt x="772" y="1084"/>
                  </a:lnTo>
                  <a:lnTo>
                    <a:pt x="774" y="1080"/>
                  </a:lnTo>
                  <a:lnTo>
                    <a:pt x="772" y="1076"/>
                  </a:lnTo>
                  <a:lnTo>
                    <a:pt x="768" y="1078"/>
                  </a:lnTo>
                  <a:lnTo>
                    <a:pt x="762" y="1080"/>
                  </a:lnTo>
                  <a:lnTo>
                    <a:pt x="762" y="1080"/>
                  </a:lnTo>
                  <a:lnTo>
                    <a:pt x="754" y="1080"/>
                  </a:lnTo>
                  <a:lnTo>
                    <a:pt x="748" y="1080"/>
                  </a:lnTo>
                  <a:lnTo>
                    <a:pt x="742" y="1076"/>
                  </a:lnTo>
                  <a:lnTo>
                    <a:pt x="742" y="1070"/>
                  </a:lnTo>
                  <a:lnTo>
                    <a:pt x="742" y="1070"/>
                  </a:lnTo>
                  <a:lnTo>
                    <a:pt x="742" y="1066"/>
                  </a:lnTo>
                  <a:lnTo>
                    <a:pt x="740" y="1064"/>
                  </a:lnTo>
                  <a:lnTo>
                    <a:pt x="736" y="1058"/>
                  </a:lnTo>
                  <a:lnTo>
                    <a:pt x="730" y="1054"/>
                  </a:lnTo>
                  <a:lnTo>
                    <a:pt x="728" y="1048"/>
                  </a:lnTo>
                  <a:lnTo>
                    <a:pt x="728" y="1048"/>
                  </a:lnTo>
                  <a:lnTo>
                    <a:pt x="730" y="1046"/>
                  </a:lnTo>
                  <a:lnTo>
                    <a:pt x="734" y="1046"/>
                  </a:lnTo>
                  <a:lnTo>
                    <a:pt x="744" y="1052"/>
                  </a:lnTo>
                  <a:lnTo>
                    <a:pt x="744" y="1052"/>
                  </a:lnTo>
                  <a:lnTo>
                    <a:pt x="748" y="1054"/>
                  </a:lnTo>
                  <a:lnTo>
                    <a:pt x="754" y="1056"/>
                  </a:lnTo>
                  <a:lnTo>
                    <a:pt x="760" y="1054"/>
                  </a:lnTo>
                  <a:lnTo>
                    <a:pt x="762" y="1052"/>
                  </a:lnTo>
                  <a:lnTo>
                    <a:pt x="762" y="1052"/>
                  </a:lnTo>
                  <a:lnTo>
                    <a:pt x="762" y="1046"/>
                  </a:lnTo>
                  <a:lnTo>
                    <a:pt x="760" y="1040"/>
                  </a:lnTo>
                  <a:lnTo>
                    <a:pt x="758" y="1034"/>
                  </a:lnTo>
                  <a:lnTo>
                    <a:pt x="756" y="1034"/>
                  </a:lnTo>
                  <a:lnTo>
                    <a:pt x="752" y="1034"/>
                  </a:lnTo>
                  <a:lnTo>
                    <a:pt x="752" y="1034"/>
                  </a:lnTo>
                  <a:lnTo>
                    <a:pt x="748" y="1036"/>
                  </a:lnTo>
                  <a:lnTo>
                    <a:pt x="744" y="1036"/>
                  </a:lnTo>
                  <a:lnTo>
                    <a:pt x="742" y="1036"/>
                  </a:lnTo>
                  <a:lnTo>
                    <a:pt x="740" y="1032"/>
                  </a:lnTo>
                  <a:lnTo>
                    <a:pt x="740" y="1032"/>
                  </a:lnTo>
                  <a:lnTo>
                    <a:pt x="740" y="1030"/>
                  </a:lnTo>
                  <a:lnTo>
                    <a:pt x="742" y="1026"/>
                  </a:lnTo>
                  <a:lnTo>
                    <a:pt x="748" y="1016"/>
                  </a:lnTo>
                  <a:lnTo>
                    <a:pt x="748" y="1016"/>
                  </a:lnTo>
                  <a:lnTo>
                    <a:pt x="752" y="1012"/>
                  </a:lnTo>
                  <a:lnTo>
                    <a:pt x="756" y="1010"/>
                  </a:lnTo>
                  <a:lnTo>
                    <a:pt x="762" y="1010"/>
                  </a:lnTo>
                  <a:lnTo>
                    <a:pt x="766" y="1006"/>
                  </a:lnTo>
                  <a:lnTo>
                    <a:pt x="766" y="1006"/>
                  </a:lnTo>
                  <a:lnTo>
                    <a:pt x="764" y="1002"/>
                  </a:lnTo>
                  <a:lnTo>
                    <a:pt x="760" y="998"/>
                  </a:lnTo>
                  <a:lnTo>
                    <a:pt x="752" y="994"/>
                  </a:lnTo>
                  <a:lnTo>
                    <a:pt x="752" y="994"/>
                  </a:lnTo>
                  <a:lnTo>
                    <a:pt x="750" y="990"/>
                  </a:lnTo>
                  <a:lnTo>
                    <a:pt x="748" y="984"/>
                  </a:lnTo>
                  <a:lnTo>
                    <a:pt x="748" y="980"/>
                  </a:lnTo>
                  <a:lnTo>
                    <a:pt x="752" y="974"/>
                  </a:lnTo>
                  <a:lnTo>
                    <a:pt x="752" y="974"/>
                  </a:lnTo>
                  <a:lnTo>
                    <a:pt x="754" y="970"/>
                  </a:lnTo>
                  <a:lnTo>
                    <a:pt x="756" y="962"/>
                  </a:lnTo>
                  <a:lnTo>
                    <a:pt x="756" y="956"/>
                  </a:lnTo>
                  <a:lnTo>
                    <a:pt x="754" y="952"/>
                  </a:lnTo>
                  <a:lnTo>
                    <a:pt x="754" y="952"/>
                  </a:lnTo>
                  <a:lnTo>
                    <a:pt x="750" y="950"/>
                  </a:lnTo>
                  <a:lnTo>
                    <a:pt x="744" y="952"/>
                  </a:lnTo>
                  <a:lnTo>
                    <a:pt x="738" y="956"/>
                  </a:lnTo>
                  <a:lnTo>
                    <a:pt x="736" y="958"/>
                  </a:lnTo>
                  <a:lnTo>
                    <a:pt x="734" y="962"/>
                  </a:lnTo>
                  <a:lnTo>
                    <a:pt x="734" y="962"/>
                  </a:lnTo>
                  <a:lnTo>
                    <a:pt x="734" y="966"/>
                  </a:lnTo>
                  <a:lnTo>
                    <a:pt x="732" y="968"/>
                  </a:lnTo>
                  <a:lnTo>
                    <a:pt x="728" y="970"/>
                  </a:lnTo>
                  <a:lnTo>
                    <a:pt x="722" y="970"/>
                  </a:lnTo>
                  <a:lnTo>
                    <a:pt x="718" y="970"/>
                  </a:lnTo>
                  <a:lnTo>
                    <a:pt x="718" y="970"/>
                  </a:lnTo>
                  <a:lnTo>
                    <a:pt x="718" y="972"/>
                  </a:lnTo>
                  <a:lnTo>
                    <a:pt x="720" y="976"/>
                  </a:lnTo>
                  <a:lnTo>
                    <a:pt x="722" y="980"/>
                  </a:lnTo>
                  <a:lnTo>
                    <a:pt x="720" y="982"/>
                  </a:lnTo>
                  <a:lnTo>
                    <a:pt x="720" y="982"/>
                  </a:lnTo>
                  <a:lnTo>
                    <a:pt x="718" y="984"/>
                  </a:lnTo>
                  <a:lnTo>
                    <a:pt x="716" y="984"/>
                  </a:lnTo>
                  <a:lnTo>
                    <a:pt x="712" y="980"/>
                  </a:lnTo>
                  <a:lnTo>
                    <a:pt x="710" y="976"/>
                  </a:lnTo>
                  <a:lnTo>
                    <a:pt x="704" y="974"/>
                  </a:lnTo>
                  <a:lnTo>
                    <a:pt x="704" y="974"/>
                  </a:lnTo>
                  <a:lnTo>
                    <a:pt x="702" y="974"/>
                  </a:lnTo>
                  <a:lnTo>
                    <a:pt x="698" y="976"/>
                  </a:lnTo>
                  <a:lnTo>
                    <a:pt x="696" y="982"/>
                  </a:lnTo>
                  <a:lnTo>
                    <a:pt x="690" y="994"/>
                  </a:lnTo>
                  <a:lnTo>
                    <a:pt x="690" y="994"/>
                  </a:lnTo>
                  <a:lnTo>
                    <a:pt x="688" y="1000"/>
                  </a:lnTo>
                  <a:lnTo>
                    <a:pt x="688" y="1008"/>
                  </a:lnTo>
                  <a:lnTo>
                    <a:pt x="690" y="1026"/>
                  </a:lnTo>
                  <a:lnTo>
                    <a:pt x="690" y="1026"/>
                  </a:lnTo>
                  <a:lnTo>
                    <a:pt x="692" y="1032"/>
                  </a:lnTo>
                  <a:lnTo>
                    <a:pt x="698" y="1038"/>
                  </a:lnTo>
                  <a:lnTo>
                    <a:pt x="700" y="1044"/>
                  </a:lnTo>
                  <a:lnTo>
                    <a:pt x="700" y="1050"/>
                  </a:lnTo>
                  <a:lnTo>
                    <a:pt x="700" y="1050"/>
                  </a:lnTo>
                  <a:lnTo>
                    <a:pt x="700" y="1052"/>
                  </a:lnTo>
                  <a:lnTo>
                    <a:pt x="702" y="1056"/>
                  </a:lnTo>
                  <a:lnTo>
                    <a:pt x="706" y="1062"/>
                  </a:lnTo>
                  <a:lnTo>
                    <a:pt x="710" y="1068"/>
                  </a:lnTo>
                  <a:lnTo>
                    <a:pt x="710" y="1072"/>
                  </a:lnTo>
                  <a:lnTo>
                    <a:pt x="710" y="1074"/>
                  </a:lnTo>
                  <a:lnTo>
                    <a:pt x="710" y="1074"/>
                  </a:lnTo>
                  <a:lnTo>
                    <a:pt x="708" y="1080"/>
                  </a:lnTo>
                  <a:lnTo>
                    <a:pt x="710" y="1084"/>
                  </a:lnTo>
                  <a:lnTo>
                    <a:pt x="716" y="1098"/>
                  </a:lnTo>
                  <a:lnTo>
                    <a:pt x="716" y="1098"/>
                  </a:lnTo>
                  <a:lnTo>
                    <a:pt x="718" y="1100"/>
                  </a:lnTo>
                  <a:lnTo>
                    <a:pt x="718" y="1102"/>
                  </a:lnTo>
                  <a:lnTo>
                    <a:pt x="714" y="1104"/>
                  </a:lnTo>
                  <a:lnTo>
                    <a:pt x="708" y="1106"/>
                  </a:lnTo>
                  <a:lnTo>
                    <a:pt x="706" y="1106"/>
                  </a:lnTo>
                  <a:lnTo>
                    <a:pt x="706" y="1108"/>
                  </a:lnTo>
                  <a:lnTo>
                    <a:pt x="706" y="1108"/>
                  </a:lnTo>
                  <a:lnTo>
                    <a:pt x="704" y="1110"/>
                  </a:lnTo>
                  <a:lnTo>
                    <a:pt x="702" y="1112"/>
                  </a:lnTo>
                  <a:lnTo>
                    <a:pt x="696" y="1110"/>
                  </a:lnTo>
                  <a:lnTo>
                    <a:pt x="684" y="1106"/>
                  </a:lnTo>
                  <a:lnTo>
                    <a:pt x="684" y="1106"/>
                  </a:lnTo>
                  <a:lnTo>
                    <a:pt x="680" y="1104"/>
                  </a:lnTo>
                  <a:lnTo>
                    <a:pt x="672" y="1104"/>
                  </a:lnTo>
                  <a:lnTo>
                    <a:pt x="666" y="1106"/>
                  </a:lnTo>
                  <a:lnTo>
                    <a:pt x="664" y="1108"/>
                  </a:lnTo>
                  <a:lnTo>
                    <a:pt x="664" y="1108"/>
                  </a:lnTo>
                  <a:lnTo>
                    <a:pt x="664" y="1116"/>
                  </a:lnTo>
                  <a:lnTo>
                    <a:pt x="660" y="1118"/>
                  </a:lnTo>
                  <a:lnTo>
                    <a:pt x="656" y="1118"/>
                  </a:lnTo>
                  <a:lnTo>
                    <a:pt x="656" y="1118"/>
                  </a:lnTo>
                  <a:lnTo>
                    <a:pt x="652" y="1116"/>
                  </a:lnTo>
                  <a:lnTo>
                    <a:pt x="646" y="1116"/>
                  </a:lnTo>
                  <a:lnTo>
                    <a:pt x="630" y="1118"/>
                  </a:lnTo>
                  <a:lnTo>
                    <a:pt x="630" y="1118"/>
                  </a:lnTo>
                  <a:lnTo>
                    <a:pt x="622" y="1122"/>
                  </a:lnTo>
                  <a:lnTo>
                    <a:pt x="618" y="1126"/>
                  </a:lnTo>
                  <a:lnTo>
                    <a:pt x="616" y="1132"/>
                  </a:lnTo>
                  <a:lnTo>
                    <a:pt x="618" y="1138"/>
                  </a:lnTo>
                  <a:lnTo>
                    <a:pt x="618" y="1138"/>
                  </a:lnTo>
                  <a:lnTo>
                    <a:pt x="618" y="1138"/>
                  </a:lnTo>
                  <a:lnTo>
                    <a:pt x="618" y="1140"/>
                  </a:lnTo>
                  <a:lnTo>
                    <a:pt x="614" y="1142"/>
                  </a:lnTo>
                  <a:lnTo>
                    <a:pt x="608" y="1142"/>
                  </a:lnTo>
                  <a:lnTo>
                    <a:pt x="606" y="1140"/>
                  </a:lnTo>
                  <a:lnTo>
                    <a:pt x="606" y="1138"/>
                  </a:lnTo>
                  <a:lnTo>
                    <a:pt x="606" y="1138"/>
                  </a:lnTo>
                  <a:lnTo>
                    <a:pt x="604" y="1136"/>
                  </a:lnTo>
                  <a:lnTo>
                    <a:pt x="602" y="1134"/>
                  </a:lnTo>
                  <a:lnTo>
                    <a:pt x="598" y="1136"/>
                  </a:lnTo>
                  <a:lnTo>
                    <a:pt x="594" y="1138"/>
                  </a:lnTo>
                  <a:lnTo>
                    <a:pt x="592" y="1144"/>
                  </a:lnTo>
                  <a:lnTo>
                    <a:pt x="592" y="1144"/>
                  </a:lnTo>
                  <a:lnTo>
                    <a:pt x="592" y="1148"/>
                  </a:lnTo>
                  <a:lnTo>
                    <a:pt x="590" y="1150"/>
                  </a:lnTo>
                  <a:lnTo>
                    <a:pt x="586" y="1154"/>
                  </a:lnTo>
                  <a:lnTo>
                    <a:pt x="582" y="1160"/>
                  </a:lnTo>
                  <a:lnTo>
                    <a:pt x="580" y="1162"/>
                  </a:lnTo>
                  <a:lnTo>
                    <a:pt x="580" y="1166"/>
                  </a:lnTo>
                  <a:lnTo>
                    <a:pt x="580" y="1166"/>
                  </a:lnTo>
                  <a:lnTo>
                    <a:pt x="578" y="1174"/>
                  </a:lnTo>
                  <a:lnTo>
                    <a:pt x="572" y="1182"/>
                  </a:lnTo>
                  <a:lnTo>
                    <a:pt x="566" y="1188"/>
                  </a:lnTo>
                  <a:lnTo>
                    <a:pt x="558" y="1192"/>
                  </a:lnTo>
                  <a:lnTo>
                    <a:pt x="558" y="1192"/>
                  </a:lnTo>
                  <a:lnTo>
                    <a:pt x="544" y="1200"/>
                  </a:lnTo>
                  <a:lnTo>
                    <a:pt x="538" y="1202"/>
                  </a:lnTo>
                  <a:lnTo>
                    <a:pt x="530" y="1202"/>
                  </a:lnTo>
                  <a:lnTo>
                    <a:pt x="530" y="1202"/>
                  </a:lnTo>
                  <a:lnTo>
                    <a:pt x="522" y="1204"/>
                  </a:lnTo>
                  <a:lnTo>
                    <a:pt x="518" y="1208"/>
                  </a:lnTo>
                  <a:lnTo>
                    <a:pt x="514" y="1216"/>
                  </a:lnTo>
                  <a:lnTo>
                    <a:pt x="514" y="1226"/>
                  </a:lnTo>
                  <a:lnTo>
                    <a:pt x="514" y="1226"/>
                  </a:lnTo>
                  <a:lnTo>
                    <a:pt x="514" y="1232"/>
                  </a:lnTo>
                  <a:lnTo>
                    <a:pt x="512" y="1236"/>
                  </a:lnTo>
                  <a:lnTo>
                    <a:pt x="510" y="1238"/>
                  </a:lnTo>
                  <a:lnTo>
                    <a:pt x="506" y="1242"/>
                  </a:lnTo>
                  <a:lnTo>
                    <a:pt x="496" y="1244"/>
                  </a:lnTo>
                  <a:lnTo>
                    <a:pt x="486" y="1244"/>
                  </a:lnTo>
                  <a:lnTo>
                    <a:pt x="486" y="1244"/>
                  </a:lnTo>
                  <a:lnTo>
                    <a:pt x="480" y="1246"/>
                  </a:lnTo>
                  <a:lnTo>
                    <a:pt x="476" y="1248"/>
                  </a:lnTo>
                  <a:lnTo>
                    <a:pt x="472" y="1254"/>
                  </a:lnTo>
                  <a:lnTo>
                    <a:pt x="470" y="1260"/>
                  </a:lnTo>
                  <a:lnTo>
                    <a:pt x="468" y="1264"/>
                  </a:lnTo>
                  <a:lnTo>
                    <a:pt x="468" y="1264"/>
                  </a:lnTo>
                  <a:lnTo>
                    <a:pt x="464" y="1266"/>
                  </a:lnTo>
                  <a:lnTo>
                    <a:pt x="460" y="1266"/>
                  </a:lnTo>
                  <a:lnTo>
                    <a:pt x="448" y="1264"/>
                  </a:lnTo>
                  <a:lnTo>
                    <a:pt x="438" y="1258"/>
                  </a:lnTo>
                  <a:lnTo>
                    <a:pt x="436" y="1256"/>
                  </a:lnTo>
                  <a:lnTo>
                    <a:pt x="434" y="1252"/>
                  </a:lnTo>
                  <a:lnTo>
                    <a:pt x="434" y="1252"/>
                  </a:lnTo>
                  <a:lnTo>
                    <a:pt x="432" y="1250"/>
                  </a:lnTo>
                  <a:lnTo>
                    <a:pt x="428" y="1250"/>
                  </a:lnTo>
                  <a:lnTo>
                    <a:pt x="420" y="1250"/>
                  </a:lnTo>
                  <a:lnTo>
                    <a:pt x="418" y="1252"/>
                  </a:lnTo>
                  <a:lnTo>
                    <a:pt x="416" y="1256"/>
                  </a:lnTo>
                  <a:lnTo>
                    <a:pt x="416" y="1260"/>
                  </a:lnTo>
                  <a:lnTo>
                    <a:pt x="418" y="1264"/>
                  </a:lnTo>
                  <a:lnTo>
                    <a:pt x="418" y="1264"/>
                  </a:lnTo>
                  <a:lnTo>
                    <a:pt x="422" y="1272"/>
                  </a:lnTo>
                  <a:lnTo>
                    <a:pt x="424" y="1280"/>
                  </a:lnTo>
                  <a:lnTo>
                    <a:pt x="424" y="1288"/>
                  </a:lnTo>
                  <a:lnTo>
                    <a:pt x="422" y="1292"/>
                  </a:lnTo>
                  <a:lnTo>
                    <a:pt x="422" y="1292"/>
                  </a:lnTo>
                  <a:lnTo>
                    <a:pt x="416" y="1292"/>
                  </a:lnTo>
                  <a:lnTo>
                    <a:pt x="410" y="1292"/>
                  </a:lnTo>
                  <a:lnTo>
                    <a:pt x="404" y="1290"/>
                  </a:lnTo>
                  <a:lnTo>
                    <a:pt x="400" y="1290"/>
                  </a:lnTo>
                  <a:lnTo>
                    <a:pt x="398" y="1290"/>
                  </a:lnTo>
                  <a:lnTo>
                    <a:pt x="398" y="1290"/>
                  </a:lnTo>
                  <a:lnTo>
                    <a:pt x="392" y="1292"/>
                  </a:lnTo>
                  <a:lnTo>
                    <a:pt x="390" y="1290"/>
                  </a:lnTo>
                  <a:lnTo>
                    <a:pt x="386" y="1286"/>
                  </a:lnTo>
                  <a:lnTo>
                    <a:pt x="380" y="1282"/>
                  </a:lnTo>
                  <a:lnTo>
                    <a:pt x="380" y="1282"/>
                  </a:lnTo>
                  <a:lnTo>
                    <a:pt x="374" y="1282"/>
                  </a:lnTo>
                  <a:lnTo>
                    <a:pt x="370" y="1284"/>
                  </a:lnTo>
                  <a:lnTo>
                    <a:pt x="364" y="1286"/>
                  </a:lnTo>
                  <a:lnTo>
                    <a:pt x="354" y="1286"/>
                  </a:lnTo>
                  <a:lnTo>
                    <a:pt x="354" y="1286"/>
                  </a:lnTo>
                  <a:lnTo>
                    <a:pt x="344" y="1286"/>
                  </a:lnTo>
                  <a:lnTo>
                    <a:pt x="338" y="1290"/>
                  </a:lnTo>
                  <a:lnTo>
                    <a:pt x="336" y="1294"/>
                  </a:lnTo>
                  <a:lnTo>
                    <a:pt x="338" y="1298"/>
                  </a:lnTo>
                  <a:lnTo>
                    <a:pt x="338" y="1298"/>
                  </a:lnTo>
                  <a:lnTo>
                    <a:pt x="340" y="1304"/>
                  </a:lnTo>
                  <a:lnTo>
                    <a:pt x="340" y="1308"/>
                  </a:lnTo>
                  <a:lnTo>
                    <a:pt x="338" y="1312"/>
                  </a:lnTo>
                  <a:lnTo>
                    <a:pt x="340" y="1316"/>
                  </a:lnTo>
                  <a:lnTo>
                    <a:pt x="340" y="1316"/>
                  </a:lnTo>
                  <a:lnTo>
                    <a:pt x="346" y="1318"/>
                  </a:lnTo>
                  <a:lnTo>
                    <a:pt x="354" y="1320"/>
                  </a:lnTo>
                  <a:lnTo>
                    <a:pt x="366" y="1324"/>
                  </a:lnTo>
                  <a:lnTo>
                    <a:pt x="376" y="1328"/>
                  </a:lnTo>
                  <a:lnTo>
                    <a:pt x="376" y="1328"/>
                  </a:lnTo>
                  <a:lnTo>
                    <a:pt x="386" y="1330"/>
                  </a:lnTo>
                  <a:lnTo>
                    <a:pt x="392" y="1332"/>
                  </a:lnTo>
                  <a:lnTo>
                    <a:pt x="396" y="1332"/>
                  </a:lnTo>
                  <a:lnTo>
                    <a:pt x="400" y="1334"/>
                  </a:lnTo>
                  <a:lnTo>
                    <a:pt x="400" y="1334"/>
                  </a:lnTo>
                  <a:lnTo>
                    <a:pt x="408" y="1338"/>
                  </a:lnTo>
                  <a:lnTo>
                    <a:pt x="408" y="1340"/>
                  </a:lnTo>
                  <a:lnTo>
                    <a:pt x="410" y="1346"/>
                  </a:lnTo>
                  <a:lnTo>
                    <a:pt x="410" y="1346"/>
                  </a:lnTo>
                  <a:lnTo>
                    <a:pt x="410" y="1354"/>
                  </a:lnTo>
                  <a:lnTo>
                    <a:pt x="416" y="1360"/>
                  </a:lnTo>
                  <a:lnTo>
                    <a:pt x="422" y="1366"/>
                  </a:lnTo>
                  <a:lnTo>
                    <a:pt x="430" y="1370"/>
                  </a:lnTo>
                  <a:lnTo>
                    <a:pt x="430" y="1370"/>
                  </a:lnTo>
                  <a:lnTo>
                    <a:pt x="434" y="1370"/>
                  </a:lnTo>
                  <a:lnTo>
                    <a:pt x="436" y="1372"/>
                  </a:lnTo>
                  <a:lnTo>
                    <a:pt x="438" y="1378"/>
                  </a:lnTo>
                  <a:lnTo>
                    <a:pt x="438" y="1384"/>
                  </a:lnTo>
                  <a:lnTo>
                    <a:pt x="438" y="1390"/>
                  </a:lnTo>
                  <a:lnTo>
                    <a:pt x="438" y="1390"/>
                  </a:lnTo>
                  <a:lnTo>
                    <a:pt x="438" y="1398"/>
                  </a:lnTo>
                  <a:lnTo>
                    <a:pt x="436" y="1406"/>
                  </a:lnTo>
                  <a:lnTo>
                    <a:pt x="434" y="1414"/>
                  </a:lnTo>
                  <a:lnTo>
                    <a:pt x="434" y="1424"/>
                  </a:lnTo>
                  <a:lnTo>
                    <a:pt x="434" y="1424"/>
                  </a:lnTo>
                  <a:lnTo>
                    <a:pt x="434" y="1434"/>
                  </a:lnTo>
                  <a:lnTo>
                    <a:pt x="430" y="1450"/>
                  </a:lnTo>
                  <a:lnTo>
                    <a:pt x="426" y="1464"/>
                  </a:lnTo>
                  <a:lnTo>
                    <a:pt x="424" y="1470"/>
                  </a:lnTo>
                  <a:lnTo>
                    <a:pt x="422" y="1472"/>
                  </a:lnTo>
                  <a:lnTo>
                    <a:pt x="422" y="1472"/>
                  </a:lnTo>
                  <a:lnTo>
                    <a:pt x="414" y="1472"/>
                  </a:lnTo>
                  <a:lnTo>
                    <a:pt x="400" y="1470"/>
                  </a:lnTo>
                  <a:lnTo>
                    <a:pt x="386" y="1468"/>
                  </a:lnTo>
                  <a:lnTo>
                    <a:pt x="372" y="1468"/>
                  </a:lnTo>
                  <a:lnTo>
                    <a:pt x="372" y="1468"/>
                  </a:lnTo>
                  <a:lnTo>
                    <a:pt x="354" y="1468"/>
                  </a:lnTo>
                  <a:lnTo>
                    <a:pt x="328" y="1468"/>
                  </a:lnTo>
                  <a:lnTo>
                    <a:pt x="302" y="1466"/>
                  </a:lnTo>
                  <a:lnTo>
                    <a:pt x="282" y="1466"/>
                  </a:lnTo>
                  <a:lnTo>
                    <a:pt x="282" y="1466"/>
                  </a:lnTo>
                  <a:lnTo>
                    <a:pt x="270" y="1466"/>
                  </a:lnTo>
                  <a:lnTo>
                    <a:pt x="262" y="1464"/>
                  </a:lnTo>
                  <a:lnTo>
                    <a:pt x="256" y="1460"/>
                  </a:lnTo>
                  <a:lnTo>
                    <a:pt x="250" y="1458"/>
                  </a:lnTo>
                  <a:lnTo>
                    <a:pt x="250" y="1458"/>
                  </a:lnTo>
                  <a:lnTo>
                    <a:pt x="246" y="1458"/>
                  </a:lnTo>
                  <a:lnTo>
                    <a:pt x="244" y="1460"/>
                  </a:lnTo>
                  <a:lnTo>
                    <a:pt x="240" y="1466"/>
                  </a:lnTo>
                  <a:lnTo>
                    <a:pt x="236" y="1470"/>
                  </a:lnTo>
                  <a:lnTo>
                    <a:pt x="232" y="1472"/>
                  </a:lnTo>
                  <a:lnTo>
                    <a:pt x="226" y="1472"/>
                  </a:lnTo>
                  <a:lnTo>
                    <a:pt x="226" y="1472"/>
                  </a:lnTo>
                  <a:lnTo>
                    <a:pt x="218" y="1474"/>
                  </a:lnTo>
                  <a:lnTo>
                    <a:pt x="214" y="1476"/>
                  </a:lnTo>
                  <a:lnTo>
                    <a:pt x="214" y="1478"/>
                  </a:lnTo>
                  <a:lnTo>
                    <a:pt x="214" y="1482"/>
                  </a:lnTo>
                  <a:lnTo>
                    <a:pt x="214" y="1486"/>
                  </a:lnTo>
                  <a:lnTo>
                    <a:pt x="220" y="1492"/>
                  </a:lnTo>
                  <a:lnTo>
                    <a:pt x="220" y="1492"/>
                  </a:lnTo>
                  <a:lnTo>
                    <a:pt x="224" y="1496"/>
                  </a:lnTo>
                  <a:lnTo>
                    <a:pt x="226" y="1502"/>
                  </a:lnTo>
                  <a:lnTo>
                    <a:pt x="226" y="1514"/>
                  </a:lnTo>
                  <a:lnTo>
                    <a:pt x="224" y="1528"/>
                  </a:lnTo>
                  <a:lnTo>
                    <a:pt x="226" y="1534"/>
                  </a:lnTo>
                  <a:lnTo>
                    <a:pt x="226" y="1538"/>
                  </a:lnTo>
                  <a:lnTo>
                    <a:pt x="226" y="1538"/>
                  </a:lnTo>
                  <a:lnTo>
                    <a:pt x="228" y="1542"/>
                  </a:lnTo>
                  <a:lnTo>
                    <a:pt x="228" y="1550"/>
                  </a:lnTo>
                  <a:lnTo>
                    <a:pt x="224" y="1568"/>
                  </a:lnTo>
                  <a:lnTo>
                    <a:pt x="218" y="1588"/>
                  </a:lnTo>
                  <a:lnTo>
                    <a:pt x="214" y="1596"/>
                  </a:lnTo>
                  <a:lnTo>
                    <a:pt x="210" y="1602"/>
                  </a:lnTo>
                  <a:lnTo>
                    <a:pt x="210" y="1602"/>
                  </a:lnTo>
                  <a:lnTo>
                    <a:pt x="206" y="1610"/>
                  </a:lnTo>
                  <a:lnTo>
                    <a:pt x="206" y="1614"/>
                  </a:lnTo>
                  <a:lnTo>
                    <a:pt x="206" y="1616"/>
                  </a:lnTo>
                  <a:lnTo>
                    <a:pt x="212" y="1620"/>
                  </a:lnTo>
                  <a:lnTo>
                    <a:pt x="220" y="1626"/>
                  </a:lnTo>
                  <a:lnTo>
                    <a:pt x="220" y="1626"/>
                  </a:lnTo>
                  <a:lnTo>
                    <a:pt x="224" y="1630"/>
                  </a:lnTo>
                  <a:lnTo>
                    <a:pt x="226" y="1636"/>
                  </a:lnTo>
                  <a:lnTo>
                    <a:pt x="226" y="1650"/>
                  </a:lnTo>
                  <a:lnTo>
                    <a:pt x="224" y="1672"/>
                  </a:lnTo>
                  <a:lnTo>
                    <a:pt x="224" y="1672"/>
                  </a:lnTo>
                  <a:lnTo>
                    <a:pt x="226" y="1676"/>
                  </a:lnTo>
                  <a:lnTo>
                    <a:pt x="230" y="1678"/>
                  </a:lnTo>
                  <a:lnTo>
                    <a:pt x="244" y="1678"/>
                  </a:lnTo>
                  <a:lnTo>
                    <a:pt x="244" y="1678"/>
                  </a:lnTo>
                  <a:lnTo>
                    <a:pt x="254" y="1676"/>
                  </a:lnTo>
                  <a:lnTo>
                    <a:pt x="262" y="1674"/>
                  </a:lnTo>
                  <a:lnTo>
                    <a:pt x="272" y="1672"/>
                  </a:lnTo>
                  <a:lnTo>
                    <a:pt x="280" y="1674"/>
                  </a:lnTo>
                  <a:lnTo>
                    <a:pt x="280" y="1674"/>
                  </a:lnTo>
                  <a:lnTo>
                    <a:pt x="284" y="1678"/>
                  </a:lnTo>
                  <a:lnTo>
                    <a:pt x="288" y="1682"/>
                  </a:lnTo>
                  <a:lnTo>
                    <a:pt x="296" y="1692"/>
                  </a:lnTo>
                  <a:lnTo>
                    <a:pt x="304" y="1702"/>
                  </a:lnTo>
                  <a:lnTo>
                    <a:pt x="308" y="1706"/>
                  </a:lnTo>
                  <a:lnTo>
                    <a:pt x="314" y="1706"/>
                  </a:lnTo>
                  <a:lnTo>
                    <a:pt x="314" y="1706"/>
                  </a:lnTo>
                  <a:lnTo>
                    <a:pt x="318" y="1704"/>
                  </a:lnTo>
                  <a:lnTo>
                    <a:pt x="318" y="1702"/>
                  </a:lnTo>
                  <a:lnTo>
                    <a:pt x="318" y="1700"/>
                  </a:lnTo>
                  <a:lnTo>
                    <a:pt x="320" y="1698"/>
                  </a:lnTo>
                  <a:lnTo>
                    <a:pt x="320" y="1698"/>
                  </a:lnTo>
                  <a:lnTo>
                    <a:pt x="324" y="1696"/>
                  </a:lnTo>
                  <a:lnTo>
                    <a:pt x="326" y="1696"/>
                  </a:lnTo>
                  <a:lnTo>
                    <a:pt x="336" y="1696"/>
                  </a:lnTo>
                  <a:lnTo>
                    <a:pt x="336" y="1696"/>
                  </a:lnTo>
                  <a:lnTo>
                    <a:pt x="340" y="1694"/>
                  </a:lnTo>
                  <a:lnTo>
                    <a:pt x="346" y="1692"/>
                  </a:lnTo>
                  <a:lnTo>
                    <a:pt x="352" y="1688"/>
                  </a:lnTo>
                  <a:lnTo>
                    <a:pt x="362" y="1686"/>
                  </a:lnTo>
                  <a:lnTo>
                    <a:pt x="362" y="1686"/>
                  </a:lnTo>
                  <a:lnTo>
                    <a:pt x="396" y="1686"/>
                  </a:lnTo>
                  <a:lnTo>
                    <a:pt x="396" y="1686"/>
                  </a:lnTo>
                  <a:lnTo>
                    <a:pt x="402" y="1686"/>
                  </a:lnTo>
                  <a:lnTo>
                    <a:pt x="408" y="1684"/>
                  </a:lnTo>
                  <a:lnTo>
                    <a:pt x="412" y="1680"/>
                  </a:lnTo>
                  <a:lnTo>
                    <a:pt x="416" y="1676"/>
                  </a:lnTo>
                  <a:lnTo>
                    <a:pt x="416" y="1676"/>
                  </a:lnTo>
                  <a:lnTo>
                    <a:pt x="418" y="1670"/>
                  </a:lnTo>
                  <a:lnTo>
                    <a:pt x="422" y="1666"/>
                  </a:lnTo>
                  <a:lnTo>
                    <a:pt x="430" y="1664"/>
                  </a:lnTo>
                  <a:lnTo>
                    <a:pt x="436" y="1662"/>
                  </a:lnTo>
                  <a:lnTo>
                    <a:pt x="436" y="1662"/>
                  </a:lnTo>
                  <a:lnTo>
                    <a:pt x="442" y="1658"/>
                  </a:lnTo>
                  <a:lnTo>
                    <a:pt x="446" y="1654"/>
                  </a:lnTo>
                  <a:lnTo>
                    <a:pt x="446" y="1642"/>
                  </a:lnTo>
                  <a:lnTo>
                    <a:pt x="446" y="1642"/>
                  </a:lnTo>
                  <a:lnTo>
                    <a:pt x="450" y="1636"/>
                  </a:lnTo>
                  <a:lnTo>
                    <a:pt x="456" y="1630"/>
                  </a:lnTo>
                  <a:lnTo>
                    <a:pt x="464" y="1626"/>
                  </a:lnTo>
                  <a:lnTo>
                    <a:pt x="466" y="1620"/>
                  </a:lnTo>
                  <a:lnTo>
                    <a:pt x="466" y="1620"/>
                  </a:lnTo>
                  <a:lnTo>
                    <a:pt x="466" y="1614"/>
                  </a:lnTo>
                  <a:lnTo>
                    <a:pt x="464" y="1606"/>
                  </a:lnTo>
                  <a:lnTo>
                    <a:pt x="462" y="1594"/>
                  </a:lnTo>
                  <a:lnTo>
                    <a:pt x="464" y="1588"/>
                  </a:lnTo>
                  <a:lnTo>
                    <a:pt x="468" y="1582"/>
                  </a:lnTo>
                  <a:lnTo>
                    <a:pt x="468" y="1582"/>
                  </a:lnTo>
                  <a:lnTo>
                    <a:pt x="476" y="1572"/>
                  </a:lnTo>
                  <a:lnTo>
                    <a:pt x="482" y="1566"/>
                  </a:lnTo>
                  <a:lnTo>
                    <a:pt x="488" y="1560"/>
                  </a:lnTo>
                  <a:lnTo>
                    <a:pt x="490" y="1554"/>
                  </a:lnTo>
                  <a:lnTo>
                    <a:pt x="490" y="1554"/>
                  </a:lnTo>
                  <a:lnTo>
                    <a:pt x="492" y="1550"/>
                  </a:lnTo>
                  <a:lnTo>
                    <a:pt x="498" y="1546"/>
                  </a:lnTo>
                  <a:lnTo>
                    <a:pt x="506" y="1542"/>
                  </a:lnTo>
                  <a:lnTo>
                    <a:pt x="514" y="1542"/>
                  </a:lnTo>
                  <a:lnTo>
                    <a:pt x="514" y="1542"/>
                  </a:lnTo>
                  <a:lnTo>
                    <a:pt x="524" y="1538"/>
                  </a:lnTo>
                  <a:lnTo>
                    <a:pt x="530" y="1534"/>
                  </a:lnTo>
                  <a:lnTo>
                    <a:pt x="538" y="1530"/>
                  </a:lnTo>
                  <a:lnTo>
                    <a:pt x="544" y="1526"/>
                  </a:lnTo>
                  <a:lnTo>
                    <a:pt x="544" y="1526"/>
                  </a:lnTo>
                  <a:lnTo>
                    <a:pt x="552" y="1520"/>
                  </a:lnTo>
                  <a:lnTo>
                    <a:pt x="556" y="1514"/>
                  </a:lnTo>
                  <a:lnTo>
                    <a:pt x="556" y="1506"/>
                  </a:lnTo>
                  <a:lnTo>
                    <a:pt x="554" y="1496"/>
                  </a:lnTo>
                  <a:lnTo>
                    <a:pt x="554" y="1496"/>
                  </a:lnTo>
                  <a:lnTo>
                    <a:pt x="554" y="1490"/>
                  </a:lnTo>
                  <a:lnTo>
                    <a:pt x="554" y="1486"/>
                  </a:lnTo>
                  <a:lnTo>
                    <a:pt x="556" y="1480"/>
                  </a:lnTo>
                  <a:lnTo>
                    <a:pt x="558" y="1478"/>
                  </a:lnTo>
                  <a:lnTo>
                    <a:pt x="568" y="1472"/>
                  </a:lnTo>
                  <a:lnTo>
                    <a:pt x="576" y="1468"/>
                  </a:lnTo>
                  <a:lnTo>
                    <a:pt x="576" y="1468"/>
                  </a:lnTo>
                  <a:lnTo>
                    <a:pt x="590" y="1468"/>
                  </a:lnTo>
                  <a:lnTo>
                    <a:pt x="604" y="1472"/>
                  </a:lnTo>
                  <a:lnTo>
                    <a:pt x="618" y="1476"/>
                  </a:lnTo>
                  <a:lnTo>
                    <a:pt x="626" y="1480"/>
                  </a:lnTo>
                  <a:lnTo>
                    <a:pt x="626" y="1480"/>
                  </a:lnTo>
                  <a:lnTo>
                    <a:pt x="634" y="1482"/>
                  </a:lnTo>
                  <a:lnTo>
                    <a:pt x="640" y="1482"/>
                  </a:lnTo>
                  <a:lnTo>
                    <a:pt x="648" y="1478"/>
                  </a:lnTo>
                  <a:lnTo>
                    <a:pt x="658" y="1470"/>
                  </a:lnTo>
                  <a:lnTo>
                    <a:pt x="658" y="1470"/>
                  </a:lnTo>
                  <a:lnTo>
                    <a:pt x="668" y="1462"/>
                  </a:lnTo>
                  <a:lnTo>
                    <a:pt x="676" y="1458"/>
                  </a:lnTo>
                  <a:lnTo>
                    <a:pt x="682" y="1456"/>
                  </a:lnTo>
                  <a:lnTo>
                    <a:pt x="688" y="1454"/>
                  </a:lnTo>
                  <a:lnTo>
                    <a:pt x="688" y="1454"/>
                  </a:lnTo>
                  <a:lnTo>
                    <a:pt x="694" y="1450"/>
                  </a:lnTo>
                  <a:lnTo>
                    <a:pt x="696" y="1446"/>
                  </a:lnTo>
                  <a:lnTo>
                    <a:pt x="700" y="1442"/>
                  </a:lnTo>
                  <a:lnTo>
                    <a:pt x="708" y="1438"/>
                  </a:lnTo>
                  <a:lnTo>
                    <a:pt x="708" y="1438"/>
                  </a:lnTo>
                  <a:lnTo>
                    <a:pt x="712" y="1438"/>
                  </a:lnTo>
                  <a:lnTo>
                    <a:pt x="718" y="1438"/>
                  </a:lnTo>
                  <a:lnTo>
                    <a:pt x="730" y="1442"/>
                  </a:lnTo>
                  <a:lnTo>
                    <a:pt x="740" y="1448"/>
                  </a:lnTo>
                  <a:lnTo>
                    <a:pt x="746" y="1454"/>
                  </a:lnTo>
                  <a:lnTo>
                    <a:pt x="746" y="1454"/>
                  </a:lnTo>
                  <a:lnTo>
                    <a:pt x="752" y="1462"/>
                  </a:lnTo>
                  <a:lnTo>
                    <a:pt x="754" y="1470"/>
                  </a:lnTo>
                  <a:lnTo>
                    <a:pt x="754" y="1470"/>
                  </a:lnTo>
                  <a:lnTo>
                    <a:pt x="756" y="1476"/>
                  </a:lnTo>
                  <a:lnTo>
                    <a:pt x="760" y="1484"/>
                  </a:lnTo>
                  <a:lnTo>
                    <a:pt x="768" y="1494"/>
                  </a:lnTo>
                  <a:lnTo>
                    <a:pt x="780" y="1504"/>
                  </a:lnTo>
                  <a:lnTo>
                    <a:pt x="780" y="1504"/>
                  </a:lnTo>
                  <a:lnTo>
                    <a:pt x="792" y="1512"/>
                  </a:lnTo>
                  <a:lnTo>
                    <a:pt x="802" y="1522"/>
                  </a:lnTo>
                  <a:lnTo>
                    <a:pt x="810" y="1530"/>
                  </a:lnTo>
                  <a:lnTo>
                    <a:pt x="818" y="1536"/>
                  </a:lnTo>
                  <a:lnTo>
                    <a:pt x="818" y="1536"/>
                  </a:lnTo>
                  <a:lnTo>
                    <a:pt x="824" y="1538"/>
                  </a:lnTo>
                  <a:lnTo>
                    <a:pt x="832" y="1540"/>
                  </a:lnTo>
                  <a:lnTo>
                    <a:pt x="838" y="1542"/>
                  </a:lnTo>
                  <a:lnTo>
                    <a:pt x="844" y="1546"/>
                  </a:lnTo>
                  <a:lnTo>
                    <a:pt x="844" y="1546"/>
                  </a:lnTo>
                  <a:lnTo>
                    <a:pt x="848" y="1552"/>
                  </a:lnTo>
                  <a:lnTo>
                    <a:pt x="854" y="1556"/>
                  </a:lnTo>
                  <a:lnTo>
                    <a:pt x="868" y="1562"/>
                  </a:lnTo>
                  <a:lnTo>
                    <a:pt x="868" y="1562"/>
                  </a:lnTo>
                  <a:lnTo>
                    <a:pt x="872" y="1566"/>
                  </a:lnTo>
                  <a:lnTo>
                    <a:pt x="876" y="1572"/>
                  </a:lnTo>
                  <a:lnTo>
                    <a:pt x="880" y="1576"/>
                  </a:lnTo>
                  <a:lnTo>
                    <a:pt x="886" y="1578"/>
                  </a:lnTo>
                  <a:lnTo>
                    <a:pt x="886" y="1578"/>
                  </a:lnTo>
                  <a:lnTo>
                    <a:pt x="890" y="1580"/>
                  </a:lnTo>
                  <a:lnTo>
                    <a:pt x="892" y="1584"/>
                  </a:lnTo>
                  <a:lnTo>
                    <a:pt x="892" y="1590"/>
                  </a:lnTo>
                  <a:lnTo>
                    <a:pt x="896" y="1594"/>
                  </a:lnTo>
                  <a:lnTo>
                    <a:pt x="896" y="1594"/>
                  </a:lnTo>
                  <a:lnTo>
                    <a:pt x="898" y="1600"/>
                  </a:lnTo>
                  <a:lnTo>
                    <a:pt x="900" y="1608"/>
                  </a:lnTo>
                  <a:lnTo>
                    <a:pt x="900" y="1616"/>
                  </a:lnTo>
                  <a:lnTo>
                    <a:pt x="896" y="1624"/>
                  </a:lnTo>
                  <a:lnTo>
                    <a:pt x="896" y="1624"/>
                  </a:lnTo>
                  <a:lnTo>
                    <a:pt x="894" y="1630"/>
                  </a:lnTo>
                  <a:lnTo>
                    <a:pt x="894" y="1638"/>
                  </a:lnTo>
                  <a:lnTo>
                    <a:pt x="894" y="1644"/>
                  </a:lnTo>
                  <a:lnTo>
                    <a:pt x="898" y="1646"/>
                  </a:lnTo>
                  <a:lnTo>
                    <a:pt x="898" y="1646"/>
                  </a:lnTo>
                  <a:lnTo>
                    <a:pt x="902" y="1644"/>
                  </a:lnTo>
                  <a:lnTo>
                    <a:pt x="906" y="1638"/>
                  </a:lnTo>
                  <a:lnTo>
                    <a:pt x="910" y="1630"/>
                  </a:lnTo>
                  <a:lnTo>
                    <a:pt x="912" y="1622"/>
                  </a:lnTo>
                  <a:lnTo>
                    <a:pt x="912" y="1622"/>
                  </a:lnTo>
                  <a:lnTo>
                    <a:pt x="914" y="1618"/>
                  </a:lnTo>
                  <a:lnTo>
                    <a:pt x="918" y="1616"/>
                  </a:lnTo>
                  <a:lnTo>
                    <a:pt x="922" y="1612"/>
                  </a:lnTo>
                  <a:lnTo>
                    <a:pt x="928" y="1606"/>
                  </a:lnTo>
                  <a:lnTo>
                    <a:pt x="928" y="1606"/>
                  </a:lnTo>
                  <a:lnTo>
                    <a:pt x="928" y="1604"/>
                  </a:lnTo>
                  <a:lnTo>
                    <a:pt x="928" y="1602"/>
                  </a:lnTo>
                  <a:lnTo>
                    <a:pt x="924" y="1598"/>
                  </a:lnTo>
                  <a:lnTo>
                    <a:pt x="918" y="1592"/>
                  </a:lnTo>
                  <a:lnTo>
                    <a:pt x="914" y="1586"/>
                  </a:lnTo>
                  <a:lnTo>
                    <a:pt x="914" y="1586"/>
                  </a:lnTo>
                  <a:lnTo>
                    <a:pt x="914" y="1582"/>
                  </a:lnTo>
                  <a:lnTo>
                    <a:pt x="916" y="1578"/>
                  </a:lnTo>
                  <a:lnTo>
                    <a:pt x="918" y="1574"/>
                  </a:lnTo>
                  <a:lnTo>
                    <a:pt x="922" y="1572"/>
                  </a:lnTo>
                  <a:lnTo>
                    <a:pt x="926" y="1570"/>
                  </a:lnTo>
                  <a:lnTo>
                    <a:pt x="930" y="1570"/>
                  </a:lnTo>
                  <a:lnTo>
                    <a:pt x="936" y="1572"/>
                  </a:lnTo>
                  <a:lnTo>
                    <a:pt x="940" y="1574"/>
                  </a:lnTo>
                  <a:lnTo>
                    <a:pt x="940" y="1574"/>
                  </a:lnTo>
                  <a:lnTo>
                    <a:pt x="950" y="1580"/>
                  </a:lnTo>
                  <a:lnTo>
                    <a:pt x="956" y="1582"/>
                  </a:lnTo>
                  <a:lnTo>
                    <a:pt x="958" y="1582"/>
                  </a:lnTo>
                  <a:lnTo>
                    <a:pt x="960" y="1582"/>
                  </a:lnTo>
                  <a:lnTo>
                    <a:pt x="962" y="1576"/>
                  </a:lnTo>
                  <a:lnTo>
                    <a:pt x="962" y="1576"/>
                  </a:lnTo>
                  <a:lnTo>
                    <a:pt x="960" y="1570"/>
                  </a:lnTo>
                  <a:lnTo>
                    <a:pt x="954" y="1564"/>
                  </a:lnTo>
                  <a:lnTo>
                    <a:pt x="938" y="1554"/>
                  </a:lnTo>
                  <a:lnTo>
                    <a:pt x="908" y="1536"/>
                  </a:lnTo>
                  <a:lnTo>
                    <a:pt x="908" y="1536"/>
                  </a:lnTo>
                  <a:lnTo>
                    <a:pt x="902" y="1532"/>
                  </a:lnTo>
                  <a:lnTo>
                    <a:pt x="900" y="1526"/>
                  </a:lnTo>
                  <a:lnTo>
                    <a:pt x="896" y="1522"/>
                  </a:lnTo>
                  <a:lnTo>
                    <a:pt x="892" y="1520"/>
                  </a:lnTo>
                  <a:lnTo>
                    <a:pt x="888" y="1520"/>
                  </a:lnTo>
                  <a:lnTo>
                    <a:pt x="888" y="1520"/>
                  </a:lnTo>
                  <a:lnTo>
                    <a:pt x="880" y="1520"/>
                  </a:lnTo>
                  <a:lnTo>
                    <a:pt x="874" y="1518"/>
                  </a:lnTo>
                  <a:lnTo>
                    <a:pt x="868" y="1514"/>
                  </a:lnTo>
                  <a:lnTo>
                    <a:pt x="862" y="1508"/>
                  </a:lnTo>
                  <a:lnTo>
                    <a:pt x="852" y="1494"/>
                  </a:lnTo>
                  <a:lnTo>
                    <a:pt x="848" y="1486"/>
                  </a:lnTo>
                  <a:lnTo>
                    <a:pt x="844" y="1478"/>
                  </a:lnTo>
                  <a:lnTo>
                    <a:pt x="844" y="1478"/>
                  </a:lnTo>
                  <a:lnTo>
                    <a:pt x="842" y="1470"/>
                  </a:lnTo>
                  <a:lnTo>
                    <a:pt x="838" y="1462"/>
                  </a:lnTo>
                  <a:lnTo>
                    <a:pt x="826" y="1454"/>
                  </a:lnTo>
                  <a:lnTo>
                    <a:pt x="814" y="1446"/>
                  </a:lnTo>
                  <a:lnTo>
                    <a:pt x="810" y="1442"/>
                  </a:lnTo>
                  <a:lnTo>
                    <a:pt x="806" y="1438"/>
                  </a:lnTo>
                  <a:lnTo>
                    <a:pt x="806" y="1438"/>
                  </a:lnTo>
                  <a:lnTo>
                    <a:pt x="806" y="1434"/>
                  </a:lnTo>
                  <a:lnTo>
                    <a:pt x="804" y="1430"/>
                  </a:lnTo>
                  <a:lnTo>
                    <a:pt x="806" y="1424"/>
                  </a:lnTo>
                  <a:lnTo>
                    <a:pt x="808" y="1418"/>
                  </a:lnTo>
                  <a:lnTo>
                    <a:pt x="808" y="1414"/>
                  </a:lnTo>
                  <a:lnTo>
                    <a:pt x="808" y="1410"/>
                  </a:lnTo>
                  <a:lnTo>
                    <a:pt x="808" y="1410"/>
                  </a:lnTo>
                  <a:lnTo>
                    <a:pt x="806" y="1406"/>
                  </a:lnTo>
                  <a:lnTo>
                    <a:pt x="808" y="1402"/>
                  </a:lnTo>
                  <a:lnTo>
                    <a:pt x="812" y="1400"/>
                  </a:lnTo>
                  <a:lnTo>
                    <a:pt x="816" y="1396"/>
                  </a:lnTo>
                  <a:lnTo>
                    <a:pt x="828" y="1392"/>
                  </a:lnTo>
                  <a:lnTo>
                    <a:pt x="836" y="1392"/>
                  </a:lnTo>
                  <a:lnTo>
                    <a:pt x="836" y="1392"/>
                  </a:lnTo>
                  <a:lnTo>
                    <a:pt x="838" y="1394"/>
                  </a:lnTo>
                  <a:lnTo>
                    <a:pt x="840" y="1398"/>
                  </a:lnTo>
                  <a:lnTo>
                    <a:pt x="842" y="1404"/>
                  </a:lnTo>
                  <a:lnTo>
                    <a:pt x="842" y="1410"/>
                  </a:lnTo>
                  <a:lnTo>
                    <a:pt x="844" y="1412"/>
                  </a:lnTo>
                  <a:lnTo>
                    <a:pt x="846" y="1412"/>
                  </a:lnTo>
                  <a:lnTo>
                    <a:pt x="846" y="1412"/>
                  </a:lnTo>
                  <a:lnTo>
                    <a:pt x="860" y="1414"/>
                  </a:lnTo>
                  <a:lnTo>
                    <a:pt x="864" y="1416"/>
                  </a:lnTo>
                  <a:lnTo>
                    <a:pt x="866" y="1418"/>
                  </a:lnTo>
                  <a:lnTo>
                    <a:pt x="868" y="1422"/>
                  </a:lnTo>
                  <a:lnTo>
                    <a:pt x="868" y="1422"/>
                  </a:lnTo>
                  <a:lnTo>
                    <a:pt x="870" y="1430"/>
                  </a:lnTo>
                  <a:lnTo>
                    <a:pt x="876" y="1442"/>
                  </a:lnTo>
                  <a:lnTo>
                    <a:pt x="892" y="1460"/>
                  </a:lnTo>
                  <a:lnTo>
                    <a:pt x="892" y="1460"/>
                  </a:lnTo>
                  <a:lnTo>
                    <a:pt x="898" y="1464"/>
                  </a:lnTo>
                  <a:lnTo>
                    <a:pt x="904" y="1466"/>
                  </a:lnTo>
                  <a:lnTo>
                    <a:pt x="910" y="1468"/>
                  </a:lnTo>
                  <a:lnTo>
                    <a:pt x="912" y="1470"/>
                  </a:lnTo>
                  <a:lnTo>
                    <a:pt x="914" y="1472"/>
                  </a:lnTo>
                  <a:lnTo>
                    <a:pt x="914" y="1472"/>
                  </a:lnTo>
                  <a:lnTo>
                    <a:pt x="916" y="1476"/>
                  </a:lnTo>
                  <a:lnTo>
                    <a:pt x="920" y="1480"/>
                  </a:lnTo>
                  <a:lnTo>
                    <a:pt x="928" y="1482"/>
                  </a:lnTo>
                  <a:lnTo>
                    <a:pt x="936" y="1484"/>
                  </a:lnTo>
                  <a:lnTo>
                    <a:pt x="936" y="1484"/>
                  </a:lnTo>
                  <a:lnTo>
                    <a:pt x="942" y="1486"/>
                  </a:lnTo>
                  <a:lnTo>
                    <a:pt x="946" y="1488"/>
                  </a:lnTo>
                  <a:lnTo>
                    <a:pt x="958" y="1496"/>
                  </a:lnTo>
                  <a:lnTo>
                    <a:pt x="970" y="1506"/>
                  </a:lnTo>
                  <a:lnTo>
                    <a:pt x="982" y="1514"/>
                  </a:lnTo>
                  <a:lnTo>
                    <a:pt x="982" y="1514"/>
                  </a:lnTo>
                  <a:lnTo>
                    <a:pt x="988" y="1518"/>
                  </a:lnTo>
                  <a:lnTo>
                    <a:pt x="992" y="1522"/>
                  </a:lnTo>
                  <a:lnTo>
                    <a:pt x="994" y="1526"/>
                  </a:lnTo>
                  <a:lnTo>
                    <a:pt x="990" y="1532"/>
                  </a:lnTo>
                  <a:lnTo>
                    <a:pt x="990" y="1532"/>
                  </a:lnTo>
                  <a:lnTo>
                    <a:pt x="986" y="1540"/>
                  </a:lnTo>
                  <a:lnTo>
                    <a:pt x="984" y="1552"/>
                  </a:lnTo>
                  <a:lnTo>
                    <a:pt x="984" y="1564"/>
                  </a:lnTo>
                  <a:lnTo>
                    <a:pt x="986" y="1568"/>
                  </a:lnTo>
                  <a:lnTo>
                    <a:pt x="990" y="1572"/>
                  </a:lnTo>
                  <a:lnTo>
                    <a:pt x="990" y="1572"/>
                  </a:lnTo>
                  <a:lnTo>
                    <a:pt x="994" y="1578"/>
                  </a:lnTo>
                  <a:lnTo>
                    <a:pt x="998" y="1584"/>
                  </a:lnTo>
                  <a:lnTo>
                    <a:pt x="1002" y="1592"/>
                  </a:lnTo>
                  <a:lnTo>
                    <a:pt x="1008" y="1596"/>
                  </a:lnTo>
                  <a:lnTo>
                    <a:pt x="1008" y="1596"/>
                  </a:lnTo>
                  <a:lnTo>
                    <a:pt x="1014" y="1598"/>
                  </a:lnTo>
                  <a:lnTo>
                    <a:pt x="1020" y="1604"/>
                  </a:lnTo>
                  <a:lnTo>
                    <a:pt x="1022" y="1612"/>
                  </a:lnTo>
                  <a:lnTo>
                    <a:pt x="1024" y="1618"/>
                  </a:lnTo>
                  <a:lnTo>
                    <a:pt x="1024" y="1618"/>
                  </a:lnTo>
                  <a:lnTo>
                    <a:pt x="1024" y="1622"/>
                  </a:lnTo>
                  <a:lnTo>
                    <a:pt x="1024" y="1624"/>
                  </a:lnTo>
                  <a:lnTo>
                    <a:pt x="1030" y="1628"/>
                  </a:lnTo>
                  <a:lnTo>
                    <a:pt x="1036" y="1628"/>
                  </a:lnTo>
                  <a:lnTo>
                    <a:pt x="1042" y="1624"/>
                  </a:lnTo>
                  <a:lnTo>
                    <a:pt x="1042" y="1624"/>
                  </a:lnTo>
                  <a:lnTo>
                    <a:pt x="1046" y="1624"/>
                  </a:lnTo>
                  <a:lnTo>
                    <a:pt x="1048" y="1622"/>
                  </a:lnTo>
                  <a:lnTo>
                    <a:pt x="1058" y="1624"/>
                  </a:lnTo>
                  <a:lnTo>
                    <a:pt x="1064" y="1630"/>
                  </a:lnTo>
                  <a:lnTo>
                    <a:pt x="1066" y="1634"/>
                  </a:lnTo>
                  <a:lnTo>
                    <a:pt x="1066" y="1634"/>
                  </a:lnTo>
                  <a:lnTo>
                    <a:pt x="1066" y="1636"/>
                  </a:lnTo>
                  <a:lnTo>
                    <a:pt x="1064" y="1636"/>
                  </a:lnTo>
                  <a:lnTo>
                    <a:pt x="1056" y="1634"/>
                  </a:lnTo>
                  <a:lnTo>
                    <a:pt x="1046" y="1634"/>
                  </a:lnTo>
                  <a:lnTo>
                    <a:pt x="1042" y="1634"/>
                  </a:lnTo>
                  <a:lnTo>
                    <a:pt x="1038" y="1636"/>
                  </a:lnTo>
                  <a:lnTo>
                    <a:pt x="1038" y="1636"/>
                  </a:lnTo>
                  <a:lnTo>
                    <a:pt x="1036" y="1640"/>
                  </a:lnTo>
                  <a:lnTo>
                    <a:pt x="1034" y="1642"/>
                  </a:lnTo>
                  <a:lnTo>
                    <a:pt x="1038" y="1648"/>
                  </a:lnTo>
                  <a:lnTo>
                    <a:pt x="1042" y="1654"/>
                  </a:lnTo>
                  <a:lnTo>
                    <a:pt x="1044" y="1656"/>
                  </a:lnTo>
                  <a:lnTo>
                    <a:pt x="1044" y="1660"/>
                  </a:lnTo>
                  <a:lnTo>
                    <a:pt x="1044" y="1660"/>
                  </a:lnTo>
                  <a:lnTo>
                    <a:pt x="1044" y="1666"/>
                  </a:lnTo>
                  <a:lnTo>
                    <a:pt x="1046" y="1672"/>
                  </a:lnTo>
                  <a:lnTo>
                    <a:pt x="1052" y="1676"/>
                  </a:lnTo>
                  <a:lnTo>
                    <a:pt x="1058" y="1678"/>
                  </a:lnTo>
                  <a:lnTo>
                    <a:pt x="1058" y="1678"/>
                  </a:lnTo>
                  <a:lnTo>
                    <a:pt x="1064" y="1680"/>
                  </a:lnTo>
                  <a:lnTo>
                    <a:pt x="1072" y="1686"/>
                  </a:lnTo>
                  <a:lnTo>
                    <a:pt x="1078" y="1690"/>
                  </a:lnTo>
                  <a:lnTo>
                    <a:pt x="1080" y="1690"/>
                  </a:lnTo>
                  <a:lnTo>
                    <a:pt x="1084" y="1690"/>
                  </a:lnTo>
                  <a:lnTo>
                    <a:pt x="1084" y="1690"/>
                  </a:lnTo>
                  <a:lnTo>
                    <a:pt x="1084" y="1688"/>
                  </a:lnTo>
                  <a:lnTo>
                    <a:pt x="1084" y="1686"/>
                  </a:lnTo>
                  <a:lnTo>
                    <a:pt x="1082" y="1676"/>
                  </a:lnTo>
                  <a:lnTo>
                    <a:pt x="1078" y="1668"/>
                  </a:lnTo>
                  <a:lnTo>
                    <a:pt x="1078" y="1662"/>
                  </a:lnTo>
                  <a:lnTo>
                    <a:pt x="1078" y="1662"/>
                  </a:lnTo>
                  <a:lnTo>
                    <a:pt x="1082" y="1662"/>
                  </a:lnTo>
                  <a:lnTo>
                    <a:pt x="1086" y="1664"/>
                  </a:lnTo>
                  <a:lnTo>
                    <a:pt x="1092" y="1664"/>
                  </a:lnTo>
                  <a:lnTo>
                    <a:pt x="1094" y="1664"/>
                  </a:lnTo>
                  <a:lnTo>
                    <a:pt x="1098" y="1662"/>
                  </a:lnTo>
                  <a:lnTo>
                    <a:pt x="1098" y="1662"/>
                  </a:lnTo>
                  <a:lnTo>
                    <a:pt x="1098" y="1658"/>
                  </a:lnTo>
                  <a:lnTo>
                    <a:pt x="1096" y="1654"/>
                  </a:lnTo>
                  <a:lnTo>
                    <a:pt x="1090" y="1652"/>
                  </a:lnTo>
                  <a:lnTo>
                    <a:pt x="1084" y="1652"/>
                  </a:lnTo>
                  <a:lnTo>
                    <a:pt x="1084" y="1652"/>
                  </a:lnTo>
                  <a:lnTo>
                    <a:pt x="1082" y="1650"/>
                  </a:lnTo>
                  <a:lnTo>
                    <a:pt x="1082" y="1650"/>
                  </a:lnTo>
                  <a:lnTo>
                    <a:pt x="1082" y="1646"/>
                  </a:lnTo>
                  <a:lnTo>
                    <a:pt x="1088" y="1644"/>
                  </a:lnTo>
                  <a:lnTo>
                    <a:pt x="1090" y="1644"/>
                  </a:lnTo>
                  <a:lnTo>
                    <a:pt x="1094" y="1646"/>
                  </a:lnTo>
                  <a:lnTo>
                    <a:pt x="1094" y="1646"/>
                  </a:lnTo>
                  <a:lnTo>
                    <a:pt x="1102" y="1648"/>
                  </a:lnTo>
                  <a:lnTo>
                    <a:pt x="1106" y="1648"/>
                  </a:lnTo>
                  <a:lnTo>
                    <a:pt x="1114" y="1644"/>
                  </a:lnTo>
                  <a:lnTo>
                    <a:pt x="1114" y="1644"/>
                  </a:lnTo>
                  <a:lnTo>
                    <a:pt x="1116" y="1640"/>
                  </a:lnTo>
                  <a:lnTo>
                    <a:pt x="1118" y="1634"/>
                  </a:lnTo>
                  <a:lnTo>
                    <a:pt x="1114" y="1626"/>
                  </a:lnTo>
                  <a:lnTo>
                    <a:pt x="1110" y="1624"/>
                  </a:lnTo>
                  <a:lnTo>
                    <a:pt x="1106" y="1622"/>
                  </a:lnTo>
                  <a:lnTo>
                    <a:pt x="1106" y="1622"/>
                  </a:lnTo>
                  <a:lnTo>
                    <a:pt x="1100" y="1620"/>
                  </a:lnTo>
                  <a:lnTo>
                    <a:pt x="1096" y="1622"/>
                  </a:lnTo>
                  <a:lnTo>
                    <a:pt x="1092" y="1624"/>
                  </a:lnTo>
                  <a:lnTo>
                    <a:pt x="1088" y="1626"/>
                  </a:lnTo>
                  <a:lnTo>
                    <a:pt x="1086" y="1624"/>
                  </a:lnTo>
                  <a:lnTo>
                    <a:pt x="1082" y="1622"/>
                  </a:lnTo>
                  <a:lnTo>
                    <a:pt x="1082" y="1622"/>
                  </a:lnTo>
                  <a:lnTo>
                    <a:pt x="1080" y="1618"/>
                  </a:lnTo>
                  <a:lnTo>
                    <a:pt x="1080" y="1616"/>
                  </a:lnTo>
                  <a:lnTo>
                    <a:pt x="1084" y="1614"/>
                  </a:lnTo>
                  <a:lnTo>
                    <a:pt x="1088" y="1612"/>
                  </a:lnTo>
                  <a:lnTo>
                    <a:pt x="1090" y="1610"/>
                  </a:lnTo>
                  <a:lnTo>
                    <a:pt x="1092" y="1608"/>
                  </a:lnTo>
                  <a:lnTo>
                    <a:pt x="1092" y="1608"/>
                  </a:lnTo>
                  <a:lnTo>
                    <a:pt x="1090" y="1600"/>
                  </a:lnTo>
                  <a:lnTo>
                    <a:pt x="1084" y="1592"/>
                  </a:lnTo>
                  <a:lnTo>
                    <a:pt x="1070" y="1578"/>
                  </a:lnTo>
                  <a:lnTo>
                    <a:pt x="1070" y="1578"/>
                  </a:lnTo>
                  <a:lnTo>
                    <a:pt x="1068" y="1574"/>
                  </a:lnTo>
                  <a:lnTo>
                    <a:pt x="1068" y="1570"/>
                  </a:lnTo>
                  <a:lnTo>
                    <a:pt x="1070" y="1568"/>
                  </a:lnTo>
                  <a:lnTo>
                    <a:pt x="1072" y="1566"/>
                  </a:lnTo>
                  <a:lnTo>
                    <a:pt x="1078" y="1566"/>
                  </a:lnTo>
                  <a:lnTo>
                    <a:pt x="1082" y="1568"/>
                  </a:lnTo>
                  <a:lnTo>
                    <a:pt x="1084" y="1570"/>
                  </a:lnTo>
                  <a:lnTo>
                    <a:pt x="1084" y="1570"/>
                  </a:lnTo>
                  <a:lnTo>
                    <a:pt x="1088" y="1574"/>
                  </a:lnTo>
                  <a:lnTo>
                    <a:pt x="1094" y="1574"/>
                  </a:lnTo>
                  <a:lnTo>
                    <a:pt x="1100" y="1574"/>
                  </a:lnTo>
                  <a:lnTo>
                    <a:pt x="1106" y="1572"/>
                  </a:lnTo>
                  <a:lnTo>
                    <a:pt x="1106" y="1572"/>
                  </a:lnTo>
                  <a:lnTo>
                    <a:pt x="1106" y="1572"/>
                  </a:lnTo>
                  <a:lnTo>
                    <a:pt x="1108" y="1568"/>
                  </a:lnTo>
                  <a:lnTo>
                    <a:pt x="1106" y="1564"/>
                  </a:lnTo>
                  <a:lnTo>
                    <a:pt x="1106" y="1556"/>
                  </a:lnTo>
                  <a:lnTo>
                    <a:pt x="1106" y="1554"/>
                  </a:lnTo>
                  <a:lnTo>
                    <a:pt x="1110" y="1552"/>
                  </a:lnTo>
                  <a:lnTo>
                    <a:pt x="1110" y="1552"/>
                  </a:lnTo>
                  <a:lnTo>
                    <a:pt x="1118" y="1550"/>
                  </a:lnTo>
                  <a:lnTo>
                    <a:pt x="1122" y="1552"/>
                  </a:lnTo>
                  <a:lnTo>
                    <a:pt x="1124" y="1556"/>
                  </a:lnTo>
                  <a:lnTo>
                    <a:pt x="1126" y="1558"/>
                  </a:lnTo>
                  <a:lnTo>
                    <a:pt x="1126" y="1558"/>
                  </a:lnTo>
                  <a:lnTo>
                    <a:pt x="1130" y="1556"/>
                  </a:lnTo>
                  <a:lnTo>
                    <a:pt x="1134" y="1552"/>
                  </a:lnTo>
                  <a:lnTo>
                    <a:pt x="1140" y="1550"/>
                  </a:lnTo>
                  <a:lnTo>
                    <a:pt x="1148" y="1548"/>
                  </a:lnTo>
                  <a:lnTo>
                    <a:pt x="1148" y="1548"/>
                  </a:lnTo>
                  <a:lnTo>
                    <a:pt x="1152" y="1548"/>
                  </a:lnTo>
                  <a:lnTo>
                    <a:pt x="1156" y="1550"/>
                  </a:lnTo>
                  <a:lnTo>
                    <a:pt x="1166" y="1556"/>
                  </a:lnTo>
                  <a:lnTo>
                    <a:pt x="1174" y="1562"/>
                  </a:lnTo>
                  <a:lnTo>
                    <a:pt x="1178" y="1564"/>
                  </a:lnTo>
                  <a:lnTo>
                    <a:pt x="1182" y="1564"/>
                  </a:lnTo>
                  <a:lnTo>
                    <a:pt x="1182" y="1564"/>
                  </a:lnTo>
                  <a:lnTo>
                    <a:pt x="1190" y="1562"/>
                  </a:lnTo>
                  <a:lnTo>
                    <a:pt x="1196" y="1558"/>
                  </a:lnTo>
                  <a:lnTo>
                    <a:pt x="1200" y="1552"/>
                  </a:lnTo>
                  <a:lnTo>
                    <a:pt x="1208" y="1548"/>
                  </a:lnTo>
                  <a:lnTo>
                    <a:pt x="1208" y="1548"/>
                  </a:lnTo>
                  <a:lnTo>
                    <a:pt x="1216" y="1546"/>
                  </a:lnTo>
                  <a:lnTo>
                    <a:pt x="1228" y="1546"/>
                  </a:lnTo>
                  <a:lnTo>
                    <a:pt x="1238" y="1546"/>
                  </a:lnTo>
                  <a:lnTo>
                    <a:pt x="1244" y="1544"/>
                  </a:lnTo>
                  <a:lnTo>
                    <a:pt x="1244" y="1544"/>
                  </a:lnTo>
                  <a:lnTo>
                    <a:pt x="1244" y="1542"/>
                  </a:lnTo>
                  <a:lnTo>
                    <a:pt x="1244" y="1540"/>
                  </a:lnTo>
                  <a:lnTo>
                    <a:pt x="1238" y="1536"/>
                  </a:lnTo>
                  <a:lnTo>
                    <a:pt x="1224" y="1528"/>
                  </a:lnTo>
                  <a:lnTo>
                    <a:pt x="1224" y="1528"/>
                  </a:lnTo>
                  <a:lnTo>
                    <a:pt x="1220" y="1522"/>
                  </a:lnTo>
                  <a:lnTo>
                    <a:pt x="1218" y="1516"/>
                  </a:lnTo>
                  <a:lnTo>
                    <a:pt x="1216" y="1510"/>
                  </a:lnTo>
                  <a:lnTo>
                    <a:pt x="1212" y="1508"/>
                  </a:lnTo>
                  <a:lnTo>
                    <a:pt x="1212" y="1508"/>
                  </a:lnTo>
                  <a:lnTo>
                    <a:pt x="1210" y="1504"/>
                  </a:lnTo>
                  <a:lnTo>
                    <a:pt x="1206" y="1498"/>
                  </a:lnTo>
                  <a:lnTo>
                    <a:pt x="1206" y="1490"/>
                  </a:lnTo>
                  <a:lnTo>
                    <a:pt x="1206" y="1488"/>
                  </a:lnTo>
                  <a:lnTo>
                    <a:pt x="1208" y="1486"/>
                  </a:lnTo>
                  <a:lnTo>
                    <a:pt x="1208" y="1486"/>
                  </a:lnTo>
                  <a:lnTo>
                    <a:pt x="1212" y="1484"/>
                  </a:lnTo>
                  <a:lnTo>
                    <a:pt x="1216" y="1476"/>
                  </a:lnTo>
                  <a:lnTo>
                    <a:pt x="1222" y="1468"/>
                  </a:lnTo>
                  <a:lnTo>
                    <a:pt x="1228" y="1464"/>
                  </a:lnTo>
                  <a:lnTo>
                    <a:pt x="1228" y="1464"/>
                  </a:lnTo>
                  <a:lnTo>
                    <a:pt x="1234" y="1460"/>
                  </a:lnTo>
                  <a:lnTo>
                    <a:pt x="1234" y="1456"/>
                  </a:lnTo>
                  <a:lnTo>
                    <a:pt x="1234" y="1444"/>
                  </a:lnTo>
                  <a:lnTo>
                    <a:pt x="1234" y="1444"/>
                  </a:lnTo>
                  <a:lnTo>
                    <a:pt x="1236" y="1436"/>
                  </a:lnTo>
                  <a:lnTo>
                    <a:pt x="1238" y="1430"/>
                  </a:lnTo>
                  <a:lnTo>
                    <a:pt x="1242" y="1424"/>
                  </a:lnTo>
                  <a:lnTo>
                    <a:pt x="1248" y="1422"/>
                  </a:lnTo>
                  <a:lnTo>
                    <a:pt x="1248" y="1422"/>
                  </a:lnTo>
                  <a:lnTo>
                    <a:pt x="1254" y="1420"/>
                  </a:lnTo>
                  <a:lnTo>
                    <a:pt x="1258" y="1418"/>
                  </a:lnTo>
                  <a:lnTo>
                    <a:pt x="1262" y="1414"/>
                  </a:lnTo>
                  <a:lnTo>
                    <a:pt x="1262" y="1406"/>
                  </a:lnTo>
                  <a:lnTo>
                    <a:pt x="1262" y="1406"/>
                  </a:lnTo>
                  <a:lnTo>
                    <a:pt x="1262" y="1398"/>
                  </a:lnTo>
                  <a:lnTo>
                    <a:pt x="1264" y="1394"/>
                  </a:lnTo>
                  <a:lnTo>
                    <a:pt x="1268" y="1390"/>
                  </a:lnTo>
                  <a:lnTo>
                    <a:pt x="1276" y="1384"/>
                  </a:lnTo>
                  <a:lnTo>
                    <a:pt x="1276" y="1384"/>
                  </a:lnTo>
                  <a:lnTo>
                    <a:pt x="1282" y="1376"/>
                  </a:lnTo>
                  <a:lnTo>
                    <a:pt x="1288" y="1368"/>
                  </a:lnTo>
                  <a:lnTo>
                    <a:pt x="1292" y="1360"/>
                  </a:lnTo>
                  <a:lnTo>
                    <a:pt x="1296" y="1358"/>
                  </a:lnTo>
                  <a:lnTo>
                    <a:pt x="1298" y="1358"/>
                  </a:lnTo>
                  <a:lnTo>
                    <a:pt x="1298" y="1358"/>
                  </a:lnTo>
                  <a:lnTo>
                    <a:pt x="1312" y="1354"/>
                  </a:lnTo>
                  <a:lnTo>
                    <a:pt x="1320" y="1352"/>
                  </a:lnTo>
                  <a:lnTo>
                    <a:pt x="1328" y="1352"/>
                  </a:lnTo>
                  <a:lnTo>
                    <a:pt x="1328" y="1352"/>
                  </a:lnTo>
                  <a:lnTo>
                    <a:pt x="1332" y="1354"/>
                  </a:lnTo>
                  <a:lnTo>
                    <a:pt x="1334" y="1356"/>
                  </a:lnTo>
                  <a:lnTo>
                    <a:pt x="1332" y="1360"/>
                  </a:lnTo>
                  <a:lnTo>
                    <a:pt x="1328" y="1366"/>
                  </a:lnTo>
                  <a:lnTo>
                    <a:pt x="1330" y="1368"/>
                  </a:lnTo>
                  <a:lnTo>
                    <a:pt x="1332" y="1370"/>
                  </a:lnTo>
                  <a:lnTo>
                    <a:pt x="1332" y="1370"/>
                  </a:lnTo>
                  <a:lnTo>
                    <a:pt x="1336" y="1372"/>
                  </a:lnTo>
                  <a:lnTo>
                    <a:pt x="1342" y="1372"/>
                  </a:lnTo>
                  <a:lnTo>
                    <a:pt x="1358" y="1372"/>
                  </a:lnTo>
                  <a:lnTo>
                    <a:pt x="1370" y="1374"/>
                  </a:lnTo>
                  <a:lnTo>
                    <a:pt x="1374" y="1374"/>
                  </a:lnTo>
                  <a:lnTo>
                    <a:pt x="1376" y="1376"/>
                  </a:lnTo>
                  <a:lnTo>
                    <a:pt x="1376" y="1376"/>
                  </a:lnTo>
                  <a:lnTo>
                    <a:pt x="1374" y="1380"/>
                  </a:lnTo>
                  <a:lnTo>
                    <a:pt x="1370" y="1382"/>
                  </a:lnTo>
                  <a:lnTo>
                    <a:pt x="1358" y="1388"/>
                  </a:lnTo>
                  <a:lnTo>
                    <a:pt x="1346" y="1394"/>
                  </a:lnTo>
                  <a:lnTo>
                    <a:pt x="1342" y="1396"/>
                  </a:lnTo>
                  <a:lnTo>
                    <a:pt x="1340" y="1396"/>
                  </a:lnTo>
                  <a:lnTo>
                    <a:pt x="1340" y="1396"/>
                  </a:lnTo>
                  <a:lnTo>
                    <a:pt x="1344" y="1400"/>
                  </a:lnTo>
                  <a:lnTo>
                    <a:pt x="1352" y="1404"/>
                  </a:lnTo>
                  <a:lnTo>
                    <a:pt x="1368" y="1410"/>
                  </a:lnTo>
                  <a:lnTo>
                    <a:pt x="1368" y="1410"/>
                  </a:lnTo>
                  <a:lnTo>
                    <a:pt x="1370" y="1412"/>
                  </a:lnTo>
                  <a:lnTo>
                    <a:pt x="1370" y="1414"/>
                  </a:lnTo>
                  <a:lnTo>
                    <a:pt x="1370" y="1420"/>
                  </a:lnTo>
                  <a:lnTo>
                    <a:pt x="1368" y="1426"/>
                  </a:lnTo>
                  <a:lnTo>
                    <a:pt x="1368" y="1430"/>
                  </a:lnTo>
                  <a:lnTo>
                    <a:pt x="1368" y="1430"/>
                  </a:lnTo>
                  <a:lnTo>
                    <a:pt x="1372" y="1432"/>
                  </a:lnTo>
                  <a:lnTo>
                    <a:pt x="1378" y="1432"/>
                  </a:lnTo>
                  <a:lnTo>
                    <a:pt x="1384" y="1430"/>
                  </a:lnTo>
                  <a:lnTo>
                    <a:pt x="1390" y="1426"/>
                  </a:lnTo>
                  <a:lnTo>
                    <a:pt x="1390" y="1426"/>
                  </a:lnTo>
                  <a:lnTo>
                    <a:pt x="1396" y="1422"/>
                  </a:lnTo>
                  <a:lnTo>
                    <a:pt x="1402" y="1420"/>
                  </a:lnTo>
                  <a:lnTo>
                    <a:pt x="1410" y="1418"/>
                  </a:lnTo>
                  <a:lnTo>
                    <a:pt x="1416" y="1414"/>
                  </a:lnTo>
                  <a:lnTo>
                    <a:pt x="1416" y="1414"/>
                  </a:lnTo>
                  <a:lnTo>
                    <a:pt x="1422" y="1412"/>
                  </a:lnTo>
                  <a:lnTo>
                    <a:pt x="1426" y="1410"/>
                  </a:lnTo>
                  <a:lnTo>
                    <a:pt x="1438" y="1410"/>
                  </a:lnTo>
                  <a:lnTo>
                    <a:pt x="1448" y="1410"/>
                  </a:lnTo>
                  <a:lnTo>
                    <a:pt x="1452" y="1410"/>
                  </a:lnTo>
                  <a:lnTo>
                    <a:pt x="1452" y="1408"/>
                  </a:lnTo>
                  <a:lnTo>
                    <a:pt x="1452" y="1408"/>
                  </a:lnTo>
                  <a:lnTo>
                    <a:pt x="1452" y="1406"/>
                  </a:lnTo>
                  <a:lnTo>
                    <a:pt x="1448" y="1402"/>
                  </a:lnTo>
                  <a:lnTo>
                    <a:pt x="1440" y="1402"/>
                  </a:lnTo>
                  <a:lnTo>
                    <a:pt x="1426" y="1402"/>
                  </a:lnTo>
                  <a:lnTo>
                    <a:pt x="1426" y="1402"/>
                  </a:lnTo>
                  <a:lnTo>
                    <a:pt x="1418" y="1402"/>
                  </a:lnTo>
                  <a:lnTo>
                    <a:pt x="1414" y="1400"/>
                  </a:lnTo>
                  <a:lnTo>
                    <a:pt x="1410" y="1396"/>
                  </a:lnTo>
                  <a:lnTo>
                    <a:pt x="1406" y="1392"/>
                  </a:lnTo>
                  <a:lnTo>
                    <a:pt x="1404" y="1384"/>
                  </a:lnTo>
                  <a:lnTo>
                    <a:pt x="1404" y="1380"/>
                  </a:lnTo>
                  <a:lnTo>
                    <a:pt x="1404" y="1380"/>
                  </a:lnTo>
                  <a:lnTo>
                    <a:pt x="1408" y="1374"/>
                  </a:lnTo>
                  <a:lnTo>
                    <a:pt x="1416" y="1368"/>
                  </a:lnTo>
                  <a:lnTo>
                    <a:pt x="1428" y="1360"/>
                  </a:lnTo>
                  <a:lnTo>
                    <a:pt x="1438" y="1358"/>
                  </a:lnTo>
                  <a:lnTo>
                    <a:pt x="1438" y="1358"/>
                  </a:lnTo>
                  <a:lnTo>
                    <a:pt x="1456" y="1354"/>
                  </a:lnTo>
                  <a:lnTo>
                    <a:pt x="1472" y="1346"/>
                  </a:lnTo>
                  <a:lnTo>
                    <a:pt x="1472" y="1346"/>
                  </a:lnTo>
                  <a:lnTo>
                    <a:pt x="1484" y="1342"/>
                  </a:lnTo>
                  <a:lnTo>
                    <a:pt x="1500" y="1340"/>
                  </a:lnTo>
                  <a:lnTo>
                    <a:pt x="1516" y="1338"/>
                  </a:lnTo>
                  <a:lnTo>
                    <a:pt x="1520" y="1338"/>
                  </a:lnTo>
                  <a:lnTo>
                    <a:pt x="1522" y="1340"/>
                  </a:lnTo>
                  <a:lnTo>
                    <a:pt x="1522" y="1340"/>
                  </a:lnTo>
                  <a:lnTo>
                    <a:pt x="1522" y="1342"/>
                  </a:lnTo>
                  <a:lnTo>
                    <a:pt x="1518" y="1344"/>
                  </a:lnTo>
                  <a:lnTo>
                    <a:pt x="1508" y="1352"/>
                  </a:lnTo>
                  <a:lnTo>
                    <a:pt x="1488" y="1360"/>
                  </a:lnTo>
                  <a:lnTo>
                    <a:pt x="1488" y="1360"/>
                  </a:lnTo>
                  <a:lnTo>
                    <a:pt x="1488" y="1360"/>
                  </a:lnTo>
                  <a:lnTo>
                    <a:pt x="1488" y="1362"/>
                  </a:lnTo>
                  <a:lnTo>
                    <a:pt x="1492" y="1366"/>
                  </a:lnTo>
                  <a:lnTo>
                    <a:pt x="1496" y="1372"/>
                  </a:lnTo>
                  <a:lnTo>
                    <a:pt x="1498" y="1376"/>
                  </a:lnTo>
                  <a:lnTo>
                    <a:pt x="1498" y="1376"/>
                  </a:lnTo>
                  <a:lnTo>
                    <a:pt x="1496" y="1378"/>
                  </a:lnTo>
                  <a:lnTo>
                    <a:pt x="1490" y="1382"/>
                  </a:lnTo>
                  <a:lnTo>
                    <a:pt x="1484" y="1386"/>
                  </a:lnTo>
                  <a:lnTo>
                    <a:pt x="1482" y="1388"/>
                  </a:lnTo>
                  <a:lnTo>
                    <a:pt x="1482" y="1390"/>
                  </a:lnTo>
                  <a:lnTo>
                    <a:pt x="1482" y="1390"/>
                  </a:lnTo>
                  <a:lnTo>
                    <a:pt x="1482" y="1396"/>
                  </a:lnTo>
                  <a:lnTo>
                    <a:pt x="1480" y="1400"/>
                  </a:lnTo>
                  <a:lnTo>
                    <a:pt x="1474" y="1402"/>
                  </a:lnTo>
                  <a:lnTo>
                    <a:pt x="1468" y="1402"/>
                  </a:lnTo>
                  <a:lnTo>
                    <a:pt x="1468" y="1402"/>
                  </a:lnTo>
                  <a:lnTo>
                    <a:pt x="1462" y="1404"/>
                  </a:lnTo>
                  <a:lnTo>
                    <a:pt x="1460" y="1406"/>
                  </a:lnTo>
                  <a:lnTo>
                    <a:pt x="1458" y="1408"/>
                  </a:lnTo>
                  <a:lnTo>
                    <a:pt x="1460" y="1410"/>
                  </a:lnTo>
                  <a:lnTo>
                    <a:pt x="1460" y="1410"/>
                  </a:lnTo>
                  <a:lnTo>
                    <a:pt x="1464" y="1412"/>
                  </a:lnTo>
                  <a:lnTo>
                    <a:pt x="1466" y="1416"/>
                  </a:lnTo>
                  <a:lnTo>
                    <a:pt x="1472" y="1422"/>
                  </a:lnTo>
                  <a:lnTo>
                    <a:pt x="1482" y="1426"/>
                  </a:lnTo>
                  <a:lnTo>
                    <a:pt x="1482" y="1426"/>
                  </a:lnTo>
                  <a:lnTo>
                    <a:pt x="1496" y="1432"/>
                  </a:lnTo>
                  <a:lnTo>
                    <a:pt x="1508" y="1440"/>
                  </a:lnTo>
                  <a:lnTo>
                    <a:pt x="1520" y="1452"/>
                  </a:lnTo>
                  <a:lnTo>
                    <a:pt x="1532" y="1464"/>
                  </a:lnTo>
                  <a:lnTo>
                    <a:pt x="1532" y="1464"/>
                  </a:lnTo>
                  <a:lnTo>
                    <a:pt x="1538" y="1468"/>
                  </a:lnTo>
                  <a:lnTo>
                    <a:pt x="1546" y="1472"/>
                  </a:lnTo>
                  <a:lnTo>
                    <a:pt x="1562" y="1476"/>
                  </a:lnTo>
                  <a:lnTo>
                    <a:pt x="1568" y="1478"/>
                  </a:lnTo>
                  <a:lnTo>
                    <a:pt x="1574" y="1482"/>
                  </a:lnTo>
                  <a:lnTo>
                    <a:pt x="1580" y="1486"/>
                  </a:lnTo>
                  <a:lnTo>
                    <a:pt x="1582" y="1492"/>
                  </a:lnTo>
                  <a:lnTo>
                    <a:pt x="1582" y="1492"/>
                  </a:lnTo>
                  <a:lnTo>
                    <a:pt x="1584" y="1498"/>
                  </a:lnTo>
                  <a:lnTo>
                    <a:pt x="1586" y="1502"/>
                  </a:lnTo>
                  <a:lnTo>
                    <a:pt x="1590" y="1508"/>
                  </a:lnTo>
                  <a:lnTo>
                    <a:pt x="1592" y="1512"/>
                  </a:lnTo>
                  <a:lnTo>
                    <a:pt x="1592" y="1520"/>
                  </a:lnTo>
                  <a:lnTo>
                    <a:pt x="1592" y="1520"/>
                  </a:lnTo>
                  <a:lnTo>
                    <a:pt x="1590" y="1526"/>
                  </a:lnTo>
                  <a:lnTo>
                    <a:pt x="1584" y="1532"/>
                  </a:lnTo>
                  <a:lnTo>
                    <a:pt x="1576" y="1536"/>
                  </a:lnTo>
                  <a:lnTo>
                    <a:pt x="1566" y="1542"/>
                  </a:lnTo>
                  <a:lnTo>
                    <a:pt x="1548" y="1546"/>
                  </a:lnTo>
                  <a:lnTo>
                    <a:pt x="1540" y="1548"/>
                  </a:lnTo>
                  <a:lnTo>
                    <a:pt x="1536" y="1546"/>
                  </a:lnTo>
                  <a:lnTo>
                    <a:pt x="1536" y="1546"/>
                  </a:lnTo>
                  <a:lnTo>
                    <a:pt x="1526" y="1544"/>
                  </a:lnTo>
                  <a:lnTo>
                    <a:pt x="1514" y="1546"/>
                  </a:lnTo>
                  <a:lnTo>
                    <a:pt x="1488" y="1548"/>
                  </a:lnTo>
                  <a:lnTo>
                    <a:pt x="1488" y="1548"/>
                  </a:lnTo>
                  <a:lnTo>
                    <a:pt x="1478" y="1546"/>
                  </a:lnTo>
                  <a:lnTo>
                    <a:pt x="1470" y="1542"/>
                  </a:lnTo>
                  <a:lnTo>
                    <a:pt x="1464" y="1538"/>
                  </a:lnTo>
                  <a:lnTo>
                    <a:pt x="1456" y="1538"/>
                  </a:lnTo>
                  <a:lnTo>
                    <a:pt x="1456" y="1538"/>
                  </a:lnTo>
                  <a:lnTo>
                    <a:pt x="1448" y="1536"/>
                  </a:lnTo>
                  <a:lnTo>
                    <a:pt x="1444" y="1532"/>
                  </a:lnTo>
                  <a:lnTo>
                    <a:pt x="1438" y="1528"/>
                  </a:lnTo>
                  <a:lnTo>
                    <a:pt x="1432" y="1526"/>
                  </a:lnTo>
                  <a:lnTo>
                    <a:pt x="1432" y="1526"/>
                  </a:lnTo>
                  <a:lnTo>
                    <a:pt x="1426" y="1526"/>
                  </a:lnTo>
                  <a:lnTo>
                    <a:pt x="1420" y="1522"/>
                  </a:lnTo>
                  <a:lnTo>
                    <a:pt x="1412" y="1520"/>
                  </a:lnTo>
                  <a:lnTo>
                    <a:pt x="1390" y="1516"/>
                  </a:lnTo>
                  <a:lnTo>
                    <a:pt x="1390" y="1516"/>
                  </a:lnTo>
                  <a:lnTo>
                    <a:pt x="1376" y="1514"/>
                  </a:lnTo>
                  <a:lnTo>
                    <a:pt x="1364" y="1516"/>
                  </a:lnTo>
                  <a:lnTo>
                    <a:pt x="1352" y="1518"/>
                  </a:lnTo>
                  <a:lnTo>
                    <a:pt x="1340" y="1522"/>
                  </a:lnTo>
                  <a:lnTo>
                    <a:pt x="1320" y="1532"/>
                  </a:lnTo>
                  <a:lnTo>
                    <a:pt x="1308" y="1540"/>
                  </a:lnTo>
                  <a:lnTo>
                    <a:pt x="1308" y="1540"/>
                  </a:lnTo>
                  <a:lnTo>
                    <a:pt x="1302" y="1544"/>
                  </a:lnTo>
                  <a:lnTo>
                    <a:pt x="1294" y="1546"/>
                  </a:lnTo>
                  <a:lnTo>
                    <a:pt x="1276" y="1546"/>
                  </a:lnTo>
                  <a:lnTo>
                    <a:pt x="1258" y="1544"/>
                  </a:lnTo>
                  <a:lnTo>
                    <a:pt x="1248" y="1544"/>
                  </a:lnTo>
                  <a:lnTo>
                    <a:pt x="1248" y="1544"/>
                  </a:lnTo>
                  <a:lnTo>
                    <a:pt x="1246" y="1548"/>
                  </a:lnTo>
                  <a:lnTo>
                    <a:pt x="1246" y="1554"/>
                  </a:lnTo>
                  <a:lnTo>
                    <a:pt x="1242" y="1560"/>
                  </a:lnTo>
                  <a:lnTo>
                    <a:pt x="1240" y="1562"/>
                  </a:lnTo>
                  <a:lnTo>
                    <a:pt x="1234" y="1564"/>
                  </a:lnTo>
                  <a:lnTo>
                    <a:pt x="1234" y="1564"/>
                  </a:lnTo>
                  <a:lnTo>
                    <a:pt x="1222" y="1568"/>
                  </a:lnTo>
                  <a:lnTo>
                    <a:pt x="1206" y="1568"/>
                  </a:lnTo>
                  <a:lnTo>
                    <a:pt x="1190" y="1568"/>
                  </a:lnTo>
                  <a:lnTo>
                    <a:pt x="1178" y="1570"/>
                  </a:lnTo>
                  <a:lnTo>
                    <a:pt x="1178" y="1570"/>
                  </a:lnTo>
                  <a:lnTo>
                    <a:pt x="1170" y="1576"/>
                  </a:lnTo>
                  <a:lnTo>
                    <a:pt x="1168" y="1582"/>
                  </a:lnTo>
                  <a:lnTo>
                    <a:pt x="1168" y="1588"/>
                  </a:lnTo>
                  <a:lnTo>
                    <a:pt x="1170" y="1590"/>
                  </a:lnTo>
                  <a:lnTo>
                    <a:pt x="1172" y="1590"/>
                  </a:lnTo>
                  <a:lnTo>
                    <a:pt x="1172" y="1590"/>
                  </a:lnTo>
                  <a:lnTo>
                    <a:pt x="1178" y="1590"/>
                  </a:lnTo>
                  <a:lnTo>
                    <a:pt x="1182" y="1592"/>
                  </a:lnTo>
                  <a:lnTo>
                    <a:pt x="1184" y="1594"/>
                  </a:lnTo>
                  <a:lnTo>
                    <a:pt x="1184" y="1598"/>
                  </a:lnTo>
                  <a:lnTo>
                    <a:pt x="1184" y="1598"/>
                  </a:lnTo>
                  <a:lnTo>
                    <a:pt x="1184" y="1602"/>
                  </a:lnTo>
                  <a:lnTo>
                    <a:pt x="1186" y="1608"/>
                  </a:lnTo>
                  <a:lnTo>
                    <a:pt x="1188" y="1614"/>
                  </a:lnTo>
                  <a:lnTo>
                    <a:pt x="1188" y="1616"/>
                  </a:lnTo>
                  <a:lnTo>
                    <a:pt x="1186" y="1618"/>
                  </a:lnTo>
                  <a:lnTo>
                    <a:pt x="1186" y="1618"/>
                  </a:lnTo>
                  <a:lnTo>
                    <a:pt x="1182" y="1622"/>
                  </a:lnTo>
                  <a:lnTo>
                    <a:pt x="1182" y="1628"/>
                  </a:lnTo>
                  <a:lnTo>
                    <a:pt x="1184" y="1632"/>
                  </a:lnTo>
                  <a:lnTo>
                    <a:pt x="1186" y="1636"/>
                  </a:lnTo>
                  <a:lnTo>
                    <a:pt x="1186" y="1636"/>
                  </a:lnTo>
                  <a:lnTo>
                    <a:pt x="1190" y="1640"/>
                  </a:lnTo>
                  <a:lnTo>
                    <a:pt x="1192" y="1646"/>
                  </a:lnTo>
                  <a:lnTo>
                    <a:pt x="1190" y="1650"/>
                  </a:lnTo>
                  <a:lnTo>
                    <a:pt x="1186" y="1652"/>
                  </a:lnTo>
                  <a:lnTo>
                    <a:pt x="1186" y="1652"/>
                  </a:lnTo>
                  <a:lnTo>
                    <a:pt x="1186" y="1652"/>
                  </a:lnTo>
                  <a:lnTo>
                    <a:pt x="1186" y="1654"/>
                  </a:lnTo>
                  <a:lnTo>
                    <a:pt x="1190" y="1658"/>
                  </a:lnTo>
                  <a:lnTo>
                    <a:pt x="1196" y="1662"/>
                  </a:lnTo>
                  <a:lnTo>
                    <a:pt x="1200" y="1666"/>
                  </a:lnTo>
                  <a:lnTo>
                    <a:pt x="1200" y="1666"/>
                  </a:lnTo>
                  <a:lnTo>
                    <a:pt x="1204" y="1668"/>
                  </a:lnTo>
                  <a:lnTo>
                    <a:pt x="1210" y="1670"/>
                  </a:lnTo>
                  <a:lnTo>
                    <a:pt x="1216" y="1674"/>
                  </a:lnTo>
                  <a:lnTo>
                    <a:pt x="1218" y="1676"/>
                  </a:lnTo>
                  <a:lnTo>
                    <a:pt x="1218" y="1676"/>
                  </a:lnTo>
                  <a:lnTo>
                    <a:pt x="1220" y="1680"/>
                  </a:lnTo>
                  <a:lnTo>
                    <a:pt x="1222" y="1682"/>
                  </a:lnTo>
                  <a:lnTo>
                    <a:pt x="1226" y="1682"/>
                  </a:lnTo>
                  <a:lnTo>
                    <a:pt x="1232" y="1680"/>
                  </a:lnTo>
                  <a:lnTo>
                    <a:pt x="1232" y="1680"/>
                  </a:lnTo>
                  <a:lnTo>
                    <a:pt x="1234" y="1680"/>
                  </a:lnTo>
                  <a:lnTo>
                    <a:pt x="1238" y="1682"/>
                  </a:lnTo>
                  <a:lnTo>
                    <a:pt x="1242" y="1686"/>
                  </a:lnTo>
                  <a:lnTo>
                    <a:pt x="1248" y="1698"/>
                  </a:lnTo>
                  <a:lnTo>
                    <a:pt x="1248" y="1698"/>
                  </a:lnTo>
                  <a:lnTo>
                    <a:pt x="1252" y="1700"/>
                  </a:lnTo>
                  <a:lnTo>
                    <a:pt x="1256" y="1702"/>
                  </a:lnTo>
                  <a:lnTo>
                    <a:pt x="1268" y="1702"/>
                  </a:lnTo>
                  <a:lnTo>
                    <a:pt x="1280" y="1698"/>
                  </a:lnTo>
                  <a:lnTo>
                    <a:pt x="1282" y="1694"/>
                  </a:lnTo>
                  <a:lnTo>
                    <a:pt x="1284" y="1692"/>
                  </a:lnTo>
                  <a:lnTo>
                    <a:pt x="1284" y="1692"/>
                  </a:lnTo>
                  <a:lnTo>
                    <a:pt x="1286" y="1686"/>
                  </a:lnTo>
                  <a:lnTo>
                    <a:pt x="1290" y="1682"/>
                  </a:lnTo>
                  <a:lnTo>
                    <a:pt x="1296" y="1682"/>
                  </a:lnTo>
                  <a:lnTo>
                    <a:pt x="1306" y="1682"/>
                  </a:lnTo>
                  <a:lnTo>
                    <a:pt x="1306" y="1682"/>
                  </a:lnTo>
                  <a:lnTo>
                    <a:pt x="1316" y="1684"/>
                  </a:lnTo>
                  <a:lnTo>
                    <a:pt x="1328" y="1692"/>
                  </a:lnTo>
                  <a:lnTo>
                    <a:pt x="1336" y="1698"/>
                  </a:lnTo>
                  <a:lnTo>
                    <a:pt x="1342" y="1704"/>
                  </a:lnTo>
                  <a:lnTo>
                    <a:pt x="1342" y="1704"/>
                  </a:lnTo>
                  <a:lnTo>
                    <a:pt x="1348" y="1704"/>
                  </a:lnTo>
                  <a:lnTo>
                    <a:pt x="1356" y="1702"/>
                  </a:lnTo>
                  <a:lnTo>
                    <a:pt x="1364" y="1700"/>
                  </a:lnTo>
                  <a:lnTo>
                    <a:pt x="1372" y="1698"/>
                  </a:lnTo>
                  <a:lnTo>
                    <a:pt x="1372" y="1698"/>
                  </a:lnTo>
                  <a:lnTo>
                    <a:pt x="1378" y="1696"/>
                  </a:lnTo>
                  <a:lnTo>
                    <a:pt x="1386" y="1692"/>
                  </a:lnTo>
                  <a:lnTo>
                    <a:pt x="1396" y="1682"/>
                  </a:lnTo>
                  <a:lnTo>
                    <a:pt x="1396" y="1682"/>
                  </a:lnTo>
                  <a:lnTo>
                    <a:pt x="1400" y="1682"/>
                  </a:lnTo>
                  <a:lnTo>
                    <a:pt x="1406" y="1686"/>
                  </a:lnTo>
                  <a:lnTo>
                    <a:pt x="1412" y="1688"/>
                  </a:lnTo>
                  <a:lnTo>
                    <a:pt x="1414" y="1688"/>
                  </a:lnTo>
                  <a:lnTo>
                    <a:pt x="1418" y="1688"/>
                  </a:lnTo>
                  <a:lnTo>
                    <a:pt x="1418" y="1688"/>
                  </a:lnTo>
                  <a:lnTo>
                    <a:pt x="1430" y="1682"/>
                  </a:lnTo>
                  <a:lnTo>
                    <a:pt x="1434" y="1680"/>
                  </a:lnTo>
                  <a:lnTo>
                    <a:pt x="1438" y="1682"/>
                  </a:lnTo>
                  <a:lnTo>
                    <a:pt x="1438" y="1682"/>
                  </a:lnTo>
                  <a:lnTo>
                    <a:pt x="1440" y="1684"/>
                  </a:lnTo>
                  <a:lnTo>
                    <a:pt x="1438" y="1686"/>
                  </a:lnTo>
                  <a:lnTo>
                    <a:pt x="1434" y="1692"/>
                  </a:lnTo>
                  <a:lnTo>
                    <a:pt x="1432" y="1698"/>
                  </a:lnTo>
                  <a:lnTo>
                    <a:pt x="1430" y="1700"/>
                  </a:lnTo>
                  <a:lnTo>
                    <a:pt x="1432" y="1704"/>
                  </a:lnTo>
                  <a:lnTo>
                    <a:pt x="1432" y="1704"/>
                  </a:lnTo>
                  <a:lnTo>
                    <a:pt x="1432" y="1710"/>
                  </a:lnTo>
                  <a:lnTo>
                    <a:pt x="1432" y="1716"/>
                  </a:lnTo>
                  <a:lnTo>
                    <a:pt x="1430" y="1722"/>
                  </a:lnTo>
                  <a:lnTo>
                    <a:pt x="1432" y="1726"/>
                  </a:lnTo>
                  <a:lnTo>
                    <a:pt x="1432" y="1726"/>
                  </a:lnTo>
                  <a:lnTo>
                    <a:pt x="1434" y="1732"/>
                  </a:lnTo>
                  <a:lnTo>
                    <a:pt x="1432" y="1736"/>
                  </a:lnTo>
                  <a:lnTo>
                    <a:pt x="1430" y="1744"/>
                  </a:lnTo>
                  <a:lnTo>
                    <a:pt x="1430" y="1750"/>
                  </a:lnTo>
                  <a:lnTo>
                    <a:pt x="1430" y="1750"/>
                  </a:lnTo>
                  <a:lnTo>
                    <a:pt x="1428" y="1754"/>
                  </a:lnTo>
                  <a:lnTo>
                    <a:pt x="1426" y="1760"/>
                  </a:lnTo>
                  <a:lnTo>
                    <a:pt x="1418" y="1774"/>
                  </a:lnTo>
                  <a:lnTo>
                    <a:pt x="1410" y="1790"/>
                  </a:lnTo>
                  <a:lnTo>
                    <a:pt x="1404" y="1804"/>
                  </a:lnTo>
                  <a:lnTo>
                    <a:pt x="1404" y="1804"/>
                  </a:lnTo>
                  <a:lnTo>
                    <a:pt x="1400" y="1820"/>
                  </a:lnTo>
                  <a:lnTo>
                    <a:pt x="1392" y="1836"/>
                  </a:lnTo>
                  <a:lnTo>
                    <a:pt x="1380" y="1856"/>
                  </a:lnTo>
                  <a:lnTo>
                    <a:pt x="1380" y="1856"/>
                  </a:lnTo>
                  <a:lnTo>
                    <a:pt x="1376" y="1858"/>
                  </a:lnTo>
                  <a:lnTo>
                    <a:pt x="1370" y="1856"/>
                  </a:lnTo>
                  <a:lnTo>
                    <a:pt x="1360" y="1854"/>
                  </a:lnTo>
                  <a:lnTo>
                    <a:pt x="1352" y="1856"/>
                  </a:lnTo>
                  <a:lnTo>
                    <a:pt x="1352" y="1856"/>
                  </a:lnTo>
                  <a:lnTo>
                    <a:pt x="1342" y="1856"/>
                  </a:lnTo>
                  <a:lnTo>
                    <a:pt x="1334" y="1854"/>
                  </a:lnTo>
                  <a:lnTo>
                    <a:pt x="1316" y="1848"/>
                  </a:lnTo>
                  <a:lnTo>
                    <a:pt x="1316" y="1848"/>
                  </a:lnTo>
                  <a:lnTo>
                    <a:pt x="1312" y="1846"/>
                  </a:lnTo>
                  <a:lnTo>
                    <a:pt x="1304" y="1846"/>
                  </a:lnTo>
                  <a:lnTo>
                    <a:pt x="1286" y="1848"/>
                  </a:lnTo>
                  <a:lnTo>
                    <a:pt x="1270" y="1852"/>
                  </a:lnTo>
                  <a:lnTo>
                    <a:pt x="1264" y="1854"/>
                  </a:lnTo>
                  <a:lnTo>
                    <a:pt x="1260" y="1858"/>
                  </a:lnTo>
                  <a:lnTo>
                    <a:pt x="1260" y="1858"/>
                  </a:lnTo>
                  <a:lnTo>
                    <a:pt x="1254" y="1862"/>
                  </a:lnTo>
                  <a:lnTo>
                    <a:pt x="1248" y="1864"/>
                  </a:lnTo>
                  <a:lnTo>
                    <a:pt x="1238" y="1862"/>
                  </a:lnTo>
                  <a:lnTo>
                    <a:pt x="1230" y="1860"/>
                  </a:lnTo>
                  <a:lnTo>
                    <a:pt x="1230" y="1860"/>
                  </a:lnTo>
                  <a:lnTo>
                    <a:pt x="1208" y="1852"/>
                  </a:lnTo>
                  <a:lnTo>
                    <a:pt x="1194" y="1848"/>
                  </a:lnTo>
                  <a:lnTo>
                    <a:pt x="1180" y="1846"/>
                  </a:lnTo>
                  <a:lnTo>
                    <a:pt x="1180" y="1846"/>
                  </a:lnTo>
                  <a:lnTo>
                    <a:pt x="1150" y="1842"/>
                  </a:lnTo>
                  <a:lnTo>
                    <a:pt x="1142" y="1838"/>
                  </a:lnTo>
                  <a:lnTo>
                    <a:pt x="1138" y="1834"/>
                  </a:lnTo>
                  <a:lnTo>
                    <a:pt x="1138" y="1834"/>
                  </a:lnTo>
                  <a:lnTo>
                    <a:pt x="1134" y="1832"/>
                  </a:lnTo>
                  <a:lnTo>
                    <a:pt x="1128" y="1830"/>
                  </a:lnTo>
                  <a:lnTo>
                    <a:pt x="1100" y="1826"/>
                  </a:lnTo>
                  <a:lnTo>
                    <a:pt x="1100" y="1826"/>
                  </a:lnTo>
                  <a:lnTo>
                    <a:pt x="1094" y="1824"/>
                  </a:lnTo>
                  <a:lnTo>
                    <a:pt x="1088" y="1820"/>
                  </a:lnTo>
                  <a:lnTo>
                    <a:pt x="1082" y="1814"/>
                  </a:lnTo>
                  <a:lnTo>
                    <a:pt x="1074" y="1808"/>
                  </a:lnTo>
                  <a:lnTo>
                    <a:pt x="1068" y="1806"/>
                  </a:lnTo>
                  <a:lnTo>
                    <a:pt x="1060" y="1804"/>
                  </a:lnTo>
                  <a:lnTo>
                    <a:pt x="1060" y="1804"/>
                  </a:lnTo>
                  <a:lnTo>
                    <a:pt x="1050" y="1804"/>
                  </a:lnTo>
                  <a:lnTo>
                    <a:pt x="1038" y="1806"/>
                  </a:lnTo>
                  <a:lnTo>
                    <a:pt x="1028" y="1810"/>
                  </a:lnTo>
                  <a:lnTo>
                    <a:pt x="1020" y="1814"/>
                  </a:lnTo>
                  <a:lnTo>
                    <a:pt x="1004" y="1826"/>
                  </a:lnTo>
                  <a:lnTo>
                    <a:pt x="1000" y="1830"/>
                  </a:lnTo>
                  <a:lnTo>
                    <a:pt x="998" y="1834"/>
                  </a:lnTo>
                  <a:lnTo>
                    <a:pt x="998" y="1834"/>
                  </a:lnTo>
                  <a:lnTo>
                    <a:pt x="1000" y="1844"/>
                  </a:lnTo>
                  <a:lnTo>
                    <a:pt x="1004" y="1852"/>
                  </a:lnTo>
                  <a:lnTo>
                    <a:pt x="1006" y="1862"/>
                  </a:lnTo>
                  <a:lnTo>
                    <a:pt x="1004" y="1866"/>
                  </a:lnTo>
                  <a:lnTo>
                    <a:pt x="1002" y="1870"/>
                  </a:lnTo>
                  <a:lnTo>
                    <a:pt x="1002" y="1870"/>
                  </a:lnTo>
                  <a:lnTo>
                    <a:pt x="998" y="1874"/>
                  </a:lnTo>
                  <a:lnTo>
                    <a:pt x="994" y="1878"/>
                  </a:lnTo>
                  <a:lnTo>
                    <a:pt x="982" y="1880"/>
                  </a:lnTo>
                  <a:lnTo>
                    <a:pt x="972" y="1878"/>
                  </a:lnTo>
                  <a:lnTo>
                    <a:pt x="966" y="1874"/>
                  </a:lnTo>
                  <a:lnTo>
                    <a:pt x="960" y="1870"/>
                  </a:lnTo>
                  <a:lnTo>
                    <a:pt x="960" y="1870"/>
                  </a:lnTo>
                  <a:lnTo>
                    <a:pt x="948" y="1862"/>
                  </a:lnTo>
                  <a:lnTo>
                    <a:pt x="936" y="1858"/>
                  </a:lnTo>
                  <a:lnTo>
                    <a:pt x="922" y="1854"/>
                  </a:lnTo>
                  <a:lnTo>
                    <a:pt x="910" y="1852"/>
                  </a:lnTo>
                  <a:lnTo>
                    <a:pt x="910" y="1852"/>
                  </a:lnTo>
                  <a:lnTo>
                    <a:pt x="898" y="1850"/>
                  </a:lnTo>
                  <a:lnTo>
                    <a:pt x="890" y="1846"/>
                  </a:lnTo>
                  <a:lnTo>
                    <a:pt x="884" y="1840"/>
                  </a:lnTo>
                  <a:lnTo>
                    <a:pt x="882" y="1834"/>
                  </a:lnTo>
                  <a:lnTo>
                    <a:pt x="882" y="1834"/>
                  </a:lnTo>
                  <a:lnTo>
                    <a:pt x="882" y="1828"/>
                  </a:lnTo>
                  <a:lnTo>
                    <a:pt x="880" y="1824"/>
                  </a:lnTo>
                  <a:lnTo>
                    <a:pt x="874" y="1820"/>
                  </a:lnTo>
                  <a:lnTo>
                    <a:pt x="866" y="1818"/>
                  </a:lnTo>
                  <a:lnTo>
                    <a:pt x="866" y="1818"/>
                  </a:lnTo>
                  <a:lnTo>
                    <a:pt x="854" y="1814"/>
                  </a:lnTo>
                  <a:lnTo>
                    <a:pt x="844" y="1810"/>
                  </a:lnTo>
                  <a:lnTo>
                    <a:pt x="832" y="1806"/>
                  </a:lnTo>
                  <a:lnTo>
                    <a:pt x="824" y="1806"/>
                  </a:lnTo>
                  <a:lnTo>
                    <a:pt x="816" y="1808"/>
                  </a:lnTo>
                  <a:lnTo>
                    <a:pt x="816" y="1808"/>
                  </a:lnTo>
                  <a:lnTo>
                    <a:pt x="806" y="1808"/>
                  </a:lnTo>
                  <a:lnTo>
                    <a:pt x="798" y="1808"/>
                  </a:lnTo>
                  <a:lnTo>
                    <a:pt x="792" y="1804"/>
                  </a:lnTo>
                  <a:lnTo>
                    <a:pt x="786" y="1802"/>
                  </a:lnTo>
                  <a:lnTo>
                    <a:pt x="776" y="1794"/>
                  </a:lnTo>
                  <a:lnTo>
                    <a:pt x="774" y="1790"/>
                  </a:lnTo>
                  <a:lnTo>
                    <a:pt x="774" y="1790"/>
                  </a:lnTo>
                  <a:lnTo>
                    <a:pt x="772" y="1786"/>
                  </a:lnTo>
                  <a:lnTo>
                    <a:pt x="770" y="1780"/>
                  </a:lnTo>
                  <a:lnTo>
                    <a:pt x="766" y="1778"/>
                  </a:lnTo>
                  <a:lnTo>
                    <a:pt x="762" y="1780"/>
                  </a:lnTo>
                  <a:lnTo>
                    <a:pt x="762" y="1780"/>
                  </a:lnTo>
                  <a:lnTo>
                    <a:pt x="758" y="1782"/>
                  </a:lnTo>
                  <a:lnTo>
                    <a:pt x="750" y="1782"/>
                  </a:lnTo>
                  <a:lnTo>
                    <a:pt x="744" y="1778"/>
                  </a:lnTo>
                  <a:lnTo>
                    <a:pt x="742" y="1774"/>
                  </a:lnTo>
                  <a:lnTo>
                    <a:pt x="740" y="1770"/>
                  </a:lnTo>
                  <a:lnTo>
                    <a:pt x="740" y="1770"/>
                  </a:lnTo>
                  <a:lnTo>
                    <a:pt x="740" y="1768"/>
                  </a:lnTo>
                  <a:lnTo>
                    <a:pt x="742" y="1764"/>
                  </a:lnTo>
                  <a:lnTo>
                    <a:pt x="746" y="1762"/>
                  </a:lnTo>
                  <a:lnTo>
                    <a:pt x="754" y="1758"/>
                  </a:lnTo>
                  <a:lnTo>
                    <a:pt x="762" y="1752"/>
                  </a:lnTo>
                  <a:lnTo>
                    <a:pt x="762" y="1752"/>
                  </a:lnTo>
                  <a:lnTo>
                    <a:pt x="768" y="1744"/>
                  </a:lnTo>
                  <a:lnTo>
                    <a:pt x="772" y="1734"/>
                  </a:lnTo>
                  <a:lnTo>
                    <a:pt x="770" y="1724"/>
                  </a:lnTo>
                  <a:lnTo>
                    <a:pt x="768" y="1720"/>
                  </a:lnTo>
                  <a:lnTo>
                    <a:pt x="764" y="1716"/>
                  </a:lnTo>
                  <a:lnTo>
                    <a:pt x="764" y="1716"/>
                  </a:lnTo>
                  <a:lnTo>
                    <a:pt x="758" y="1708"/>
                  </a:lnTo>
                  <a:lnTo>
                    <a:pt x="758" y="1706"/>
                  </a:lnTo>
                  <a:lnTo>
                    <a:pt x="758" y="1704"/>
                  </a:lnTo>
                  <a:lnTo>
                    <a:pt x="762" y="1698"/>
                  </a:lnTo>
                  <a:lnTo>
                    <a:pt x="768" y="1692"/>
                  </a:lnTo>
                  <a:lnTo>
                    <a:pt x="768" y="1692"/>
                  </a:lnTo>
                  <a:lnTo>
                    <a:pt x="772" y="1686"/>
                  </a:lnTo>
                  <a:lnTo>
                    <a:pt x="772" y="1682"/>
                  </a:lnTo>
                  <a:lnTo>
                    <a:pt x="768" y="1680"/>
                  </a:lnTo>
                  <a:lnTo>
                    <a:pt x="764" y="1682"/>
                  </a:lnTo>
                  <a:lnTo>
                    <a:pt x="764" y="1682"/>
                  </a:lnTo>
                  <a:lnTo>
                    <a:pt x="760" y="1684"/>
                  </a:lnTo>
                  <a:lnTo>
                    <a:pt x="756" y="1684"/>
                  </a:lnTo>
                  <a:lnTo>
                    <a:pt x="754" y="1682"/>
                  </a:lnTo>
                  <a:lnTo>
                    <a:pt x="752" y="1678"/>
                  </a:lnTo>
                  <a:lnTo>
                    <a:pt x="752" y="1678"/>
                  </a:lnTo>
                  <a:lnTo>
                    <a:pt x="750" y="1674"/>
                  </a:lnTo>
                  <a:lnTo>
                    <a:pt x="746" y="1672"/>
                  </a:lnTo>
                  <a:lnTo>
                    <a:pt x="736" y="1670"/>
                  </a:lnTo>
                  <a:lnTo>
                    <a:pt x="724" y="1670"/>
                  </a:lnTo>
                  <a:lnTo>
                    <a:pt x="718" y="1672"/>
                  </a:lnTo>
                  <a:lnTo>
                    <a:pt x="714" y="1676"/>
                  </a:lnTo>
                  <a:lnTo>
                    <a:pt x="714" y="1676"/>
                  </a:lnTo>
                  <a:lnTo>
                    <a:pt x="710" y="1678"/>
                  </a:lnTo>
                  <a:lnTo>
                    <a:pt x="704" y="1680"/>
                  </a:lnTo>
                  <a:lnTo>
                    <a:pt x="692" y="1680"/>
                  </a:lnTo>
                  <a:lnTo>
                    <a:pt x="680" y="1676"/>
                  </a:lnTo>
                  <a:lnTo>
                    <a:pt x="674" y="1674"/>
                  </a:lnTo>
                  <a:lnTo>
                    <a:pt x="674" y="1674"/>
                  </a:lnTo>
                  <a:lnTo>
                    <a:pt x="668" y="1674"/>
                  </a:lnTo>
                  <a:lnTo>
                    <a:pt x="662" y="1676"/>
                  </a:lnTo>
                  <a:lnTo>
                    <a:pt x="646" y="1678"/>
                  </a:lnTo>
                  <a:lnTo>
                    <a:pt x="646" y="1678"/>
                  </a:lnTo>
                  <a:lnTo>
                    <a:pt x="638" y="1680"/>
                  </a:lnTo>
                  <a:lnTo>
                    <a:pt x="626" y="1684"/>
                  </a:lnTo>
                  <a:lnTo>
                    <a:pt x="616" y="1686"/>
                  </a:lnTo>
                  <a:lnTo>
                    <a:pt x="612" y="1686"/>
                  </a:lnTo>
                  <a:lnTo>
                    <a:pt x="608" y="1686"/>
                  </a:lnTo>
                  <a:lnTo>
                    <a:pt x="608" y="1686"/>
                  </a:lnTo>
                  <a:lnTo>
                    <a:pt x="602" y="1684"/>
                  </a:lnTo>
                  <a:lnTo>
                    <a:pt x="592" y="1682"/>
                  </a:lnTo>
                  <a:lnTo>
                    <a:pt x="562" y="1686"/>
                  </a:lnTo>
                  <a:lnTo>
                    <a:pt x="506" y="1692"/>
                  </a:lnTo>
                  <a:lnTo>
                    <a:pt x="506" y="1692"/>
                  </a:lnTo>
                  <a:lnTo>
                    <a:pt x="498" y="1692"/>
                  </a:lnTo>
                  <a:lnTo>
                    <a:pt x="492" y="1694"/>
                  </a:lnTo>
                  <a:lnTo>
                    <a:pt x="482" y="1702"/>
                  </a:lnTo>
                  <a:lnTo>
                    <a:pt x="472" y="1710"/>
                  </a:lnTo>
                  <a:lnTo>
                    <a:pt x="468" y="1712"/>
                  </a:lnTo>
                  <a:lnTo>
                    <a:pt x="464" y="1714"/>
                  </a:lnTo>
                  <a:lnTo>
                    <a:pt x="464" y="1714"/>
                  </a:lnTo>
                  <a:lnTo>
                    <a:pt x="452" y="1716"/>
                  </a:lnTo>
                  <a:lnTo>
                    <a:pt x="442" y="1720"/>
                  </a:lnTo>
                  <a:lnTo>
                    <a:pt x="430" y="1728"/>
                  </a:lnTo>
                  <a:lnTo>
                    <a:pt x="420" y="1736"/>
                  </a:lnTo>
                  <a:lnTo>
                    <a:pt x="420" y="1736"/>
                  </a:lnTo>
                  <a:lnTo>
                    <a:pt x="416" y="1740"/>
                  </a:lnTo>
                  <a:lnTo>
                    <a:pt x="412" y="1740"/>
                  </a:lnTo>
                  <a:lnTo>
                    <a:pt x="402" y="1738"/>
                  </a:lnTo>
                  <a:lnTo>
                    <a:pt x="390" y="1736"/>
                  </a:lnTo>
                  <a:lnTo>
                    <a:pt x="378" y="1732"/>
                  </a:lnTo>
                  <a:lnTo>
                    <a:pt x="378" y="1732"/>
                  </a:lnTo>
                  <a:lnTo>
                    <a:pt x="354" y="1734"/>
                  </a:lnTo>
                  <a:lnTo>
                    <a:pt x="342" y="1734"/>
                  </a:lnTo>
                  <a:lnTo>
                    <a:pt x="336" y="1732"/>
                  </a:lnTo>
                  <a:lnTo>
                    <a:pt x="332" y="1728"/>
                  </a:lnTo>
                  <a:lnTo>
                    <a:pt x="332" y="1728"/>
                  </a:lnTo>
                  <a:lnTo>
                    <a:pt x="326" y="1720"/>
                  </a:lnTo>
                  <a:lnTo>
                    <a:pt x="318" y="1716"/>
                  </a:lnTo>
                  <a:lnTo>
                    <a:pt x="312" y="1716"/>
                  </a:lnTo>
                  <a:lnTo>
                    <a:pt x="308" y="1716"/>
                  </a:lnTo>
                  <a:lnTo>
                    <a:pt x="308" y="1716"/>
                  </a:lnTo>
                  <a:lnTo>
                    <a:pt x="304" y="1720"/>
                  </a:lnTo>
                  <a:lnTo>
                    <a:pt x="300" y="1726"/>
                  </a:lnTo>
                  <a:lnTo>
                    <a:pt x="292" y="1742"/>
                  </a:lnTo>
                  <a:lnTo>
                    <a:pt x="284" y="1758"/>
                  </a:lnTo>
                  <a:lnTo>
                    <a:pt x="278" y="1772"/>
                  </a:lnTo>
                  <a:lnTo>
                    <a:pt x="278" y="1772"/>
                  </a:lnTo>
                  <a:lnTo>
                    <a:pt x="268" y="1780"/>
                  </a:lnTo>
                  <a:lnTo>
                    <a:pt x="258" y="1786"/>
                  </a:lnTo>
                  <a:lnTo>
                    <a:pt x="246" y="1790"/>
                  </a:lnTo>
                  <a:lnTo>
                    <a:pt x="236" y="1792"/>
                  </a:lnTo>
                  <a:lnTo>
                    <a:pt x="236" y="1792"/>
                  </a:lnTo>
                  <a:lnTo>
                    <a:pt x="232" y="1792"/>
                  </a:lnTo>
                  <a:lnTo>
                    <a:pt x="230" y="1794"/>
                  </a:lnTo>
                  <a:lnTo>
                    <a:pt x="224" y="1800"/>
                  </a:lnTo>
                  <a:lnTo>
                    <a:pt x="220" y="1808"/>
                  </a:lnTo>
                  <a:lnTo>
                    <a:pt x="216" y="1816"/>
                  </a:lnTo>
                  <a:lnTo>
                    <a:pt x="216" y="1816"/>
                  </a:lnTo>
                  <a:lnTo>
                    <a:pt x="210" y="1820"/>
                  </a:lnTo>
                  <a:lnTo>
                    <a:pt x="208" y="1828"/>
                  </a:lnTo>
                  <a:lnTo>
                    <a:pt x="206" y="1834"/>
                  </a:lnTo>
                  <a:lnTo>
                    <a:pt x="200" y="1840"/>
                  </a:lnTo>
                  <a:lnTo>
                    <a:pt x="200" y="1840"/>
                  </a:lnTo>
                  <a:lnTo>
                    <a:pt x="196" y="1844"/>
                  </a:lnTo>
                  <a:lnTo>
                    <a:pt x="194" y="1850"/>
                  </a:lnTo>
                  <a:lnTo>
                    <a:pt x="194" y="1862"/>
                  </a:lnTo>
                  <a:lnTo>
                    <a:pt x="196" y="1874"/>
                  </a:lnTo>
                  <a:lnTo>
                    <a:pt x="200" y="1882"/>
                  </a:lnTo>
                  <a:lnTo>
                    <a:pt x="200" y="1882"/>
                  </a:lnTo>
                  <a:lnTo>
                    <a:pt x="200" y="1886"/>
                  </a:lnTo>
                  <a:lnTo>
                    <a:pt x="198" y="1892"/>
                  </a:lnTo>
                  <a:lnTo>
                    <a:pt x="190" y="1906"/>
                  </a:lnTo>
                  <a:lnTo>
                    <a:pt x="180" y="1918"/>
                  </a:lnTo>
                  <a:lnTo>
                    <a:pt x="168" y="1928"/>
                  </a:lnTo>
                  <a:lnTo>
                    <a:pt x="168" y="1928"/>
                  </a:lnTo>
                  <a:lnTo>
                    <a:pt x="158" y="1934"/>
                  </a:lnTo>
                  <a:lnTo>
                    <a:pt x="150" y="1942"/>
                  </a:lnTo>
                  <a:lnTo>
                    <a:pt x="142" y="1950"/>
                  </a:lnTo>
                  <a:lnTo>
                    <a:pt x="136" y="1952"/>
                  </a:lnTo>
                  <a:lnTo>
                    <a:pt x="128" y="1954"/>
                  </a:lnTo>
                  <a:lnTo>
                    <a:pt x="128" y="1954"/>
                  </a:lnTo>
                  <a:lnTo>
                    <a:pt x="120" y="1956"/>
                  </a:lnTo>
                  <a:lnTo>
                    <a:pt x="114" y="1960"/>
                  </a:lnTo>
                  <a:lnTo>
                    <a:pt x="104" y="1968"/>
                  </a:lnTo>
                  <a:lnTo>
                    <a:pt x="98" y="1978"/>
                  </a:lnTo>
                  <a:lnTo>
                    <a:pt x="94" y="1988"/>
                  </a:lnTo>
                  <a:lnTo>
                    <a:pt x="94" y="1988"/>
                  </a:lnTo>
                  <a:lnTo>
                    <a:pt x="90" y="1994"/>
                  </a:lnTo>
                  <a:lnTo>
                    <a:pt x="86" y="2000"/>
                  </a:lnTo>
                  <a:lnTo>
                    <a:pt x="74" y="2012"/>
                  </a:lnTo>
                  <a:lnTo>
                    <a:pt x="62" y="2026"/>
                  </a:lnTo>
                  <a:lnTo>
                    <a:pt x="58" y="2032"/>
                  </a:lnTo>
                  <a:lnTo>
                    <a:pt x="56" y="2038"/>
                  </a:lnTo>
                  <a:lnTo>
                    <a:pt x="56" y="2038"/>
                  </a:lnTo>
                  <a:lnTo>
                    <a:pt x="56" y="2046"/>
                  </a:lnTo>
                  <a:lnTo>
                    <a:pt x="52" y="2054"/>
                  </a:lnTo>
                  <a:lnTo>
                    <a:pt x="40" y="2074"/>
                  </a:lnTo>
                  <a:lnTo>
                    <a:pt x="24" y="2096"/>
                  </a:lnTo>
                  <a:lnTo>
                    <a:pt x="8" y="2124"/>
                  </a:lnTo>
                  <a:lnTo>
                    <a:pt x="8" y="2124"/>
                  </a:lnTo>
                  <a:lnTo>
                    <a:pt x="4" y="2136"/>
                  </a:lnTo>
                  <a:lnTo>
                    <a:pt x="0" y="2148"/>
                  </a:lnTo>
                  <a:lnTo>
                    <a:pt x="0" y="2156"/>
                  </a:lnTo>
                  <a:lnTo>
                    <a:pt x="2" y="2162"/>
                  </a:lnTo>
                  <a:lnTo>
                    <a:pt x="6" y="2168"/>
                  </a:lnTo>
                  <a:lnTo>
                    <a:pt x="8" y="2172"/>
                  </a:lnTo>
                  <a:lnTo>
                    <a:pt x="16" y="2180"/>
                  </a:lnTo>
                  <a:lnTo>
                    <a:pt x="16" y="2180"/>
                  </a:lnTo>
                  <a:lnTo>
                    <a:pt x="18" y="2184"/>
                  </a:lnTo>
                  <a:lnTo>
                    <a:pt x="18" y="2188"/>
                  </a:lnTo>
                  <a:lnTo>
                    <a:pt x="18" y="2200"/>
                  </a:lnTo>
                  <a:lnTo>
                    <a:pt x="18" y="2212"/>
                  </a:lnTo>
                  <a:lnTo>
                    <a:pt x="18" y="2218"/>
                  </a:lnTo>
                  <a:lnTo>
                    <a:pt x="22" y="2224"/>
                  </a:lnTo>
                  <a:lnTo>
                    <a:pt x="22" y="2224"/>
                  </a:lnTo>
                  <a:lnTo>
                    <a:pt x="26" y="2232"/>
                  </a:lnTo>
                  <a:lnTo>
                    <a:pt x="26" y="2238"/>
                  </a:lnTo>
                  <a:lnTo>
                    <a:pt x="26" y="2246"/>
                  </a:lnTo>
                  <a:lnTo>
                    <a:pt x="24" y="2254"/>
                  </a:lnTo>
                  <a:lnTo>
                    <a:pt x="18" y="2268"/>
                  </a:lnTo>
                  <a:lnTo>
                    <a:pt x="14" y="2278"/>
                  </a:lnTo>
                  <a:lnTo>
                    <a:pt x="14" y="2278"/>
                  </a:lnTo>
                  <a:lnTo>
                    <a:pt x="10" y="2288"/>
                  </a:lnTo>
                  <a:lnTo>
                    <a:pt x="8" y="2300"/>
                  </a:lnTo>
                  <a:lnTo>
                    <a:pt x="6" y="2312"/>
                  </a:lnTo>
                  <a:lnTo>
                    <a:pt x="6" y="2318"/>
                  </a:lnTo>
                  <a:lnTo>
                    <a:pt x="2" y="2324"/>
                  </a:lnTo>
                  <a:lnTo>
                    <a:pt x="2" y="2324"/>
                  </a:lnTo>
                  <a:lnTo>
                    <a:pt x="0" y="2328"/>
                  </a:lnTo>
                  <a:lnTo>
                    <a:pt x="0" y="2334"/>
                  </a:lnTo>
                  <a:lnTo>
                    <a:pt x="2" y="2346"/>
                  </a:lnTo>
                  <a:lnTo>
                    <a:pt x="6" y="2356"/>
                  </a:lnTo>
                  <a:lnTo>
                    <a:pt x="12" y="2362"/>
                  </a:lnTo>
                  <a:lnTo>
                    <a:pt x="12" y="2362"/>
                  </a:lnTo>
                  <a:lnTo>
                    <a:pt x="14" y="2364"/>
                  </a:lnTo>
                  <a:lnTo>
                    <a:pt x="14" y="2368"/>
                  </a:lnTo>
                  <a:lnTo>
                    <a:pt x="12" y="2378"/>
                  </a:lnTo>
                  <a:lnTo>
                    <a:pt x="10" y="2388"/>
                  </a:lnTo>
                  <a:lnTo>
                    <a:pt x="12" y="2392"/>
                  </a:lnTo>
                  <a:lnTo>
                    <a:pt x="14" y="2396"/>
                  </a:lnTo>
                  <a:lnTo>
                    <a:pt x="14" y="2396"/>
                  </a:lnTo>
                  <a:lnTo>
                    <a:pt x="24" y="2408"/>
                  </a:lnTo>
                  <a:lnTo>
                    <a:pt x="30" y="2412"/>
                  </a:lnTo>
                  <a:lnTo>
                    <a:pt x="38" y="2416"/>
                  </a:lnTo>
                  <a:lnTo>
                    <a:pt x="38" y="2416"/>
                  </a:lnTo>
                  <a:lnTo>
                    <a:pt x="42" y="2418"/>
                  </a:lnTo>
                  <a:lnTo>
                    <a:pt x="44" y="2420"/>
                  </a:lnTo>
                  <a:lnTo>
                    <a:pt x="46" y="2426"/>
                  </a:lnTo>
                  <a:lnTo>
                    <a:pt x="44" y="2430"/>
                  </a:lnTo>
                  <a:lnTo>
                    <a:pt x="46" y="2434"/>
                  </a:lnTo>
                  <a:lnTo>
                    <a:pt x="50" y="2436"/>
                  </a:lnTo>
                  <a:lnTo>
                    <a:pt x="50" y="2436"/>
                  </a:lnTo>
                  <a:lnTo>
                    <a:pt x="58" y="2444"/>
                  </a:lnTo>
                  <a:lnTo>
                    <a:pt x="62" y="2450"/>
                  </a:lnTo>
                  <a:lnTo>
                    <a:pt x="66" y="2456"/>
                  </a:lnTo>
                  <a:lnTo>
                    <a:pt x="72" y="2464"/>
                  </a:lnTo>
                  <a:lnTo>
                    <a:pt x="72" y="2464"/>
                  </a:lnTo>
                  <a:lnTo>
                    <a:pt x="82" y="2470"/>
                  </a:lnTo>
                  <a:lnTo>
                    <a:pt x="92" y="2480"/>
                  </a:lnTo>
                  <a:lnTo>
                    <a:pt x="100" y="2492"/>
                  </a:lnTo>
                  <a:lnTo>
                    <a:pt x="108" y="2506"/>
                  </a:lnTo>
                  <a:lnTo>
                    <a:pt x="108" y="2506"/>
                  </a:lnTo>
                  <a:lnTo>
                    <a:pt x="112" y="2520"/>
                  </a:lnTo>
                  <a:lnTo>
                    <a:pt x="116" y="2530"/>
                  </a:lnTo>
                  <a:lnTo>
                    <a:pt x="122" y="2536"/>
                  </a:lnTo>
                  <a:lnTo>
                    <a:pt x="128" y="2540"/>
                  </a:lnTo>
                  <a:lnTo>
                    <a:pt x="128" y="2540"/>
                  </a:lnTo>
                  <a:lnTo>
                    <a:pt x="154" y="2558"/>
                  </a:lnTo>
                  <a:lnTo>
                    <a:pt x="186" y="2580"/>
                  </a:lnTo>
                  <a:lnTo>
                    <a:pt x="186" y="2580"/>
                  </a:lnTo>
                  <a:lnTo>
                    <a:pt x="220" y="2602"/>
                  </a:lnTo>
                  <a:lnTo>
                    <a:pt x="236" y="2612"/>
                  </a:lnTo>
                  <a:lnTo>
                    <a:pt x="250" y="2620"/>
                  </a:lnTo>
                  <a:lnTo>
                    <a:pt x="250" y="2620"/>
                  </a:lnTo>
                  <a:lnTo>
                    <a:pt x="256" y="2620"/>
                  </a:lnTo>
                  <a:lnTo>
                    <a:pt x="264" y="2620"/>
                  </a:lnTo>
                  <a:lnTo>
                    <a:pt x="284" y="2616"/>
                  </a:lnTo>
                  <a:lnTo>
                    <a:pt x="308" y="2608"/>
                  </a:lnTo>
                  <a:lnTo>
                    <a:pt x="336" y="2602"/>
                  </a:lnTo>
                  <a:lnTo>
                    <a:pt x="336" y="2602"/>
                  </a:lnTo>
                  <a:lnTo>
                    <a:pt x="352" y="2600"/>
                  </a:lnTo>
                  <a:lnTo>
                    <a:pt x="364" y="2602"/>
                  </a:lnTo>
                  <a:lnTo>
                    <a:pt x="386" y="2604"/>
                  </a:lnTo>
                  <a:lnTo>
                    <a:pt x="402" y="2610"/>
                  </a:lnTo>
                  <a:lnTo>
                    <a:pt x="410" y="2612"/>
                  </a:lnTo>
                  <a:lnTo>
                    <a:pt x="410" y="2612"/>
                  </a:lnTo>
                  <a:lnTo>
                    <a:pt x="418" y="2612"/>
                  </a:lnTo>
                  <a:lnTo>
                    <a:pt x="434" y="2606"/>
                  </a:lnTo>
                  <a:lnTo>
                    <a:pt x="462" y="2592"/>
                  </a:lnTo>
                  <a:lnTo>
                    <a:pt x="462" y="2592"/>
                  </a:lnTo>
                  <a:lnTo>
                    <a:pt x="484" y="2584"/>
                  </a:lnTo>
                  <a:lnTo>
                    <a:pt x="492" y="2580"/>
                  </a:lnTo>
                  <a:lnTo>
                    <a:pt x="500" y="2574"/>
                  </a:lnTo>
                  <a:lnTo>
                    <a:pt x="500" y="2574"/>
                  </a:lnTo>
                  <a:lnTo>
                    <a:pt x="508" y="2570"/>
                  </a:lnTo>
                  <a:lnTo>
                    <a:pt x="516" y="2568"/>
                  </a:lnTo>
                  <a:lnTo>
                    <a:pt x="534" y="2568"/>
                  </a:lnTo>
                  <a:lnTo>
                    <a:pt x="534" y="2568"/>
                  </a:lnTo>
                  <a:lnTo>
                    <a:pt x="540" y="2566"/>
                  </a:lnTo>
                  <a:lnTo>
                    <a:pt x="544" y="2562"/>
                  </a:lnTo>
                  <a:lnTo>
                    <a:pt x="548" y="2560"/>
                  </a:lnTo>
                  <a:lnTo>
                    <a:pt x="550" y="2560"/>
                  </a:lnTo>
                  <a:lnTo>
                    <a:pt x="552" y="2562"/>
                  </a:lnTo>
                  <a:lnTo>
                    <a:pt x="552" y="2562"/>
                  </a:lnTo>
                  <a:lnTo>
                    <a:pt x="558" y="2566"/>
                  </a:lnTo>
                  <a:lnTo>
                    <a:pt x="570" y="2568"/>
                  </a:lnTo>
                  <a:lnTo>
                    <a:pt x="594" y="2572"/>
                  </a:lnTo>
                  <a:lnTo>
                    <a:pt x="594" y="2572"/>
                  </a:lnTo>
                  <a:lnTo>
                    <a:pt x="602" y="2576"/>
                  </a:lnTo>
                  <a:lnTo>
                    <a:pt x="610" y="2584"/>
                  </a:lnTo>
                  <a:lnTo>
                    <a:pt x="616" y="2592"/>
                  </a:lnTo>
                  <a:lnTo>
                    <a:pt x="618" y="2600"/>
                  </a:lnTo>
                  <a:lnTo>
                    <a:pt x="618" y="2600"/>
                  </a:lnTo>
                  <a:lnTo>
                    <a:pt x="620" y="2606"/>
                  </a:lnTo>
                  <a:lnTo>
                    <a:pt x="624" y="2612"/>
                  </a:lnTo>
                  <a:lnTo>
                    <a:pt x="628" y="2620"/>
                  </a:lnTo>
                  <a:lnTo>
                    <a:pt x="634" y="2624"/>
                  </a:lnTo>
                  <a:lnTo>
                    <a:pt x="634" y="2624"/>
                  </a:lnTo>
                  <a:lnTo>
                    <a:pt x="640" y="2624"/>
                  </a:lnTo>
                  <a:lnTo>
                    <a:pt x="646" y="2622"/>
                  </a:lnTo>
                  <a:lnTo>
                    <a:pt x="654" y="2618"/>
                  </a:lnTo>
                  <a:lnTo>
                    <a:pt x="662" y="2618"/>
                  </a:lnTo>
                  <a:lnTo>
                    <a:pt x="662" y="2618"/>
                  </a:lnTo>
                  <a:lnTo>
                    <a:pt x="680" y="2616"/>
                  </a:lnTo>
                  <a:lnTo>
                    <a:pt x="690" y="2616"/>
                  </a:lnTo>
                  <a:lnTo>
                    <a:pt x="698" y="2612"/>
                  </a:lnTo>
                  <a:lnTo>
                    <a:pt x="698" y="2612"/>
                  </a:lnTo>
                  <a:lnTo>
                    <a:pt x="700" y="2612"/>
                  </a:lnTo>
                  <a:lnTo>
                    <a:pt x="702" y="2612"/>
                  </a:lnTo>
                  <a:lnTo>
                    <a:pt x="706" y="2616"/>
                  </a:lnTo>
                  <a:lnTo>
                    <a:pt x="714" y="2628"/>
                  </a:lnTo>
                  <a:lnTo>
                    <a:pt x="714" y="2628"/>
                  </a:lnTo>
                  <a:lnTo>
                    <a:pt x="718" y="2632"/>
                  </a:lnTo>
                  <a:lnTo>
                    <a:pt x="724" y="2632"/>
                  </a:lnTo>
                  <a:lnTo>
                    <a:pt x="730" y="2632"/>
                  </a:lnTo>
                  <a:lnTo>
                    <a:pt x="734" y="2632"/>
                  </a:lnTo>
                  <a:lnTo>
                    <a:pt x="734" y="2632"/>
                  </a:lnTo>
                  <a:lnTo>
                    <a:pt x="738" y="2636"/>
                  </a:lnTo>
                  <a:lnTo>
                    <a:pt x="740" y="2644"/>
                  </a:lnTo>
                  <a:lnTo>
                    <a:pt x="742" y="2652"/>
                  </a:lnTo>
                  <a:lnTo>
                    <a:pt x="742" y="2658"/>
                  </a:lnTo>
                  <a:lnTo>
                    <a:pt x="742" y="2658"/>
                  </a:lnTo>
                  <a:lnTo>
                    <a:pt x="738" y="2672"/>
                  </a:lnTo>
                  <a:lnTo>
                    <a:pt x="736" y="2678"/>
                  </a:lnTo>
                  <a:lnTo>
                    <a:pt x="736" y="2684"/>
                  </a:lnTo>
                  <a:lnTo>
                    <a:pt x="736" y="2684"/>
                  </a:lnTo>
                  <a:lnTo>
                    <a:pt x="738" y="2688"/>
                  </a:lnTo>
                  <a:lnTo>
                    <a:pt x="738" y="2694"/>
                  </a:lnTo>
                  <a:lnTo>
                    <a:pt x="736" y="2698"/>
                  </a:lnTo>
                  <a:lnTo>
                    <a:pt x="730" y="2702"/>
                  </a:lnTo>
                  <a:lnTo>
                    <a:pt x="730" y="2702"/>
                  </a:lnTo>
                  <a:lnTo>
                    <a:pt x="726" y="2704"/>
                  </a:lnTo>
                  <a:lnTo>
                    <a:pt x="724" y="2708"/>
                  </a:lnTo>
                  <a:lnTo>
                    <a:pt x="726" y="2712"/>
                  </a:lnTo>
                  <a:lnTo>
                    <a:pt x="730" y="2712"/>
                  </a:lnTo>
                  <a:lnTo>
                    <a:pt x="730" y="2712"/>
                  </a:lnTo>
                  <a:lnTo>
                    <a:pt x="732" y="2714"/>
                  </a:lnTo>
                  <a:lnTo>
                    <a:pt x="732" y="2718"/>
                  </a:lnTo>
                  <a:lnTo>
                    <a:pt x="726" y="2726"/>
                  </a:lnTo>
                  <a:lnTo>
                    <a:pt x="726" y="2726"/>
                  </a:lnTo>
                  <a:lnTo>
                    <a:pt x="724" y="2726"/>
                  </a:lnTo>
                  <a:lnTo>
                    <a:pt x="726" y="2728"/>
                  </a:lnTo>
                  <a:lnTo>
                    <a:pt x="728" y="2732"/>
                  </a:lnTo>
                  <a:lnTo>
                    <a:pt x="734" y="2736"/>
                  </a:lnTo>
                  <a:lnTo>
                    <a:pt x="736" y="2740"/>
                  </a:lnTo>
                  <a:lnTo>
                    <a:pt x="736" y="2740"/>
                  </a:lnTo>
                  <a:lnTo>
                    <a:pt x="736" y="2740"/>
                  </a:lnTo>
                  <a:lnTo>
                    <a:pt x="734" y="2742"/>
                  </a:lnTo>
                  <a:lnTo>
                    <a:pt x="730" y="2744"/>
                  </a:lnTo>
                  <a:lnTo>
                    <a:pt x="724" y="2746"/>
                  </a:lnTo>
                  <a:lnTo>
                    <a:pt x="722" y="2748"/>
                  </a:lnTo>
                  <a:lnTo>
                    <a:pt x="722" y="2750"/>
                  </a:lnTo>
                  <a:lnTo>
                    <a:pt x="722" y="2750"/>
                  </a:lnTo>
                  <a:lnTo>
                    <a:pt x="720" y="2756"/>
                  </a:lnTo>
                  <a:lnTo>
                    <a:pt x="718" y="2760"/>
                  </a:lnTo>
                  <a:lnTo>
                    <a:pt x="710" y="2768"/>
                  </a:lnTo>
                  <a:lnTo>
                    <a:pt x="710" y="2768"/>
                  </a:lnTo>
                  <a:lnTo>
                    <a:pt x="710" y="2770"/>
                  </a:lnTo>
                  <a:lnTo>
                    <a:pt x="710" y="2772"/>
                  </a:lnTo>
                  <a:lnTo>
                    <a:pt x="716" y="2780"/>
                  </a:lnTo>
                  <a:lnTo>
                    <a:pt x="720" y="2786"/>
                  </a:lnTo>
                  <a:lnTo>
                    <a:pt x="724" y="2792"/>
                  </a:lnTo>
                  <a:lnTo>
                    <a:pt x="724" y="2792"/>
                  </a:lnTo>
                  <a:lnTo>
                    <a:pt x="724" y="2796"/>
                  </a:lnTo>
                  <a:lnTo>
                    <a:pt x="728" y="2800"/>
                  </a:lnTo>
                  <a:lnTo>
                    <a:pt x="744" y="2816"/>
                  </a:lnTo>
                  <a:lnTo>
                    <a:pt x="744" y="2816"/>
                  </a:lnTo>
                  <a:lnTo>
                    <a:pt x="752" y="2826"/>
                  </a:lnTo>
                  <a:lnTo>
                    <a:pt x="756" y="2834"/>
                  </a:lnTo>
                  <a:lnTo>
                    <a:pt x="762" y="2842"/>
                  </a:lnTo>
                  <a:lnTo>
                    <a:pt x="774" y="2852"/>
                  </a:lnTo>
                  <a:lnTo>
                    <a:pt x="774" y="2852"/>
                  </a:lnTo>
                  <a:lnTo>
                    <a:pt x="782" y="2860"/>
                  </a:lnTo>
                  <a:lnTo>
                    <a:pt x="788" y="2866"/>
                  </a:lnTo>
                  <a:lnTo>
                    <a:pt x="796" y="2882"/>
                  </a:lnTo>
                  <a:lnTo>
                    <a:pt x="802" y="2898"/>
                  </a:lnTo>
                  <a:lnTo>
                    <a:pt x="806" y="2912"/>
                  </a:lnTo>
                  <a:lnTo>
                    <a:pt x="806" y="2912"/>
                  </a:lnTo>
                  <a:lnTo>
                    <a:pt x="812" y="2928"/>
                  </a:lnTo>
                  <a:lnTo>
                    <a:pt x="818" y="2946"/>
                  </a:lnTo>
                  <a:lnTo>
                    <a:pt x="830" y="2972"/>
                  </a:lnTo>
                  <a:lnTo>
                    <a:pt x="830" y="2972"/>
                  </a:lnTo>
                  <a:lnTo>
                    <a:pt x="832" y="2976"/>
                  </a:lnTo>
                  <a:lnTo>
                    <a:pt x="830" y="2984"/>
                  </a:lnTo>
                  <a:lnTo>
                    <a:pt x="828" y="2990"/>
                  </a:lnTo>
                  <a:lnTo>
                    <a:pt x="826" y="3000"/>
                  </a:lnTo>
                  <a:lnTo>
                    <a:pt x="826" y="3000"/>
                  </a:lnTo>
                  <a:lnTo>
                    <a:pt x="828" y="3012"/>
                  </a:lnTo>
                  <a:lnTo>
                    <a:pt x="834" y="3028"/>
                  </a:lnTo>
                  <a:lnTo>
                    <a:pt x="840" y="3042"/>
                  </a:lnTo>
                  <a:lnTo>
                    <a:pt x="844" y="3058"/>
                  </a:lnTo>
                  <a:lnTo>
                    <a:pt x="844" y="3058"/>
                  </a:lnTo>
                  <a:lnTo>
                    <a:pt x="842" y="3068"/>
                  </a:lnTo>
                  <a:lnTo>
                    <a:pt x="838" y="3080"/>
                  </a:lnTo>
                  <a:lnTo>
                    <a:pt x="832" y="3088"/>
                  </a:lnTo>
                  <a:lnTo>
                    <a:pt x="824" y="3096"/>
                  </a:lnTo>
                  <a:lnTo>
                    <a:pt x="824" y="3096"/>
                  </a:lnTo>
                  <a:lnTo>
                    <a:pt x="816" y="3108"/>
                  </a:lnTo>
                  <a:lnTo>
                    <a:pt x="810" y="3122"/>
                  </a:lnTo>
                  <a:lnTo>
                    <a:pt x="806" y="3136"/>
                  </a:lnTo>
                  <a:lnTo>
                    <a:pt x="804" y="3148"/>
                  </a:lnTo>
                  <a:lnTo>
                    <a:pt x="804" y="3148"/>
                  </a:lnTo>
                  <a:lnTo>
                    <a:pt x="802" y="3160"/>
                  </a:lnTo>
                  <a:lnTo>
                    <a:pt x="798" y="3172"/>
                  </a:lnTo>
                  <a:lnTo>
                    <a:pt x="792" y="3180"/>
                  </a:lnTo>
                  <a:lnTo>
                    <a:pt x="790" y="3188"/>
                  </a:lnTo>
                  <a:lnTo>
                    <a:pt x="790" y="3188"/>
                  </a:lnTo>
                  <a:lnTo>
                    <a:pt x="790" y="3206"/>
                  </a:lnTo>
                  <a:lnTo>
                    <a:pt x="786" y="3224"/>
                  </a:lnTo>
                  <a:lnTo>
                    <a:pt x="786" y="3224"/>
                  </a:lnTo>
                  <a:lnTo>
                    <a:pt x="786" y="3232"/>
                  </a:lnTo>
                  <a:lnTo>
                    <a:pt x="790" y="3240"/>
                  </a:lnTo>
                  <a:lnTo>
                    <a:pt x="796" y="3250"/>
                  </a:lnTo>
                  <a:lnTo>
                    <a:pt x="802" y="3260"/>
                  </a:lnTo>
                  <a:lnTo>
                    <a:pt x="802" y="3260"/>
                  </a:lnTo>
                  <a:lnTo>
                    <a:pt x="810" y="3272"/>
                  </a:lnTo>
                  <a:lnTo>
                    <a:pt x="816" y="3286"/>
                  </a:lnTo>
                  <a:lnTo>
                    <a:pt x="824" y="3300"/>
                  </a:lnTo>
                  <a:lnTo>
                    <a:pt x="828" y="3316"/>
                  </a:lnTo>
                  <a:lnTo>
                    <a:pt x="828" y="3316"/>
                  </a:lnTo>
                  <a:lnTo>
                    <a:pt x="834" y="3332"/>
                  </a:lnTo>
                  <a:lnTo>
                    <a:pt x="842" y="3346"/>
                  </a:lnTo>
                  <a:lnTo>
                    <a:pt x="850" y="3360"/>
                  </a:lnTo>
                  <a:lnTo>
                    <a:pt x="856" y="3372"/>
                  </a:lnTo>
                  <a:lnTo>
                    <a:pt x="856" y="3372"/>
                  </a:lnTo>
                  <a:lnTo>
                    <a:pt x="858" y="3386"/>
                  </a:lnTo>
                  <a:lnTo>
                    <a:pt x="856" y="3398"/>
                  </a:lnTo>
                  <a:lnTo>
                    <a:pt x="856" y="3410"/>
                  </a:lnTo>
                  <a:lnTo>
                    <a:pt x="858" y="3418"/>
                  </a:lnTo>
                  <a:lnTo>
                    <a:pt x="858" y="3418"/>
                  </a:lnTo>
                  <a:lnTo>
                    <a:pt x="864" y="3438"/>
                  </a:lnTo>
                  <a:lnTo>
                    <a:pt x="868" y="3462"/>
                  </a:lnTo>
                  <a:lnTo>
                    <a:pt x="868" y="3462"/>
                  </a:lnTo>
                  <a:lnTo>
                    <a:pt x="872" y="3496"/>
                  </a:lnTo>
                  <a:lnTo>
                    <a:pt x="876" y="3514"/>
                  </a:lnTo>
                  <a:lnTo>
                    <a:pt x="880" y="3522"/>
                  </a:lnTo>
                  <a:lnTo>
                    <a:pt x="886" y="3528"/>
                  </a:lnTo>
                  <a:lnTo>
                    <a:pt x="886" y="3528"/>
                  </a:lnTo>
                  <a:lnTo>
                    <a:pt x="896" y="3540"/>
                  </a:lnTo>
                  <a:lnTo>
                    <a:pt x="908" y="3558"/>
                  </a:lnTo>
                  <a:lnTo>
                    <a:pt x="916" y="3576"/>
                  </a:lnTo>
                  <a:lnTo>
                    <a:pt x="924" y="3592"/>
                  </a:lnTo>
                  <a:lnTo>
                    <a:pt x="924" y="3592"/>
                  </a:lnTo>
                  <a:lnTo>
                    <a:pt x="930" y="3608"/>
                  </a:lnTo>
                  <a:lnTo>
                    <a:pt x="938" y="3624"/>
                  </a:lnTo>
                  <a:lnTo>
                    <a:pt x="944" y="3636"/>
                  </a:lnTo>
                  <a:lnTo>
                    <a:pt x="950" y="3646"/>
                  </a:lnTo>
                  <a:lnTo>
                    <a:pt x="950" y="3646"/>
                  </a:lnTo>
                  <a:lnTo>
                    <a:pt x="954" y="3664"/>
                  </a:lnTo>
                  <a:lnTo>
                    <a:pt x="954" y="3670"/>
                  </a:lnTo>
                  <a:lnTo>
                    <a:pt x="952" y="3672"/>
                  </a:lnTo>
                  <a:lnTo>
                    <a:pt x="950" y="3672"/>
                  </a:lnTo>
                  <a:lnTo>
                    <a:pt x="950" y="3672"/>
                  </a:lnTo>
                  <a:lnTo>
                    <a:pt x="944" y="3674"/>
                  </a:lnTo>
                  <a:lnTo>
                    <a:pt x="942" y="3678"/>
                  </a:lnTo>
                  <a:lnTo>
                    <a:pt x="944" y="3686"/>
                  </a:lnTo>
                  <a:lnTo>
                    <a:pt x="950" y="3694"/>
                  </a:lnTo>
                  <a:lnTo>
                    <a:pt x="950" y="3694"/>
                  </a:lnTo>
                  <a:lnTo>
                    <a:pt x="954" y="3704"/>
                  </a:lnTo>
                  <a:lnTo>
                    <a:pt x="954" y="3710"/>
                  </a:lnTo>
                  <a:lnTo>
                    <a:pt x="956" y="3716"/>
                  </a:lnTo>
                  <a:lnTo>
                    <a:pt x="958" y="3718"/>
                  </a:lnTo>
                  <a:lnTo>
                    <a:pt x="958" y="3718"/>
                  </a:lnTo>
                  <a:lnTo>
                    <a:pt x="962" y="3720"/>
                  </a:lnTo>
                  <a:lnTo>
                    <a:pt x="964" y="3722"/>
                  </a:lnTo>
                  <a:lnTo>
                    <a:pt x="966" y="3724"/>
                  </a:lnTo>
                  <a:lnTo>
                    <a:pt x="970" y="3724"/>
                  </a:lnTo>
                  <a:lnTo>
                    <a:pt x="970" y="3724"/>
                  </a:lnTo>
                  <a:lnTo>
                    <a:pt x="974" y="3726"/>
                  </a:lnTo>
                  <a:lnTo>
                    <a:pt x="978" y="3728"/>
                  </a:lnTo>
                  <a:lnTo>
                    <a:pt x="984" y="3736"/>
                  </a:lnTo>
                  <a:lnTo>
                    <a:pt x="984" y="3736"/>
                  </a:lnTo>
                  <a:lnTo>
                    <a:pt x="988" y="3740"/>
                  </a:lnTo>
                  <a:lnTo>
                    <a:pt x="994" y="3740"/>
                  </a:lnTo>
                  <a:lnTo>
                    <a:pt x="998" y="3738"/>
                  </a:lnTo>
                  <a:lnTo>
                    <a:pt x="1002" y="3736"/>
                  </a:lnTo>
                  <a:lnTo>
                    <a:pt x="1002" y="3736"/>
                  </a:lnTo>
                  <a:lnTo>
                    <a:pt x="1008" y="3732"/>
                  </a:lnTo>
                  <a:lnTo>
                    <a:pt x="1014" y="3728"/>
                  </a:lnTo>
                  <a:lnTo>
                    <a:pt x="1034" y="3726"/>
                  </a:lnTo>
                  <a:lnTo>
                    <a:pt x="1034" y="3726"/>
                  </a:lnTo>
                  <a:lnTo>
                    <a:pt x="1042" y="3726"/>
                  </a:lnTo>
                  <a:lnTo>
                    <a:pt x="1046" y="3724"/>
                  </a:lnTo>
                  <a:lnTo>
                    <a:pt x="1052" y="3720"/>
                  </a:lnTo>
                  <a:lnTo>
                    <a:pt x="1060" y="3716"/>
                  </a:lnTo>
                  <a:lnTo>
                    <a:pt x="1060" y="3716"/>
                  </a:lnTo>
                  <a:lnTo>
                    <a:pt x="1070" y="3714"/>
                  </a:lnTo>
                  <a:lnTo>
                    <a:pt x="1082" y="3714"/>
                  </a:lnTo>
                  <a:lnTo>
                    <a:pt x="1092" y="3714"/>
                  </a:lnTo>
                  <a:lnTo>
                    <a:pt x="1102" y="3716"/>
                  </a:lnTo>
                  <a:lnTo>
                    <a:pt x="1102" y="3716"/>
                  </a:lnTo>
                  <a:lnTo>
                    <a:pt x="1110" y="3718"/>
                  </a:lnTo>
                  <a:lnTo>
                    <a:pt x="1116" y="3718"/>
                  </a:lnTo>
                  <a:lnTo>
                    <a:pt x="1122" y="3716"/>
                  </a:lnTo>
                  <a:lnTo>
                    <a:pt x="1128" y="3714"/>
                  </a:lnTo>
                  <a:lnTo>
                    <a:pt x="1128" y="3714"/>
                  </a:lnTo>
                  <a:lnTo>
                    <a:pt x="1132" y="3712"/>
                  </a:lnTo>
                  <a:lnTo>
                    <a:pt x="1138" y="3714"/>
                  </a:lnTo>
                  <a:lnTo>
                    <a:pt x="1142" y="3714"/>
                  </a:lnTo>
                  <a:lnTo>
                    <a:pt x="1144" y="3712"/>
                  </a:lnTo>
                  <a:lnTo>
                    <a:pt x="1144" y="3710"/>
                  </a:lnTo>
                  <a:lnTo>
                    <a:pt x="1144" y="3710"/>
                  </a:lnTo>
                  <a:lnTo>
                    <a:pt x="1146" y="3706"/>
                  </a:lnTo>
                  <a:lnTo>
                    <a:pt x="1148" y="3704"/>
                  </a:lnTo>
                  <a:lnTo>
                    <a:pt x="1152" y="3702"/>
                  </a:lnTo>
                  <a:lnTo>
                    <a:pt x="1168" y="3702"/>
                  </a:lnTo>
                  <a:lnTo>
                    <a:pt x="1168" y="3702"/>
                  </a:lnTo>
                  <a:lnTo>
                    <a:pt x="1178" y="3698"/>
                  </a:lnTo>
                  <a:lnTo>
                    <a:pt x="1192" y="3692"/>
                  </a:lnTo>
                  <a:lnTo>
                    <a:pt x="1208" y="3680"/>
                  </a:lnTo>
                  <a:lnTo>
                    <a:pt x="1224" y="3666"/>
                  </a:lnTo>
                  <a:lnTo>
                    <a:pt x="1224" y="3666"/>
                  </a:lnTo>
                  <a:lnTo>
                    <a:pt x="1240" y="3648"/>
                  </a:lnTo>
                  <a:lnTo>
                    <a:pt x="1260" y="3626"/>
                  </a:lnTo>
                  <a:lnTo>
                    <a:pt x="1276" y="3604"/>
                  </a:lnTo>
                  <a:lnTo>
                    <a:pt x="1288" y="3586"/>
                  </a:lnTo>
                  <a:lnTo>
                    <a:pt x="1288" y="3586"/>
                  </a:lnTo>
                  <a:lnTo>
                    <a:pt x="1298" y="3574"/>
                  </a:lnTo>
                  <a:lnTo>
                    <a:pt x="1308" y="3562"/>
                  </a:lnTo>
                  <a:lnTo>
                    <a:pt x="1328" y="3544"/>
                  </a:lnTo>
                  <a:lnTo>
                    <a:pt x="1328" y="3544"/>
                  </a:lnTo>
                  <a:lnTo>
                    <a:pt x="1330" y="3538"/>
                  </a:lnTo>
                  <a:lnTo>
                    <a:pt x="1334" y="3532"/>
                  </a:lnTo>
                  <a:lnTo>
                    <a:pt x="1338" y="3516"/>
                  </a:lnTo>
                  <a:lnTo>
                    <a:pt x="1342" y="3484"/>
                  </a:lnTo>
                  <a:lnTo>
                    <a:pt x="1342" y="3484"/>
                  </a:lnTo>
                  <a:lnTo>
                    <a:pt x="1340" y="3480"/>
                  </a:lnTo>
                  <a:lnTo>
                    <a:pt x="1338" y="3478"/>
                  </a:lnTo>
                  <a:lnTo>
                    <a:pt x="1334" y="3478"/>
                  </a:lnTo>
                  <a:lnTo>
                    <a:pt x="1332" y="3476"/>
                  </a:lnTo>
                  <a:lnTo>
                    <a:pt x="1330" y="3474"/>
                  </a:lnTo>
                  <a:lnTo>
                    <a:pt x="1330" y="3474"/>
                  </a:lnTo>
                  <a:lnTo>
                    <a:pt x="1330" y="3472"/>
                  </a:lnTo>
                  <a:lnTo>
                    <a:pt x="1332" y="3468"/>
                  </a:lnTo>
                  <a:lnTo>
                    <a:pt x="1342" y="3458"/>
                  </a:lnTo>
                  <a:lnTo>
                    <a:pt x="1356" y="3450"/>
                  </a:lnTo>
                  <a:lnTo>
                    <a:pt x="1374" y="3444"/>
                  </a:lnTo>
                  <a:lnTo>
                    <a:pt x="1374" y="3444"/>
                  </a:lnTo>
                  <a:lnTo>
                    <a:pt x="1388" y="3438"/>
                  </a:lnTo>
                  <a:lnTo>
                    <a:pt x="1398" y="3432"/>
                  </a:lnTo>
                  <a:lnTo>
                    <a:pt x="1404" y="3428"/>
                  </a:lnTo>
                  <a:lnTo>
                    <a:pt x="1408" y="3422"/>
                  </a:lnTo>
                  <a:lnTo>
                    <a:pt x="1408" y="3422"/>
                  </a:lnTo>
                  <a:lnTo>
                    <a:pt x="1408" y="3414"/>
                  </a:lnTo>
                  <a:lnTo>
                    <a:pt x="1408" y="3402"/>
                  </a:lnTo>
                  <a:lnTo>
                    <a:pt x="1408" y="3390"/>
                  </a:lnTo>
                  <a:lnTo>
                    <a:pt x="1410" y="3382"/>
                  </a:lnTo>
                  <a:lnTo>
                    <a:pt x="1410" y="3382"/>
                  </a:lnTo>
                  <a:lnTo>
                    <a:pt x="1412" y="3376"/>
                  </a:lnTo>
                  <a:lnTo>
                    <a:pt x="1410" y="3370"/>
                  </a:lnTo>
                  <a:lnTo>
                    <a:pt x="1406" y="3348"/>
                  </a:lnTo>
                  <a:lnTo>
                    <a:pt x="1406" y="3348"/>
                  </a:lnTo>
                  <a:lnTo>
                    <a:pt x="1402" y="3336"/>
                  </a:lnTo>
                  <a:lnTo>
                    <a:pt x="1398" y="3328"/>
                  </a:lnTo>
                  <a:lnTo>
                    <a:pt x="1396" y="3320"/>
                  </a:lnTo>
                  <a:lnTo>
                    <a:pt x="1392" y="3314"/>
                  </a:lnTo>
                  <a:lnTo>
                    <a:pt x="1392" y="3314"/>
                  </a:lnTo>
                  <a:lnTo>
                    <a:pt x="1390" y="3306"/>
                  </a:lnTo>
                  <a:lnTo>
                    <a:pt x="1390" y="3298"/>
                  </a:lnTo>
                  <a:lnTo>
                    <a:pt x="1392" y="3294"/>
                  </a:lnTo>
                  <a:lnTo>
                    <a:pt x="1396" y="3292"/>
                  </a:lnTo>
                  <a:lnTo>
                    <a:pt x="1396" y="3292"/>
                  </a:lnTo>
                  <a:lnTo>
                    <a:pt x="1400" y="3292"/>
                  </a:lnTo>
                  <a:lnTo>
                    <a:pt x="1404" y="3290"/>
                  </a:lnTo>
                  <a:lnTo>
                    <a:pt x="1410" y="3278"/>
                  </a:lnTo>
                  <a:lnTo>
                    <a:pt x="1410" y="3278"/>
                  </a:lnTo>
                  <a:lnTo>
                    <a:pt x="1414" y="3272"/>
                  </a:lnTo>
                  <a:lnTo>
                    <a:pt x="1418" y="3270"/>
                  </a:lnTo>
                  <a:lnTo>
                    <a:pt x="1424" y="3268"/>
                  </a:lnTo>
                  <a:lnTo>
                    <a:pt x="1432" y="3264"/>
                  </a:lnTo>
                  <a:lnTo>
                    <a:pt x="1432" y="3264"/>
                  </a:lnTo>
                  <a:lnTo>
                    <a:pt x="1438" y="3258"/>
                  </a:lnTo>
                  <a:lnTo>
                    <a:pt x="1444" y="3250"/>
                  </a:lnTo>
                  <a:lnTo>
                    <a:pt x="1450" y="3242"/>
                  </a:lnTo>
                  <a:lnTo>
                    <a:pt x="1460" y="3232"/>
                  </a:lnTo>
                  <a:lnTo>
                    <a:pt x="1460" y="3232"/>
                  </a:lnTo>
                  <a:lnTo>
                    <a:pt x="1474" y="3224"/>
                  </a:lnTo>
                  <a:lnTo>
                    <a:pt x="1488" y="3220"/>
                  </a:lnTo>
                  <a:lnTo>
                    <a:pt x="1500" y="3216"/>
                  </a:lnTo>
                  <a:lnTo>
                    <a:pt x="1514" y="3210"/>
                  </a:lnTo>
                  <a:lnTo>
                    <a:pt x="1514" y="3210"/>
                  </a:lnTo>
                  <a:lnTo>
                    <a:pt x="1520" y="3204"/>
                  </a:lnTo>
                  <a:lnTo>
                    <a:pt x="1528" y="3198"/>
                  </a:lnTo>
                  <a:lnTo>
                    <a:pt x="1542" y="3180"/>
                  </a:lnTo>
                  <a:lnTo>
                    <a:pt x="1554" y="3164"/>
                  </a:lnTo>
                  <a:lnTo>
                    <a:pt x="1556" y="3156"/>
                  </a:lnTo>
                  <a:lnTo>
                    <a:pt x="1556" y="3152"/>
                  </a:lnTo>
                  <a:lnTo>
                    <a:pt x="1556" y="3152"/>
                  </a:lnTo>
                  <a:lnTo>
                    <a:pt x="1552" y="3128"/>
                  </a:lnTo>
                  <a:lnTo>
                    <a:pt x="1550" y="3112"/>
                  </a:lnTo>
                  <a:lnTo>
                    <a:pt x="1550" y="3100"/>
                  </a:lnTo>
                  <a:lnTo>
                    <a:pt x="1550" y="3100"/>
                  </a:lnTo>
                  <a:lnTo>
                    <a:pt x="1550" y="3086"/>
                  </a:lnTo>
                  <a:lnTo>
                    <a:pt x="1550" y="3068"/>
                  </a:lnTo>
                  <a:lnTo>
                    <a:pt x="1548" y="3034"/>
                  </a:lnTo>
                  <a:lnTo>
                    <a:pt x="1548" y="3034"/>
                  </a:lnTo>
                  <a:lnTo>
                    <a:pt x="1546" y="3028"/>
                  </a:lnTo>
                  <a:lnTo>
                    <a:pt x="1544" y="3026"/>
                  </a:lnTo>
                  <a:lnTo>
                    <a:pt x="1538" y="3022"/>
                  </a:lnTo>
                  <a:lnTo>
                    <a:pt x="1532" y="3016"/>
                  </a:lnTo>
                  <a:lnTo>
                    <a:pt x="1530" y="3014"/>
                  </a:lnTo>
                  <a:lnTo>
                    <a:pt x="1528" y="3008"/>
                  </a:lnTo>
                  <a:lnTo>
                    <a:pt x="1528" y="3008"/>
                  </a:lnTo>
                  <a:lnTo>
                    <a:pt x="1526" y="2998"/>
                  </a:lnTo>
                  <a:lnTo>
                    <a:pt x="1522" y="2992"/>
                  </a:lnTo>
                  <a:lnTo>
                    <a:pt x="1520" y="2988"/>
                  </a:lnTo>
                  <a:lnTo>
                    <a:pt x="1518" y="2980"/>
                  </a:lnTo>
                  <a:lnTo>
                    <a:pt x="1518" y="2980"/>
                  </a:lnTo>
                  <a:lnTo>
                    <a:pt x="1518" y="2966"/>
                  </a:lnTo>
                  <a:lnTo>
                    <a:pt x="1518" y="2960"/>
                  </a:lnTo>
                  <a:lnTo>
                    <a:pt x="1516" y="2958"/>
                  </a:lnTo>
                  <a:lnTo>
                    <a:pt x="1516" y="2958"/>
                  </a:lnTo>
                  <a:lnTo>
                    <a:pt x="1514" y="2956"/>
                  </a:lnTo>
                  <a:lnTo>
                    <a:pt x="1514" y="2950"/>
                  </a:lnTo>
                  <a:lnTo>
                    <a:pt x="1516" y="2944"/>
                  </a:lnTo>
                  <a:lnTo>
                    <a:pt x="1520" y="2938"/>
                  </a:lnTo>
                  <a:lnTo>
                    <a:pt x="1520" y="2938"/>
                  </a:lnTo>
                  <a:lnTo>
                    <a:pt x="1522" y="2934"/>
                  </a:lnTo>
                  <a:lnTo>
                    <a:pt x="1522" y="2932"/>
                  </a:lnTo>
                  <a:lnTo>
                    <a:pt x="1516" y="2926"/>
                  </a:lnTo>
                  <a:lnTo>
                    <a:pt x="1510" y="2922"/>
                  </a:lnTo>
                  <a:lnTo>
                    <a:pt x="1508" y="2918"/>
                  </a:lnTo>
                  <a:lnTo>
                    <a:pt x="1506" y="2914"/>
                  </a:lnTo>
                  <a:lnTo>
                    <a:pt x="1506" y="2914"/>
                  </a:lnTo>
                  <a:lnTo>
                    <a:pt x="1506" y="2906"/>
                  </a:lnTo>
                  <a:lnTo>
                    <a:pt x="1510" y="2894"/>
                  </a:lnTo>
                  <a:lnTo>
                    <a:pt x="1522" y="2862"/>
                  </a:lnTo>
                  <a:lnTo>
                    <a:pt x="1536" y="2832"/>
                  </a:lnTo>
                  <a:lnTo>
                    <a:pt x="1544" y="2814"/>
                  </a:lnTo>
                  <a:lnTo>
                    <a:pt x="1544" y="2814"/>
                  </a:lnTo>
                  <a:lnTo>
                    <a:pt x="1548" y="2808"/>
                  </a:lnTo>
                  <a:lnTo>
                    <a:pt x="1554" y="2806"/>
                  </a:lnTo>
                  <a:lnTo>
                    <a:pt x="1558" y="2804"/>
                  </a:lnTo>
                  <a:lnTo>
                    <a:pt x="1562" y="2800"/>
                  </a:lnTo>
                  <a:lnTo>
                    <a:pt x="1562" y="2800"/>
                  </a:lnTo>
                  <a:lnTo>
                    <a:pt x="1566" y="2798"/>
                  </a:lnTo>
                  <a:lnTo>
                    <a:pt x="1568" y="2798"/>
                  </a:lnTo>
                  <a:lnTo>
                    <a:pt x="1572" y="2796"/>
                  </a:lnTo>
                  <a:lnTo>
                    <a:pt x="1576" y="2790"/>
                  </a:lnTo>
                  <a:lnTo>
                    <a:pt x="1576" y="2790"/>
                  </a:lnTo>
                  <a:lnTo>
                    <a:pt x="1586" y="2778"/>
                  </a:lnTo>
                  <a:lnTo>
                    <a:pt x="1602" y="2760"/>
                  </a:lnTo>
                  <a:lnTo>
                    <a:pt x="1640" y="2722"/>
                  </a:lnTo>
                  <a:lnTo>
                    <a:pt x="1640" y="2722"/>
                  </a:lnTo>
                  <a:lnTo>
                    <a:pt x="1654" y="2708"/>
                  </a:lnTo>
                  <a:lnTo>
                    <a:pt x="1668" y="2698"/>
                  </a:lnTo>
                  <a:lnTo>
                    <a:pt x="1678" y="2692"/>
                  </a:lnTo>
                  <a:lnTo>
                    <a:pt x="1688" y="2686"/>
                  </a:lnTo>
                  <a:lnTo>
                    <a:pt x="1688" y="2686"/>
                  </a:lnTo>
                  <a:lnTo>
                    <a:pt x="1700" y="2678"/>
                  </a:lnTo>
                  <a:lnTo>
                    <a:pt x="1718" y="2662"/>
                  </a:lnTo>
                  <a:lnTo>
                    <a:pt x="1736" y="2642"/>
                  </a:lnTo>
                  <a:lnTo>
                    <a:pt x="1754" y="2620"/>
                  </a:lnTo>
                  <a:lnTo>
                    <a:pt x="1754" y="2620"/>
                  </a:lnTo>
                  <a:lnTo>
                    <a:pt x="1774" y="2592"/>
                  </a:lnTo>
                  <a:lnTo>
                    <a:pt x="1782" y="2580"/>
                  </a:lnTo>
                  <a:lnTo>
                    <a:pt x="1786" y="2570"/>
                  </a:lnTo>
                  <a:lnTo>
                    <a:pt x="1786" y="2570"/>
                  </a:lnTo>
                  <a:lnTo>
                    <a:pt x="1790" y="2560"/>
                  </a:lnTo>
                  <a:lnTo>
                    <a:pt x="1796" y="2548"/>
                  </a:lnTo>
                  <a:lnTo>
                    <a:pt x="1810" y="2528"/>
                  </a:lnTo>
                  <a:lnTo>
                    <a:pt x="1810" y="2528"/>
                  </a:lnTo>
                  <a:lnTo>
                    <a:pt x="1818" y="2514"/>
                  </a:lnTo>
                  <a:lnTo>
                    <a:pt x="1828" y="2500"/>
                  </a:lnTo>
                  <a:lnTo>
                    <a:pt x="1834" y="2484"/>
                  </a:lnTo>
                  <a:lnTo>
                    <a:pt x="1836" y="2474"/>
                  </a:lnTo>
                  <a:lnTo>
                    <a:pt x="1836" y="2474"/>
                  </a:lnTo>
                  <a:lnTo>
                    <a:pt x="1838" y="2464"/>
                  </a:lnTo>
                  <a:lnTo>
                    <a:pt x="1840" y="2452"/>
                  </a:lnTo>
                  <a:lnTo>
                    <a:pt x="1844" y="2438"/>
                  </a:lnTo>
                  <a:lnTo>
                    <a:pt x="1846" y="2426"/>
                  </a:lnTo>
                  <a:lnTo>
                    <a:pt x="1846" y="2426"/>
                  </a:lnTo>
                  <a:lnTo>
                    <a:pt x="1846" y="2420"/>
                  </a:lnTo>
                  <a:lnTo>
                    <a:pt x="1844" y="2416"/>
                  </a:lnTo>
                  <a:lnTo>
                    <a:pt x="1842" y="2412"/>
                  </a:lnTo>
                  <a:lnTo>
                    <a:pt x="1838" y="2410"/>
                  </a:lnTo>
                  <a:lnTo>
                    <a:pt x="1836" y="2410"/>
                  </a:lnTo>
                  <a:lnTo>
                    <a:pt x="1832" y="2412"/>
                  </a:lnTo>
                  <a:lnTo>
                    <a:pt x="1830" y="2414"/>
                  </a:lnTo>
                  <a:lnTo>
                    <a:pt x="1828" y="2416"/>
                  </a:lnTo>
                  <a:lnTo>
                    <a:pt x="1828" y="2416"/>
                  </a:lnTo>
                  <a:lnTo>
                    <a:pt x="1824" y="2420"/>
                  </a:lnTo>
                  <a:lnTo>
                    <a:pt x="1820" y="2422"/>
                  </a:lnTo>
                  <a:lnTo>
                    <a:pt x="1804" y="2428"/>
                  </a:lnTo>
                  <a:lnTo>
                    <a:pt x="1784" y="2432"/>
                  </a:lnTo>
                  <a:lnTo>
                    <a:pt x="1766" y="2432"/>
                  </a:lnTo>
                  <a:lnTo>
                    <a:pt x="1766" y="2432"/>
                  </a:lnTo>
                  <a:lnTo>
                    <a:pt x="1752" y="2434"/>
                  </a:lnTo>
                  <a:lnTo>
                    <a:pt x="1740" y="2436"/>
                  </a:lnTo>
                  <a:lnTo>
                    <a:pt x="1730" y="2438"/>
                  </a:lnTo>
                  <a:lnTo>
                    <a:pt x="1722" y="2442"/>
                  </a:lnTo>
                  <a:lnTo>
                    <a:pt x="1722" y="2442"/>
                  </a:lnTo>
                  <a:lnTo>
                    <a:pt x="1720" y="2446"/>
                  </a:lnTo>
                  <a:lnTo>
                    <a:pt x="1716" y="2446"/>
                  </a:lnTo>
                  <a:lnTo>
                    <a:pt x="1704" y="2446"/>
                  </a:lnTo>
                  <a:lnTo>
                    <a:pt x="1694" y="2446"/>
                  </a:lnTo>
                  <a:lnTo>
                    <a:pt x="1690" y="2446"/>
                  </a:lnTo>
                  <a:lnTo>
                    <a:pt x="1688" y="2450"/>
                  </a:lnTo>
                  <a:lnTo>
                    <a:pt x="1688" y="2450"/>
                  </a:lnTo>
                  <a:lnTo>
                    <a:pt x="1678" y="2456"/>
                  </a:lnTo>
                  <a:lnTo>
                    <a:pt x="1666" y="2458"/>
                  </a:lnTo>
                  <a:lnTo>
                    <a:pt x="1658" y="2458"/>
                  </a:lnTo>
                  <a:lnTo>
                    <a:pt x="1652" y="2456"/>
                  </a:lnTo>
                  <a:lnTo>
                    <a:pt x="1646" y="2452"/>
                  </a:lnTo>
                  <a:lnTo>
                    <a:pt x="1642" y="2446"/>
                  </a:lnTo>
                  <a:lnTo>
                    <a:pt x="1642" y="2446"/>
                  </a:lnTo>
                  <a:lnTo>
                    <a:pt x="1638" y="2440"/>
                  </a:lnTo>
                  <a:lnTo>
                    <a:pt x="1634" y="2434"/>
                  </a:lnTo>
                  <a:lnTo>
                    <a:pt x="1626" y="2428"/>
                  </a:lnTo>
                  <a:lnTo>
                    <a:pt x="1614" y="2424"/>
                  </a:lnTo>
                  <a:lnTo>
                    <a:pt x="1614" y="2424"/>
                  </a:lnTo>
                  <a:lnTo>
                    <a:pt x="1614" y="2422"/>
                  </a:lnTo>
                  <a:lnTo>
                    <a:pt x="1618" y="2418"/>
                  </a:lnTo>
                  <a:lnTo>
                    <a:pt x="1624" y="2414"/>
                  </a:lnTo>
                  <a:lnTo>
                    <a:pt x="1630" y="2412"/>
                  </a:lnTo>
                  <a:lnTo>
                    <a:pt x="1630" y="2412"/>
                  </a:lnTo>
                  <a:lnTo>
                    <a:pt x="1634" y="2410"/>
                  </a:lnTo>
                  <a:lnTo>
                    <a:pt x="1634" y="2404"/>
                  </a:lnTo>
                  <a:lnTo>
                    <a:pt x="1632" y="2400"/>
                  </a:lnTo>
                  <a:lnTo>
                    <a:pt x="1628" y="2396"/>
                  </a:lnTo>
                  <a:lnTo>
                    <a:pt x="1628" y="2396"/>
                  </a:lnTo>
                  <a:lnTo>
                    <a:pt x="1614" y="2382"/>
                  </a:lnTo>
                  <a:lnTo>
                    <a:pt x="1594" y="2360"/>
                  </a:lnTo>
                  <a:lnTo>
                    <a:pt x="1594" y="2360"/>
                  </a:lnTo>
                  <a:lnTo>
                    <a:pt x="1582" y="2346"/>
                  </a:lnTo>
                  <a:lnTo>
                    <a:pt x="1570" y="2338"/>
                  </a:lnTo>
                  <a:lnTo>
                    <a:pt x="1560" y="2332"/>
                  </a:lnTo>
                  <a:lnTo>
                    <a:pt x="1552" y="2330"/>
                  </a:lnTo>
                  <a:lnTo>
                    <a:pt x="1552" y="2330"/>
                  </a:lnTo>
                  <a:lnTo>
                    <a:pt x="1548" y="2330"/>
                  </a:lnTo>
                  <a:lnTo>
                    <a:pt x="1546" y="2328"/>
                  </a:lnTo>
                  <a:lnTo>
                    <a:pt x="1542" y="2322"/>
                  </a:lnTo>
                  <a:lnTo>
                    <a:pt x="1538" y="2316"/>
                  </a:lnTo>
                  <a:lnTo>
                    <a:pt x="1534" y="2312"/>
                  </a:lnTo>
                  <a:lnTo>
                    <a:pt x="1534" y="2312"/>
                  </a:lnTo>
                  <a:lnTo>
                    <a:pt x="1528" y="2308"/>
                  </a:lnTo>
                  <a:lnTo>
                    <a:pt x="1522" y="2298"/>
                  </a:lnTo>
                  <a:lnTo>
                    <a:pt x="1516" y="2286"/>
                  </a:lnTo>
                  <a:lnTo>
                    <a:pt x="1514" y="2272"/>
                  </a:lnTo>
                  <a:lnTo>
                    <a:pt x="1514" y="2272"/>
                  </a:lnTo>
                  <a:lnTo>
                    <a:pt x="1512" y="2266"/>
                  </a:lnTo>
                  <a:lnTo>
                    <a:pt x="1510" y="2260"/>
                  </a:lnTo>
                  <a:lnTo>
                    <a:pt x="1502" y="2246"/>
                  </a:lnTo>
                  <a:lnTo>
                    <a:pt x="1490" y="2234"/>
                  </a:lnTo>
                  <a:lnTo>
                    <a:pt x="1482" y="2226"/>
                  </a:lnTo>
                  <a:lnTo>
                    <a:pt x="1482" y="2226"/>
                  </a:lnTo>
                  <a:lnTo>
                    <a:pt x="1474" y="2222"/>
                  </a:lnTo>
                  <a:lnTo>
                    <a:pt x="1470" y="2212"/>
                  </a:lnTo>
                  <a:lnTo>
                    <a:pt x="1466" y="2198"/>
                  </a:lnTo>
                  <a:lnTo>
                    <a:pt x="1466" y="2184"/>
                  </a:lnTo>
                  <a:lnTo>
                    <a:pt x="1466" y="2184"/>
                  </a:lnTo>
                  <a:lnTo>
                    <a:pt x="1464" y="2168"/>
                  </a:lnTo>
                  <a:lnTo>
                    <a:pt x="1462" y="2156"/>
                  </a:lnTo>
                  <a:lnTo>
                    <a:pt x="1460" y="2138"/>
                  </a:lnTo>
                  <a:lnTo>
                    <a:pt x="1460" y="2138"/>
                  </a:lnTo>
                  <a:lnTo>
                    <a:pt x="1458" y="2132"/>
                  </a:lnTo>
                  <a:lnTo>
                    <a:pt x="1452" y="2124"/>
                  </a:lnTo>
                  <a:lnTo>
                    <a:pt x="1444" y="2116"/>
                  </a:lnTo>
                  <a:lnTo>
                    <a:pt x="1436" y="2110"/>
                  </a:lnTo>
                  <a:lnTo>
                    <a:pt x="1436" y="2110"/>
                  </a:lnTo>
                  <a:lnTo>
                    <a:pt x="1428" y="2104"/>
                  </a:lnTo>
                  <a:lnTo>
                    <a:pt x="1422" y="2098"/>
                  </a:lnTo>
                  <a:lnTo>
                    <a:pt x="1420" y="2088"/>
                  </a:lnTo>
                  <a:lnTo>
                    <a:pt x="1420" y="2080"/>
                  </a:lnTo>
                  <a:lnTo>
                    <a:pt x="1420" y="2080"/>
                  </a:lnTo>
                  <a:lnTo>
                    <a:pt x="1420" y="2072"/>
                  </a:lnTo>
                  <a:lnTo>
                    <a:pt x="1416" y="2066"/>
                  </a:lnTo>
                  <a:lnTo>
                    <a:pt x="1412" y="2060"/>
                  </a:lnTo>
                  <a:lnTo>
                    <a:pt x="1408" y="2048"/>
                  </a:lnTo>
                  <a:lnTo>
                    <a:pt x="1408" y="2048"/>
                  </a:lnTo>
                  <a:lnTo>
                    <a:pt x="1402" y="2034"/>
                  </a:lnTo>
                  <a:lnTo>
                    <a:pt x="1392" y="2018"/>
                  </a:lnTo>
                  <a:lnTo>
                    <a:pt x="1382" y="2004"/>
                  </a:lnTo>
                  <a:lnTo>
                    <a:pt x="1378" y="1994"/>
                  </a:lnTo>
                  <a:lnTo>
                    <a:pt x="1378" y="1994"/>
                  </a:lnTo>
                  <a:lnTo>
                    <a:pt x="1376" y="1986"/>
                  </a:lnTo>
                  <a:lnTo>
                    <a:pt x="1372" y="1980"/>
                  </a:lnTo>
                  <a:lnTo>
                    <a:pt x="1368" y="1974"/>
                  </a:lnTo>
                  <a:lnTo>
                    <a:pt x="1366" y="1966"/>
                  </a:lnTo>
                  <a:lnTo>
                    <a:pt x="1366" y="1966"/>
                  </a:lnTo>
                  <a:lnTo>
                    <a:pt x="1364" y="1958"/>
                  </a:lnTo>
                  <a:lnTo>
                    <a:pt x="1362" y="1952"/>
                  </a:lnTo>
                  <a:lnTo>
                    <a:pt x="1348" y="1936"/>
                  </a:lnTo>
                  <a:lnTo>
                    <a:pt x="1348" y="1936"/>
                  </a:lnTo>
                  <a:lnTo>
                    <a:pt x="1340" y="1920"/>
                  </a:lnTo>
                  <a:lnTo>
                    <a:pt x="1336" y="1904"/>
                  </a:lnTo>
                  <a:lnTo>
                    <a:pt x="1334" y="1892"/>
                  </a:lnTo>
                  <a:lnTo>
                    <a:pt x="1334" y="1888"/>
                  </a:lnTo>
                  <a:lnTo>
                    <a:pt x="1334" y="1886"/>
                  </a:lnTo>
                  <a:lnTo>
                    <a:pt x="1334" y="1886"/>
                  </a:lnTo>
                  <a:lnTo>
                    <a:pt x="1336" y="1886"/>
                  </a:lnTo>
                  <a:lnTo>
                    <a:pt x="1338" y="1890"/>
                  </a:lnTo>
                  <a:lnTo>
                    <a:pt x="1344" y="1900"/>
                  </a:lnTo>
                  <a:lnTo>
                    <a:pt x="1354" y="1920"/>
                  </a:lnTo>
                  <a:lnTo>
                    <a:pt x="1354" y="1920"/>
                  </a:lnTo>
                  <a:lnTo>
                    <a:pt x="1364" y="1942"/>
                  </a:lnTo>
                  <a:lnTo>
                    <a:pt x="1372" y="1952"/>
                  </a:lnTo>
                  <a:lnTo>
                    <a:pt x="1376" y="1956"/>
                  </a:lnTo>
                  <a:lnTo>
                    <a:pt x="1380" y="1956"/>
                  </a:lnTo>
                  <a:lnTo>
                    <a:pt x="1380" y="1956"/>
                  </a:lnTo>
                  <a:lnTo>
                    <a:pt x="1384" y="1954"/>
                  </a:lnTo>
                  <a:lnTo>
                    <a:pt x="1386" y="1950"/>
                  </a:lnTo>
                  <a:lnTo>
                    <a:pt x="1392" y="1936"/>
                  </a:lnTo>
                  <a:lnTo>
                    <a:pt x="1394" y="1922"/>
                  </a:lnTo>
                  <a:lnTo>
                    <a:pt x="1396" y="1918"/>
                  </a:lnTo>
                  <a:lnTo>
                    <a:pt x="1396" y="1918"/>
                  </a:lnTo>
                  <a:lnTo>
                    <a:pt x="1396" y="1918"/>
                  </a:lnTo>
                  <a:lnTo>
                    <a:pt x="1398" y="1924"/>
                  </a:lnTo>
                  <a:lnTo>
                    <a:pt x="1398" y="1934"/>
                  </a:lnTo>
                  <a:lnTo>
                    <a:pt x="1400" y="1944"/>
                  </a:lnTo>
                  <a:lnTo>
                    <a:pt x="1400" y="1948"/>
                  </a:lnTo>
                  <a:lnTo>
                    <a:pt x="1402" y="1950"/>
                  </a:lnTo>
                  <a:lnTo>
                    <a:pt x="1402" y="1950"/>
                  </a:lnTo>
                  <a:lnTo>
                    <a:pt x="1406" y="1952"/>
                  </a:lnTo>
                  <a:lnTo>
                    <a:pt x="1410" y="1958"/>
                  </a:lnTo>
                  <a:lnTo>
                    <a:pt x="1416" y="1966"/>
                  </a:lnTo>
                  <a:lnTo>
                    <a:pt x="1424" y="1976"/>
                  </a:lnTo>
                  <a:lnTo>
                    <a:pt x="1424" y="1976"/>
                  </a:lnTo>
                  <a:lnTo>
                    <a:pt x="1436" y="1990"/>
                  </a:lnTo>
                  <a:lnTo>
                    <a:pt x="1448" y="2010"/>
                  </a:lnTo>
                  <a:lnTo>
                    <a:pt x="1460" y="2026"/>
                  </a:lnTo>
                  <a:lnTo>
                    <a:pt x="1464" y="2038"/>
                  </a:lnTo>
                  <a:lnTo>
                    <a:pt x="1464" y="2038"/>
                  </a:lnTo>
                  <a:lnTo>
                    <a:pt x="1466" y="2046"/>
                  </a:lnTo>
                  <a:lnTo>
                    <a:pt x="1468" y="2052"/>
                  </a:lnTo>
                  <a:lnTo>
                    <a:pt x="1474" y="2060"/>
                  </a:lnTo>
                  <a:lnTo>
                    <a:pt x="1484" y="2068"/>
                  </a:lnTo>
                  <a:lnTo>
                    <a:pt x="1484" y="2068"/>
                  </a:lnTo>
                  <a:lnTo>
                    <a:pt x="1494" y="2076"/>
                  </a:lnTo>
                  <a:lnTo>
                    <a:pt x="1500" y="2086"/>
                  </a:lnTo>
                  <a:lnTo>
                    <a:pt x="1504" y="2092"/>
                  </a:lnTo>
                  <a:lnTo>
                    <a:pt x="1510" y="2098"/>
                  </a:lnTo>
                  <a:lnTo>
                    <a:pt x="1510" y="2098"/>
                  </a:lnTo>
                  <a:lnTo>
                    <a:pt x="1514" y="2104"/>
                  </a:lnTo>
                  <a:lnTo>
                    <a:pt x="1516" y="2110"/>
                  </a:lnTo>
                  <a:lnTo>
                    <a:pt x="1516" y="2130"/>
                  </a:lnTo>
                  <a:lnTo>
                    <a:pt x="1516" y="2130"/>
                  </a:lnTo>
                  <a:lnTo>
                    <a:pt x="1518" y="2142"/>
                  </a:lnTo>
                  <a:lnTo>
                    <a:pt x="1522" y="2154"/>
                  </a:lnTo>
                  <a:lnTo>
                    <a:pt x="1528" y="2166"/>
                  </a:lnTo>
                  <a:lnTo>
                    <a:pt x="1538" y="2174"/>
                  </a:lnTo>
                  <a:lnTo>
                    <a:pt x="1538" y="2174"/>
                  </a:lnTo>
                  <a:lnTo>
                    <a:pt x="1548" y="2182"/>
                  </a:lnTo>
                  <a:lnTo>
                    <a:pt x="1556" y="2190"/>
                  </a:lnTo>
                  <a:lnTo>
                    <a:pt x="1564" y="2200"/>
                  </a:lnTo>
                  <a:lnTo>
                    <a:pt x="1570" y="2210"/>
                  </a:lnTo>
                  <a:lnTo>
                    <a:pt x="1570" y="2210"/>
                  </a:lnTo>
                  <a:lnTo>
                    <a:pt x="1582" y="2234"/>
                  </a:lnTo>
                  <a:lnTo>
                    <a:pt x="1588" y="2244"/>
                  </a:lnTo>
                  <a:lnTo>
                    <a:pt x="1594" y="2252"/>
                  </a:lnTo>
                  <a:lnTo>
                    <a:pt x="1594" y="2252"/>
                  </a:lnTo>
                  <a:lnTo>
                    <a:pt x="1600" y="2258"/>
                  </a:lnTo>
                  <a:lnTo>
                    <a:pt x="1600" y="2264"/>
                  </a:lnTo>
                  <a:lnTo>
                    <a:pt x="1602" y="2268"/>
                  </a:lnTo>
                  <a:lnTo>
                    <a:pt x="1604" y="2274"/>
                  </a:lnTo>
                  <a:lnTo>
                    <a:pt x="1604" y="2274"/>
                  </a:lnTo>
                  <a:lnTo>
                    <a:pt x="1608" y="2280"/>
                  </a:lnTo>
                  <a:lnTo>
                    <a:pt x="1612" y="2288"/>
                  </a:lnTo>
                  <a:lnTo>
                    <a:pt x="1616" y="2298"/>
                  </a:lnTo>
                  <a:lnTo>
                    <a:pt x="1616" y="2306"/>
                  </a:lnTo>
                  <a:lnTo>
                    <a:pt x="1616" y="2306"/>
                  </a:lnTo>
                  <a:lnTo>
                    <a:pt x="1614" y="2314"/>
                  </a:lnTo>
                  <a:lnTo>
                    <a:pt x="1614" y="2326"/>
                  </a:lnTo>
                  <a:lnTo>
                    <a:pt x="1618" y="2338"/>
                  </a:lnTo>
                  <a:lnTo>
                    <a:pt x="1624" y="2350"/>
                  </a:lnTo>
                  <a:lnTo>
                    <a:pt x="1624" y="2350"/>
                  </a:lnTo>
                  <a:lnTo>
                    <a:pt x="1628" y="2360"/>
                  </a:lnTo>
                  <a:lnTo>
                    <a:pt x="1630" y="2372"/>
                  </a:lnTo>
                  <a:lnTo>
                    <a:pt x="1630" y="2382"/>
                  </a:lnTo>
                  <a:lnTo>
                    <a:pt x="1632" y="2390"/>
                  </a:lnTo>
                  <a:lnTo>
                    <a:pt x="1632" y="2390"/>
                  </a:lnTo>
                  <a:lnTo>
                    <a:pt x="1640" y="2392"/>
                  </a:lnTo>
                  <a:lnTo>
                    <a:pt x="1654" y="2392"/>
                  </a:lnTo>
                  <a:lnTo>
                    <a:pt x="1670" y="2390"/>
                  </a:lnTo>
                  <a:lnTo>
                    <a:pt x="1682" y="2384"/>
                  </a:lnTo>
                  <a:lnTo>
                    <a:pt x="1682" y="2384"/>
                  </a:lnTo>
                  <a:lnTo>
                    <a:pt x="1692" y="2378"/>
                  </a:lnTo>
                  <a:lnTo>
                    <a:pt x="1700" y="2374"/>
                  </a:lnTo>
                  <a:lnTo>
                    <a:pt x="1710" y="2374"/>
                  </a:lnTo>
                  <a:lnTo>
                    <a:pt x="1718" y="2372"/>
                  </a:lnTo>
                  <a:lnTo>
                    <a:pt x="1718" y="2372"/>
                  </a:lnTo>
                  <a:lnTo>
                    <a:pt x="1726" y="2372"/>
                  </a:lnTo>
                  <a:lnTo>
                    <a:pt x="1736" y="2368"/>
                  </a:lnTo>
                  <a:lnTo>
                    <a:pt x="1742" y="2362"/>
                  </a:lnTo>
                  <a:lnTo>
                    <a:pt x="1748" y="2358"/>
                  </a:lnTo>
                  <a:lnTo>
                    <a:pt x="1748" y="2358"/>
                  </a:lnTo>
                  <a:lnTo>
                    <a:pt x="1752" y="2356"/>
                  </a:lnTo>
                  <a:lnTo>
                    <a:pt x="1760" y="2354"/>
                  </a:lnTo>
                  <a:lnTo>
                    <a:pt x="1774" y="2354"/>
                  </a:lnTo>
                  <a:lnTo>
                    <a:pt x="1774" y="2354"/>
                  </a:lnTo>
                  <a:lnTo>
                    <a:pt x="1780" y="2354"/>
                  </a:lnTo>
                  <a:lnTo>
                    <a:pt x="1784" y="2350"/>
                  </a:lnTo>
                  <a:lnTo>
                    <a:pt x="1796" y="2340"/>
                  </a:lnTo>
                  <a:lnTo>
                    <a:pt x="1796" y="2340"/>
                  </a:lnTo>
                  <a:lnTo>
                    <a:pt x="1804" y="2334"/>
                  </a:lnTo>
                  <a:lnTo>
                    <a:pt x="1818" y="2330"/>
                  </a:lnTo>
                  <a:lnTo>
                    <a:pt x="1854" y="2320"/>
                  </a:lnTo>
                  <a:lnTo>
                    <a:pt x="1854" y="2320"/>
                  </a:lnTo>
                  <a:lnTo>
                    <a:pt x="1862" y="2318"/>
                  </a:lnTo>
                  <a:lnTo>
                    <a:pt x="1868" y="2314"/>
                  </a:lnTo>
                  <a:lnTo>
                    <a:pt x="1872" y="2310"/>
                  </a:lnTo>
                  <a:lnTo>
                    <a:pt x="1874" y="2306"/>
                  </a:lnTo>
                  <a:lnTo>
                    <a:pt x="1876" y="2300"/>
                  </a:lnTo>
                  <a:lnTo>
                    <a:pt x="1880" y="2294"/>
                  </a:lnTo>
                  <a:lnTo>
                    <a:pt x="1880" y="2294"/>
                  </a:lnTo>
                  <a:lnTo>
                    <a:pt x="1884" y="2290"/>
                  </a:lnTo>
                  <a:lnTo>
                    <a:pt x="1890" y="2288"/>
                  </a:lnTo>
                  <a:lnTo>
                    <a:pt x="1900" y="2286"/>
                  </a:lnTo>
                  <a:lnTo>
                    <a:pt x="1910" y="2280"/>
                  </a:lnTo>
                  <a:lnTo>
                    <a:pt x="1910" y="2280"/>
                  </a:lnTo>
                  <a:lnTo>
                    <a:pt x="1922" y="2276"/>
                  </a:lnTo>
                  <a:lnTo>
                    <a:pt x="1934" y="2276"/>
                  </a:lnTo>
                  <a:lnTo>
                    <a:pt x="1944" y="2274"/>
                  </a:lnTo>
                  <a:lnTo>
                    <a:pt x="1954" y="2274"/>
                  </a:lnTo>
                  <a:lnTo>
                    <a:pt x="1954" y="2274"/>
                  </a:lnTo>
                  <a:lnTo>
                    <a:pt x="1958" y="2272"/>
                  </a:lnTo>
                  <a:lnTo>
                    <a:pt x="1958" y="2270"/>
                  </a:lnTo>
                  <a:lnTo>
                    <a:pt x="1960" y="2264"/>
                  </a:lnTo>
                  <a:lnTo>
                    <a:pt x="1960" y="2258"/>
                  </a:lnTo>
                  <a:lnTo>
                    <a:pt x="1962" y="2256"/>
                  </a:lnTo>
                  <a:lnTo>
                    <a:pt x="1964" y="2252"/>
                  </a:lnTo>
                  <a:lnTo>
                    <a:pt x="1964" y="2252"/>
                  </a:lnTo>
                  <a:lnTo>
                    <a:pt x="1968" y="2250"/>
                  </a:lnTo>
                  <a:lnTo>
                    <a:pt x="1972" y="2248"/>
                  </a:lnTo>
                  <a:lnTo>
                    <a:pt x="1982" y="2248"/>
                  </a:lnTo>
                  <a:lnTo>
                    <a:pt x="1988" y="2248"/>
                  </a:lnTo>
                  <a:lnTo>
                    <a:pt x="1994" y="2248"/>
                  </a:lnTo>
                  <a:lnTo>
                    <a:pt x="1994" y="2248"/>
                  </a:lnTo>
                  <a:lnTo>
                    <a:pt x="1998" y="2242"/>
                  </a:lnTo>
                  <a:lnTo>
                    <a:pt x="2002" y="2234"/>
                  </a:lnTo>
                  <a:lnTo>
                    <a:pt x="2006" y="2228"/>
                  </a:lnTo>
                  <a:lnTo>
                    <a:pt x="2012" y="2222"/>
                  </a:lnTo>
                  <a:lnTo>
                    <a:pt x="2012" y="2222"/>
                  </a:lnTo>
                  <a:lnTo>
                    <a:pt x="2024" y="2220"/>
                  </a:lnTo>
                  <a:lnTo>
                    <a:pt x="2028" y="2218"/>
                  </a:lnTo>
                  <a:lnTo>
                    <a:pt x="2030" y="2214"/>
                  </a:lnTo>
                  <a:lnTo>
                    <a:pt x="2030" y="2214"/>
                  </a:lnTo>
                  <a:lnTo>
                    <a:pt x="2028" y="2204"/>
                  </a:lnTo>
                  <a:lnTo>
                    <a:pt x="2030" y="2192"/>
                  </a:lnTo>
                  <a:lnTo>
                    <a:pt x="2034" y="2182"/>
                  </a:lnTo>
                  <a:lnTo>
                    <a:pt x="2036" y="2178"/>
                  </a:lnTo>
                  <a:lnTo>
                    <a:pt x="2038" y="2176"/>
                  </a:lnTo>
                  <a:lnTo>
                    <a:pt x="2038" y="2176"/>
                  </a:lnTo>
                  <a:lnTo>
                    <a:pt x="2046" y="2174"/>
                  </a:lnTo>
                  <a:lnTo>
                    <a:pt x="2052" y="2170"/>
                  </a:lnTo>
                  <a:lnTo>
                    <a:pt x="2058" y="2166"/>
                  </a:lnTo>
                  <a:lnTo>
                    <a:pt x="2060" y="2162"/>
                  </a:lnTo>
                  <a:lnTo>
                    <a:pt x="2060" y="2162"/>
                  </a:lnTo>
                  <a:lnTo>
                    <a:pt x="2064" y="2156"/>
                  </a:lnTo>
                  <a:lnTo>
                    <a:pt x="2070" y="2146"/>
                  </a:lnTo>
                  <a:lnTo>
                    <a:pt x="2084" y="2130"/>
                  </a:lnTo>
                  <a:lnTo>
                    <a:pt x="2084" y="2130"/>
                  </a:lnTo>
                  <a:lnTo>
                    <a:pt x="2086" y="2124"/>
                  </a:lnTo>
                  <a:lnTo>
                    <a:pt x="2086" y="2120"/>
                  </a:lnTo>
                  <a:lnTo>
                    <a:pt x="2086" y="2116"/>
                  </a:lnTo>
                  <a:lnTo>
                    <a:pt x="2082" y="2114"/>
                  </a:lnTo>
                  <a:lnTo>
                    <a:pt x="2082" y="2114"/>
                  </a:lnTo>
                  <a:lnTo>
                    <a:pt x="2074" y="2110"/>
                  </a:lnTo>
                  <a:lnTo>
                    <a:pt x="2068" y="2102"/>
                  </a:lnTo>
                  <a:lnTo>
                    <a:pt x="2058" y="2086"/>
                  </a:lnTo>
                  <a:lnTo>
                    <a:pt x="2058" y="2086"/>
                  </a:lnTo>
                  <a:lnTo>
                    <a:pt x="2056" y="2084"/>
                  </a:lnTo>
                  <a:lnTo>
                    <a:pt x="2052" y="2082"/>
                  </a:lnTo>
                  <a:lnTo>
                    <a:pt x="2042" y="2080"/>
                  </a:lnTo>
                  <a:lnTo>
                    <a:pt x="2028" y="2078"/>
                  </a:lnTo>
                  <a:lnTo>
                    <a:pt x="2020" y="2074"/>
                  </a:lnTo>
                  <a:lnTo>
                    <a:pt x="2012" y="2070"/>
                  </a:lnTo>
                  <a:lnTo>
                    <a:pt x="2012" y="2070"/>
                  </a:lnTo>
                  <a:lnTo>
                    <a:pt x="2006" y="2062"/>
                  </a:lnTo>
                  <a:lnTo>
                    <a:pt x="2002" y="2052"/>
                  </a:lnTo>
                  <a:lnTo>
                    <a:pt x="1996" y="2032"/>
                  </a:lnTo>
                  <a:lnTo>
                    <a:pt x="1994" y="2014"/>
                  </a:lnTo>
                  <a:lnTo>
                    <a:pt x="1992" y="2008"/>
                  </a:lnTo>
                  <a:lnTo>
                    <a:pt x="1990" y="2006"/>
                  </a:lnTo>
                  <a:lnTo>
                    <a:pt x="1990" y="2006"/>
                  </a:lnTo>
                  <a:lnTo>
                    <a:pt x="1984" y="2010"/>
                  </a:lnTo>
                  <a:lnTo>
                    <a:pt x="1976" y="2018"/>
                  </a:lnTo>
                  <a:lnTo>
                    <a:pt x="1966" y="2030"/>
                  </a:lnTo>
                  <a:lnTo>
                    <a:pt x="1958" y="2042"/>
                  </a:lnTo>
                  <a:lnTo>
                    <a:pt x="1958" y="2042"/>
                  </a:lnTo>
                  <a:lnTo>
                    <a:pt x="1954" y="2048"/>
                  </a:lnTo>
                  <a:lnTo>
                    <a:pt x="1950" y="2054"/>
                  </a:lnTo>
                  <a:lnTo>
                    <a:pt x="1936" y="2062"/>
                  </a:lnTo>
                  <a:lnTo>
                    <a:pt x="1922" y="2066"/>
                  </a:lnTo>
                  <a:lnTo>
                    <a:pt x="1914" y="2068"/>
                  </a:lnTo>
                  <a:lnTo>
                    <a:pt x="1906" y="2066"/>
                  </a:lnTo>
                  <a:lnTo>
                    <a:pt x="1906" y="2066"/>
                  </a:lnTo>
                  <a:lnTo>
                    <a:pt x="1894" y="2066"/>
                  </a:lnTo>
                  <a:lnTo>
                    <a:pt x="1884" y="2068"/>
                  </a:lnTo>
                  <a:lnTo>
                    <a:pt x="1878" y="2072"/>
                  </a:lnTo>
                  <a:lnTo>
                    <a:pt x="1874" y="2076"/>
                  </a:lnTo>
                  <a:lnTo>
                    <a:pt x="1874" y="2076"/>
                  </a:lnTo>
                  <a:lnTo>
                    <a:pt x="1872" y="2076"/>
                  </a:lnTo>
                  <a:lnTo>
                    <a:pt x="1868" y="2074"/>
                  </a:lnTo>
                  <a:lnTo>
                    <a:pt x="1862" y="2066"/>
                  </a:lnTo>
                  <a:lnTo>
                    <a:pt x="1858" y="2058"/>
                  </a:lnTo>
                  <a:lnTo>
                    <a:pt x="1856" y="2052"/>
                  </a:lnTo>
                  <a:lnTo>
                    <a:pt x="1858" y="2048"/>
                  </a:lnTo>
                  <a:lnTo>
                    <a:pt x="1858" y="2048"/>
                  </a:lnTo>
                  <a:lnTo>
                    <a:pt x="1860" y="2040"/>
                  </a:lnTo>
                  <a:lnTo>
                    <a:pt x="1862" y="2030"/>
                  </a:lnTo>
                  <a:lnTo>
                    <a:pt x="1860" y="2020"/>
                  </a:lnTo>
                  <a:lnTo>
                    <a:pt x="1858" y="2016"/>
                  </a:lnTo>
                  <a:lnTo>
                    <a:pt x="1854" y="2014"/>
                  </a:lnTo>
                  <a:lnTo>
                    <a:pt x="1854" y="2014"/>
                  </a:lnTo>
                  <a:lnTo>
                    <a:pt x="1850" y="2014"/>
                  </a:lnTo>
                  <a:lnTo>
                    <a:pt x="1846" y="2016"/>
                  </a:lnTo>
                  <a:lnTo>
                    <a:pt x="1840" y="2024"/>
                  </a:lnTo>
                  <a:lnTo>
                    <a:pt x="1838" y="2034"/>
                  </a:lnTo>
                  <a:lnTo>
                    <a:pt x="1836" y="2040"/>
                  </a:lnTo>
                  <a:lnTo>
                    <a:pt x="1836" y="2040"/>
                  </a:lnTo>
                  <a:lnTo>
                    <a:pt x="1836" y="2042"/>
                  </a:lnTo>
                  <a:lnTo>
                    <a:pt x="1832" y="2040"/>
                  </a:lnTo>
                  <a:lnTo>
                    <a:pt x="1826" y="2030"/>
                  </a:lnTo>
                  <a:lnTo>
                    <a:pt x="1820" y="2020"/>
                  </a:lnTo>
                  <a:lnTo>
                    <a:pt x="1818" y="2014"/>
                  </a:lnTo>
                  <a:lnTo>
                    <a:pt x="1820" y="2012"/>
                  </a:lnTo>
                  <a:lnTo>
                    <a:pt x="1820" y="2012"/>
                  </a:lnTo>
                  <a:lnTo>
                    <a:pt x="1822" y="2008"/>
                  </a:lnTo>
                  <a:lnTo>
                    <a:pt x="1822" y="2006"/>
                  </a:lnTo>
                  <a:lnTo>
                    <a:pt x="1820" y="1998"/>
                  </a:lnTo>
                  <a:lnTo>
                    <a:pt x="1814" y="1990"/>
                  </a:lnTo>
                  <a:lnTo>
                    <a:pt x="1808" y="1982"/>
                  </a:lnTo>
                  <a:lnTo>
                    <a:pt x="1808" y="1982"/>
                  </a:lnTo>
                  <a:lnTo>
                    <a:pt x="1790" y="1966"/>
                  </a:lnTo>
                  <a:lnTo>
                    <a:pt x="1784" y="1958"/>
                  </a:lnTo>
                  <a:lnTo>
                    <a:pt x="1780" y="1950"/>
                  </a:lnTo>
                  <a:lnTo>
                    <a:pt x="1780" y="1950"/>
                  </a:lnTo>
                  <a:lnTo>
                    <a:pt x="1776" y="1940"/>
                  </a:lnTo>
                  <a:lnTo>
                    <a:pt x="1772" y="1926"/>
                  </a:lnTo>
                  <a:lnTo>
                    <a:pt x="1766" y="1912"/>
                  </a:lnTo>
                  <a:lnTo>
                    <a:pt x="1764" y="1904"/>
                  </a:lnTo>
                  <a:lnTo>
                    <a:pt x="1764" y="1904"/>
                  </a:lnTo>
                  <a:lnTo>
                    <a:pt x="1766" y="1900"/>
                  </a:lnTo>
                  <a:lnTo>
                    <a:pt x="1770" y="1896"/>
                  </a:lnTo>
                  <a:lnTo>
                    <a:pt x="1778" y="1892"/>
                  </a:lnTo>
                  <a:lnTo>
                    <a:pt x="1784" y="1892"/>
                  </a:lnTo>
                  <a:lnTo>
                    <a:pt x="1784" y="1892"/>
                  </a:lnTo>
                  <a:lnTo>
                    <a:pt x="1788" y="1890"/>
                  </a:lnTo>
                  <a:lnTo>
                    <a:pt x="1792" y="1888"/>
                  </a:lnTo>
                  <a:lnTo>
                    <a:pt x="1794" y="1886"/>
                  </a:lnTo>
                  <a:lnTo>
                    <a:pt x="1796" y="1888"/>
                  </a:lnTo>
                  <a:lnTo>
                    <a:pt x="1796" y="1888"/>
                  </a:lnTo>
                  <a:lnTo>
                    <a:pt x="1802" y="1890"/>
                  </a:lnTo>
                  <a:lnTo>
                    <a:pt x="1806" y="1890"/>
                  </a:lnTo>
                  <a:lnTo>
                    <a:pt x="1816" y="1888"/>
                  </a:lnTo>
                  <a:lnTo>
                    <a:pt x="1816" y="1888"/>
                  </a:lnTo>
                  <a:lnTo>
                    <a:pt x="1818" y="1888"/>
                  </a:lnTo>
                  <a:lnTo>
                    <a:pt x="1822" y="1892"/>
                  </a:lnTo>
                  <a:lnTo>
                    <a:pt x="1830" y="1904"/>
                  </a:lnTo>
                  <a:lnTo>
                    <a:pt x="1844" y="1930"/>
                  </a:lnTo>
                  <a:lnTo>
                    <a:pt x="1844" y="1930"/>
                  </a:lnTo>
                  <a:lnTo>
                    <a:pt x="1850" y="1946"/>
                  </a:lnTo>
                  <a:lnTo>
                    <a:pt x="1854" y="1950"/>
                  </a:lnTo>
                  <a:lnTo>
                    <a:pt x="1860" y="1956"/>
                  </a:lnTo>
                  <a:lnTo>
                    <a:pt x="1860" y="1956"/>
                  </a:lnTo>
                  <a:lnTo>
                    <a:pt x="1866" y="1958"/>
                  </a:lnTo>
                  <a:lnTo>
                    <a:pt x="1874" y="1960"/>
                  </a:lnTo>
                  <a:lnTo>
                    <a:pt x="1882" y="1964"/>
                  </a:lnTo>
                  <a:lnTo>
                    <a:pt x="1892" y="1972"/>
                  </a:lnTo>
                  <a:lnTo>
                    <a:pt x="1892" y="1972"/>
                  </a:lnTo>
                  <a:lnTo>
                    <a:pt x="1898" y="1976"/>
                  </a:lnTo>
                  <a:lnTo>
                    <a:pt x="1906" y="1982"/>
                  </a:lnTo>
                  <a:lnTo>
                    <a:pt x="1922" y="1988"/>
                  </a:lnTo>
                  <a:lnTo>
                    <a:pt x="1940" y="1994"/>
                  </a:lnTo>
                  <a:lnTo>
                    <a:pt x="1954" y="1996"/>
                  </a:lnTo>
                  <a:lnTo>
                    <a:pt x="1954" y="1996"/>
                  </a:lnTo>
                  <a:lnTo>
                    <a:pt x="1960" y="1996"/>
                  </a:lnTo>
                  <a:lnTo>
                    <a:pt x="1964" y="1994"/>
                  </a:lnTo>
                  <a:lnTo>
                    <a:pt x="1974" y="1988"/>
                  </a:lnTo>
                  <a:lnTo>
                    <a:pt x="1986" y="1984"/>
                  </a:lnTo>
                  <a:lnTo>
                    <a:pt x="1992" y="1984"/>
                  </a:lnTo>
                  <a:lnTo>
                    <a:pt x="1998" y="1984"/>
                  </a:lnTo>
                  <a:lnTo>
                    <a:pt x="1998" y="1984"/>
                  </a:lnTo>
                  <a:lnTo>
                    <a:pt x="2004" y="1986"/>
                  </a:lnTo>
                  <a:lnTo>
                    <a:pt x="2008" y="1990"/>
                  </a:lnTo>
                  <a:lnTo>
                    <a:pt x="2012" y="1994"/>
                  </a:lnTo>
                  <a:lnTo>
                    <a:pt x="2014" y="2000"/>
                  </a:lnTo>
                  <a:lnTo>
                    <a:pt x="2016" y="2010"/>
                  </a:lnTo>
                  <a:lnTo>
                    <a:pt x="2020" y="2020"/>
                  </a:lnTo>
                  <a:lnTo>
                    <a:pt x="2020" y="2020"/>
                  </a:lnTo>
                  <a:lnTo>
                    <a:pt x="2024" y="2022"/>
                  </a:lnTo>
                  <a:lnTo>
                    <a:pt x="2036" y="2026"/>
                  </a:lnTo>
                  <a:lnTo>
                    <a:pt x="2064" y="2030"/>
                  </a:lnTo>
                  <a:lnTo>
                    <a:pt x="2094" y="2034"/>
                  </a:lnTo>
                  <a:lnTo>
                    <a:pt x="2114" y="2038"/>
                  </a:lnTo>
                  <a:lnTo>
                    <a:pt x="2114" y="2038"/>
                  </a:lnTo>
                  <a:lnTo>
                    <a:pt x="2132" y="2040"/>
                  </a:lnTo>
                  <a:lnTo>
                    <a:pt x="2158" y="2040"/>
                  </a:lnTo>
                  <a:lnTo>
                    <a:pt x="2182" y="2038"/>
                  </a:lnTo>
                  <a:lnTo>
                    <a:pt x="2190" y="2038"/>
                  </a:lnTo>
                  <a:lnTo>
                    <a:pt x="2194" y="2036"/>
                  </a:lnTo>
                  <a:lnTo>
                    <a:pt x="2194" y="2036"/>
                  </a:lnTo>
                  <a:lnTo>
                    <a:pt x="2198" y="2032"/>
                  </a:lnTo>
                  <a:lnTo>
                    <a:pt x="2204" y="2032"/>
                  </a:lnTo>
                  <a:lnTo>
                    <a:pt x="2210" y="2030"/>
                  </a:lnTo>
                  <a:lnTo>
                    <a:pt x="2214" y="2032"/>
                  </a:lnTo>
                  <a:lnTo>
                    <a:pt x="2214" y="2032"/>
                  </a:lnTo>
                  <a:lnTo>
                    <a:pt x="2222" y="2036"/>
                  </a:lnTo>
                  <a:lnTo>
                    <a:pt x="2234" y="2036"/>
                  </a:lnTo>
                  <a:lnTo>
                    <a:pt x="2248" y="2036"/>
                  </a:lnTo>
                  <a:lnTo>
                    <a:pt x="2258" y="2032"/>
                  </a:lnTo>
                  <a:lnTo>
                    <a:pt x="2258" y="2032"/>
                  </a:lnTo>
                  <a:lnTo>
                    <a:pt x="2268" y="2030"/>
                  </a:lnTo>
                  <a:lnTo>
                    <a:pt x="2274" y="2030"/>
                  </a:lnTo>
                  <a:lnTo>
                    <a:pt x="2278" y="2034"/>
                  </a:lnTo>
                  <a:lnTo>
                    <a:pt x="2280" y="2038"/>
                  </a:lnTo>
                  <a:lnTo>
                    <a:pt x="2280" y="2038"/>
                  </a:lnTo>
                  <a:lnTo>
                    <a:pt x="2282" y="2044"/>
                  </a:lnTo>
                  <a:lnTo>
                    <a:pt x="2284" y="2046"/>
                  </a:lnTo>
                  <a:lnTo>
                    <a:pt x="2292" y="2054"/>
                  </a:lnTo>
                  <a:lnTo>
                    <a:pt x="2292" y="2054"/>
                  </a:lnTo>
                  <a:lnTo>
                    <a:pt x="2296" y="2058"/>
                  </a:lnTo>
                  <a:lnTo>
                    <a:pt x="2296" y="2062"/>
                  </a:lnTo>
                  <a:lnTo>
                    <a:pt x="2296" y="2068"/>
                  </a:lnTo>
                  <a:lnTo>
                    <a:pt x="2298" y="2072"/>
                  </a:lnTo>
                  <a:lnTo>
                    <a:pt x="2298" y="2072"/>
                  </a:lnTo>
                  <a:lnTo>
                    <a:pt x="2302" y="2076"/>
                  </a:lnTo>
                  <a:lnTo>
                    <a:pt x="2308" y="2078"/>
                  </a:lnTo>
                  <a:lnTo>
                    <a:pt x="2322" y="2082"/>
                  </a:lnTo>
                  <a:lnTo>
                    <a:pt x="2322" y="2082"/>
                  </a:lnTo>
                  <a:lnTo>
                    <a:pt x="2330" y="2088"/>
                  </a:lnTo>
                  <a:lnTo>
                    <a:pt x="2336" y="2096"/>
                  </a:lnTo>
                  <a:lnTo>
                    <a:pt x="2342" y="2102"/>
                  </a:lnTo>
                  <a:lnTo>
                    <a:pt x="2352" y="2108"/>
                  </a:lnTo>
                  <a:lnTo>
                    <a:pt x="2352" y="2108"/>
                  </a:lnTo>
                  <a:lnTo>
                    <a:pt x="2358" y="2110"/>
                  </a:lnTo>
                  <a:lnTo>
                    <a:pt x="2362" y="2110"/>
                  </a:lnTo>
                  <a:lnTo>
                    <a:pt x="2372" y="2108"/>
                  </a:lnTo>
                  <a:lnTo>
                    <a:pt x="2378" y="2106"/>
                  </a:lnTo>
                  <a:lnTo>
                    <a:pt x="2380" y="2106"/>
                  </a:lnTo>
                  <a:lnTo>
                    <a:pt x="2382" y="2110"/>
                  </a:lnTo>
                  <a:lnTo>
                    <a:pt x="2382" y="2110"/>
                  </a:lnTo>
                  <a:lnTo>
                    <a:pt x="2380" y="2114"/>
                  </a:lnTo>
                  <a:lnTo>
                    <a:pt x="2376" y="2116"/>
                  </a:lnTo>
                  <a:lnTo>
                    <a:pt x="2362" y="2120"/>
                  </a:lnTo>
                  <a:lnTo>
                    <a:pt x="2350" y="2122"/>
                  </a:lnTo>
                  <a:lnTo>
                    <a:pt x="2346" y="2122"/>
                  </a:lnTo>
                  <a:lnTo>
                    <a:pt x="2344" y="2124"/>
                  </a:lnTo>
                  <a:lnTo>
                    <a:pt x="2344" y="2124"/>
                  </a:lnTo>
                  <a:lnTo>
                    <a:pt x="2350" y="2132"/>
                  </a:lnTo>
                  <a:lnTo>
                    <a:pt x="2364" y="2150"/>
                  </a:lnTo>
                  <a:lnTo>
                    <a:pt x="2374" y="2158"/>
                  </a:lnTo>
                  <a:lnTo>
                    <a:pt x="2384" y="2164"/>
                  </a:lnTo>
                  <a:lnTo>
                    <a:pt x="2394" y="2170"/>
                  </a:lnTo>
                  <a:lnTo>
                    <a:pt x="2402" y="2170"/>
                  </a:lnTo>
                  <a:lnTo>
                    <a:pt x="2402" y="2170"/>
                  </a:lnTo>
                  <a:lnTo>
                    <a:pt x="2408" y="2168"/>
                  </a:lnTo>
                  <a:lnTo>
                    <a:pt x="2416" y="2164"/>
                  </a:lnTo>
                  <a:lnTo>
                    <a:pt x="2426" y="2156"/>
                  </a:lnTo>
                  <a:lnTo>
                    <a:pt x="2430" y="2148"/>
                  </a:lnTo>
                  <a:lnTo>
                    <a:pt x="2432" y="2144"/>
                  </a:lnTo>
                  <a:lnTo>
                    <a:pt x="2430" y="2142"/>
                  </a:lnTo>
                  <a:lnTo>
                    <a:pt x="2430" y="2142"/>
                  </a:lnTo>
                  <a:lnTo>
                    <a:pt x="2428" y="2140"/>
                  </a:lnTo>
                  <a:lnTo>
                    <a:pt x="2428" y="2138"/>
                  </a:lnTo>
                  <a:lnTo>
                    <a:pt x="2430" y="2132"/>
                  </a:lnTo>
                  <a:lnTo>
                    <a:pt x="2434" y="2128"/>
                  </a:lnTo>
                  <a:lnTo>
                    <a:pt x="2436" y="2128"/>
                  </a:lnTo>
                  <a:lnTo>
                    <a:pt x="2438" y="2128"/>
                  </a:lnTo>
                  <a:lnTo>
                    <a:pt x="2438" y="2128"/>
                  </a:lnTo>
                  <a:lnTo>
                    <a:pt x="2440" y="2130"/>
                  </a:lnTo>
                  <a:lnTo>
                    <a:pt x="2440" y="2132"/>
                  </a:lnTo>
                  <a:lnTo>
                    <a:pt x="2442" y="2142"/>
                  </a:lnTo>
                  <a:lnTo>
                    <a:pt x="2442" y="2150"/>
                  </a:lnTo>
                  <a:lnTo>
                    <a:pt x="2444" y="2154"/>
                  </a:lnTo>
                  <a:lnTo>
                    <a:pt x="2446" y="2156"/>
                  </a:lnTo>
                  <a:lnTo>
                    <a:pt x="2446" y="2156"/>
                  </a:lnTo>
                  <a:lnTo>
                    <a:pt x="2448" y="2160"/>
                  </a:lnTo>
                  <a:lnTo>
                    <a:pt x="2450" y="2166"/>
                  </a:lnTo>
                  <a:lnTo>
                    <a:pt x="2446" y="2182"/>
                  </a:lnTo>
                  <a:lnTo>
                    <a:pt x="2446" y="2182"/>
                  </a:lnTo>
                  <a:lnTo>
                    <a:pt x="2444" y="2192"/>
                  </a:lnTo>
                  <a:lnTo>
                    <a:pt x="2446" y="2204"/>
                  </a:lnTo>
                  <a:lnTo>
                    <a:pt x="2450" y="2226"/>
                  </a:lnTo>
                  <a:lnTo>
                    <a:pt x="2450" y="2226"/>
                  </a:lnTo>
                  <a:lnTo>
                    <a:pt x="2452" y="2238"/>
                  </a:lnTo>
                  <a:lnTo>
                    <a:pt x="2456" y="2250"/>
                  </a:lnTo>
                  <a:lnTo>
                    <a:pt x="2460" y="2262"/>
                  </a:lnTo>
                  <a:lnTo>
                    <a:pt x="2464" y="2276"/>
                  </a:lnTo>
                  <a:lnTo>
                    <a:pt x="2464" y="2276"/>
                  </a:lnTo>
                  <a:lnTo>
                    <a:pt x="2466" y="2292"/>
                  </a:lnTo>
                  <a:lnTo>
                    <a:pt x="2472" y="2312"/>
                  </a:lnTo>
                  <a:lnTo>
                    <a:pt x="2480" y="2332"/>
                  </a:lnTo>
                  <a:lnTo>
                    <a:pt x="2488" y="2350"/>
                  </a:lnTo>
                  <a:lnTo>
                    <a:pt x="2488" y="2350"/>
                  </a:lnTo>
                  <a:lnTo>
                    <a:pt x="2496" y="2368"/>
                  </a:lnTo>
                  <a:lnTo>
                    <a:pt x="2504" y="2388"/>
                  </a:lnTo>
                  <a:lnTo>
                    <a:pt x="2510" y="2408"/>
                  </a:lnTo>
                  <a:lnTo>
                    <a:pt x="2516" y="2420"/>
                  </a:lnTo>
                  <a:lnTo>
                    <a:pt x="2516" y="2420"/>
                  </a:lnTo>
                  <a:lnTo>
                    <a:pt x="2522" y="2430"/>
                  </a:lnTo>
                  <a:lnTo>
                    <a:pt x="2530" y="2444"/>
                  </a:lnTo>
                  <a:lnTo>
                    <a:pt x="2538" y="2462"/>
                  </a:lnTo>
                  <a:lnTo>
                    <a:pt x="2540" y="2470"/>
                  </a:lnTo>
                  <a:lnTo>
                    <a:pt x="2540" y="2476"/>
                  </a:lnTo>
                  <a:lnTo>
                    <a:pt x="2540" y="2476"/>
                  </a:lnTo>
                  <a:lnTo>
                    <a:pt x="2542" y="2484"/>
                  </a:lnTo>
                  <a:lnTo>
                    <a:pt x="2544" y="2492"/>
                  </a:lnTo>
                  <a:lnTo>
                    <a:pt x="2552" y="2506"/>
                  </a:lnTo>
                  <a:lnTo>
                    <a:pt x="2560" y="2518"/>
                  </a:lnTo>
                  <a:lnTo>
                    <a:pt x="2568" y="2526"/>
                  </a:lnTo>
                  <a:lnTo>
                    <a:pt x="2568" y="2526"/>
                  </a:lnTo>
                  <a:lnTo>
                    <a:pt x="2570" y="2526"/>
                  </a:lnTo>
                  <a:lnTo>
                    <a:pt x="2574" y="2526"/>
                  </a:lnTo>
                  <a:lnTo>
                    <a:pt x="2582" y="2522"/>
                  </a:lnTo>
                  <a:lnTo>
                    <a:pt x="2588" y="2516"/>
                  </a:lnTo>
                  <a:lnTo>
                    <a:pt x="2592" y="2508"/>
                  </a:lnTo>
                  <a:lnTo>
                    <a:pt x="2592" y="2508"/>
                  </a:lnTo>
                  <a:lnTo>
                    <a:pt x="2594" y="2504"/>
                  </a:lnTo>
                  <a:lnTo>
                    <a:pt x="2598" y="2500"/>
                  </a:lnTo>
                  <a:lnTo>
                    <a:pt x="2606" y="2494"/>
                  </a:lnTo>
                  <a:lnTo>
                    <a:pt x="2614" y="2490"/>
                  </a:lnTo>
                  <a:lnTo>
                    <a:pt x="2616" y="2486"/>
                  </a:lnTo>
                  <a:lnTo>
                    <a:pt x="2618" y="2482"/>
                  </a:lnTo>
                  <a:lnTo>
                    <a:pt x="2618" y="2482"/>
                  </a:lnTo>
                  <a:lnTo>
                    <a:pt x="2622" y="2470"/>
                  </a:lnTo>
                  <a:lnTo>
                    <a:pt x="2624" y="2466"/>
                  </a:lnTo>
                  <a:lnTo>
                    <a:pt x="2628" y="2464"/>
                  </a:lnTo>
                  <a:lnTo>
                    <a:pt x="2628" y="2464"/>
                  </a:lnTo>
                  <a:lnTo>
                    <a:pt x="2632" y="2462"/>
                  </a:lnTo>
                  <a:lnTo>
                    <a:pt x="2636" y="2458"/>
                  </a:lnTo>
                  <a:lnTo>
                    <a:pt x="2636" y="2444"/>
                  </a:lnTo>
                  <a:lnTo>
                    <a:pt x="2636" y="2444"/>
                  </a:lnTo>
                  <a:lnTo>
                    <a:pt x="2638" y="2428"/>
                  </a:lnTo>
                  <a:lnTo>
                    <a:pt x="2640" y="2418"/>
                  </a:lnTo>
                  <a:lnTo>
                    <a:pt x="2644" y="2410"/>
                  </a:lnTo>
                  <a:lnTo>
                    <a:pt x="2644" y="2410"/>
                  </a:lnTo>
                  <a:lnTo>
                    <a:pt x="2648" y="2400"/>
                  </a:lnTo>
                  <a:lnTo>
                    <a:pt x="2650" y="2388"/>
                  </a:lnTo>
                  <a:lnTo>
                    <a:pt x="2650" y="2376"/>
                  </a:lnTo>
                  <a:lnTo>
                    <a:pt x="2648" y="2366"/>
                  </a:lnTo>
                  <a:lnTo>
                    <a:pt x="2648" y="2366"/>
                  </a:lnTo>
                  <a:lnTo>
                    <a:pt x="2646" y="2358"/>
                  </a:lnTo>
                  <a:lnTo>
                    <a:pt x="2646" y="2348"/>
                  </a:lnTo>
                  <a:lnTo>
                    <a:pt x="2648" y="2340"/>
                  </a:lnTo>
                  <a:lnTo>
                    <a:pt x="2650" y="2332"/>
                  </a:lnTo>
                  <a:lnTo>
                    <a:pt x="2650" y="2332"/>
                  </a:lnTo>
                  <a:lnTo>
                    <a:pt x="2654" y="2316"/>
                  </a:lnTo>
                  <a:lnTo>
                    <a:pt x="2656" y="2312"/>
                  </a:lnTo>
                  <a:lnTo>
                    <a:pt x="2660" y="2310"/>
                  </a:lnTo>
                  <a:lnTo>
                    <a:pt x="2660" y="2310"/>
                  </a:lnTo>
                  <a:lnTo>
                    <a:pt x="2666" y="2308"/>
                  </a:lnTo>
                  <a:lnTo>
                    <a:pt x="2674" y="2304"/>
                  </a:lnTo>
                  <a:lnTo>
                    <a:pt x="2680" y="2298"/>
                  </a:lnTo>
                  <a:lnTo>
                    <a:pt x="2688" y="2290"/>
                  </a:lnTo>
                  <a:lnTo>
                    <a:pt x="2688" y="2290"/>
                  </a:lnTo>
                  <a:lnTo>
                    <a:pt x="2696" y="2282"/>
                  </a:lnTo>
                  <a:lnTo>
                    <a:pt x="2708" y="2272"/>
                  </a:lnTo>
                  <a:lnTo>
                    <a:pt x="2728" y="2258"/>
                  </a:lnTo>
                  <a:lnTo>
                    <a:pt x="2728" y="2258"/>
                  </a:lnTo>
                  <a:lnTo>
                    <a:pt x="2750" y="2238"/>
                  </a:lnTo>
                  <a:lnTo>
                    <a:pt x="2764" y="2224"/>
                  </a:lnTo>
                  <a:lnTo>
                    <a:pt x="2772" y="2214"/>
                  </a:lnTo>
                  <a:lnTo>
                    <a:pt x="2772" y="2214"/>
                  </a:lnTo>
                  <a:lnTo>
                    <a:pt x="2776" y="2208"/>
                  </a:lnTo>
                  <a:lnTo>
                    <a:pt x="2782" y="2204"/>
                  </a:lnTo>
                  <a:lnTo>
                    <a:pt x="2792" y="2198"/>
                  </a:lnTo>
                  <a:lnTo>
                    <a:pt x="2804" y="2192"/>
                  </a:lnTo>
                  <a:lnTo>
                    <a:pt x="2814" y="2184"/>
                  </a:lnTo>
                  <a:lnTo>
                    <a:pt x="2814" y="2184"/>
                  </a:lnTo>
                  <a:lnTo>
                    <a:pt x="2820" y="2178"/>
                  </a:lnTo>
                  <a:lnTo>
                    <a:pt x="2822" y="2170"/>
                  </a:lnTo>
                  <a:lnTo>
                    <a:pt x="2822" y="2156"/>
                  </a:lnTo>
                  <a:lnTo>
                    <a:pt x="2822" y="2156"/>
                  </a:lnTo>
                  <a:lnTo>
                    <a:pt x="2824" y="2152"/>
                  </a:lnTo>
                  <a:lnTo>
                    <a:pt x="2830" y="2148"/>
                  </a:lnTo>
                  <a:lnTo>
                    <a:pt x="2842" y="2144"/>
                  </a:lnTo>
                  <a:lnTo>
                    <a:pt x="2858" y="2140"/>
                  </a:lnTo>
                  <a:lnTo>
                    <a:pt x="2872" y="2140"/>
                  </a:lnTo>
                  <a:lnTo>
                    <a:pt x="2872" y="2140"/>
                  </a:lnTo>
                  <a:lnTo>
                    <a:pt x="2880" y="2140"/>
                  </a:lnTo>
                  <a:lnTo>
                    <a:pt x="2886" y="2138"/>
                  </a:lnTo>
                  <a:lnTo>
                    <a:pt x="2890" y="2136"/>
                  </a:lnTo>
                  <a:lnTo>
                    <a:pt x="2896" y="2134"/>
                  </a:lnTo>
                  <a:lnTo>
                    <a:pt x="2896" y="2134"/>
                  </a:lnTo>
                  <a:lnTo>
                    <a:pt x="2904" y="2134"/>
                  </a:lnTo>
                  <a:lnTo>
                    <a:pt x="2910" y="2132"/>
                  </a:lnTo>
                  <a:lnTo>
                    <a:pt x="2916" y="2130"/>
                  </a:lnTo>
                  <a:lnTo>
                    <a:pt x="2918" y="2124"/>
                  </a:lnTo>
                  <a:lnTo>
                    <a:pt x="2918" y="2124"/>
                  </a:lnTo>
                  <a:lnTo>
                    <a:pt x="2920" y="2118"/>
                  </a:lnTo>
                  <a:lnTo>
                    <a:pt x="2924" y="2112"/>
                  </a:lnTo>
                  <a:lnTo>
                    <a:pt x="2930" y="2110"/>
                  </a:lnTo>
                  <a:lnTo>
                    <a:pt x="2934" y="2110"/>
                  </a:lnTo>
                  <a:lnTo>
                    <a:pt x="2934" y="2110"/>
                  </a:lnTo>
                  <a:lnTo>
                    <a:pt x="2940" y="2116"/>
                  </a:lnTo>
                  <a:lnTo>
                    <a:pt x="2944" y="2126"/>
                  </a:lnTo>
                  <a:lnTo>
                    <a:pt x="2948" y="2138"/>
                  </a:lnTo>
                  <a:lnTo>
                    <a:pt x="2950" y="2148"/>
                  </a:lnTo>
                  <a:lnTo>
                    <a:pt x="2950" y="2148"/>
                  </a:lnTo>
                  <a:lnTo>
                    <a:pt x="2952" y="2158"/>
                  </a:lnTo>
                  <a:lnTo>
                    <a:pt x="2958" y="2170"/>
                  </a:lnTo>
                  <a:lnTo>
                    <a:pt x="2968" y="2180"/>
                  </a:lnTo>
                  <a:lnTo>
                    <a:pt x="2974" y="2186"/>
                  </a:lnTo>
                  <a:lnTo>
                    <a:pt x="2978" y="2188"/>
                  </a:lnTo>
                  <a:lnTo>
                    <a:pt x="2978" y="2188"/>
                  </a:lnTo>
                  <a:lnTo>
                    <a:pt x="2984" y="2192"/>
                  </a:lnTo>
                  <a:lnTo>
                    <a:pt x="2990" y="2198"/>
                  </a:lnTo>
                  <a:lnTo>
                    <a:pt x="2998" y="2212"/>
                  </a:lnTo>
                  <a:lnTo>
                    <a:pt x="3006" y="2228"/>
                  </a:lnTo>
                  <a:lnTo>
                    <a:pt x="3010" y="2244"/>
                  </a:lnTo>
                  <a:lnTo>
                    <a:pt x="3010" y="2244"/>
                  </a:lnTo>
                  <a:lnTo>
                    <a:pt x="3012" y="2256"/>
                  </a:lnTo>
                  <a:lnTo>
                    <a:pt x="3012" y="2268"/>
                  </a:lnTo>
                  <a:lnTo>
                    <a:pt x="3010" y="2278"/>
                  </a:lnTo>
                  <a:lnTo>
                    <a:pt x="3006" y="2288"/>
                  </a:lnTo>
                  <a:lnTo>
                    <a:pt x="3006" y="2288"/>
                  </a:lnTo>
                  <a:lnTo>
                    <a:pt x="3004" y="2294"/>
                  </a:lnTo>
                  <a:lnTo>
                    <a:pt x="3006" y="2296"/>
                  </a:lnTo>
                  <a:lnTo>
                    <a:pt x="3018" y="2302"/>
                  </a:lnTo>
                  <a:lnTo>
                    <a:pt x="3018" y="2302"/>
                  </a:lnTo>
                  <a:lnTo>
                    <a:pt x="3024" y="2306"/>
                  </a:lnTo>
                  <a:lnTo>
                    <a:pt x="3032" y="2306"/>
                  </a:lnTo>
                  <a:lnTo>
                    <a:pt x="3038" y="2304"/>
                  </a:lnTo>
                  <a:lnTo>
                    <a:pt x="3044" y="2300"/>
                  </a:lnTo>
                  <a:lnTo>
                    <a:pt x="3044" y="2300"/>
                  </a:lnTo>
                  <a:lnTo>
                    <a:pt x="3050" y="2292"/>
                  </a:lnTo>
                  <a:lnTo>
                    <a:pt x="3058" y="2286"/>
                  </a:lnTo>
                  <a:lnTo>
                    <a:pt x="3064" y="2280"/>
                  </a:lnTo>
                  <a:lnTo>
                    <a:pt x="3066" y="2272"/>
                  </a:lnTo>
                  <a:lnTo>
                    <a:pt x="3066" y="2272"/>
                  </a:lnTo>
                  <a:lnTo>
                    <a:pt x="3068" y="2268"/>
                  </a:lnTo>
                  <a:lnTo>
                    <a:pt x="3070" y="2268"/>
                  </a:lnTo>
                  <a:lnTo>
                    <a:pt x="3072" y="2270"/>
                  </a:lnTo>
                  <a:lnTo>
                    <a:pt x="3080" y="2282"/>
                  </a:lnTo>
                  <a:lnTo>
                    <a:pt x="3080" y="2282"/>
                  </a:lnTo>
                  <a:lnTo>
                    <a:pt x="3084" y="2288"/>
                  </a:lnTo>
                  <a:lnTo>
                    <a:pt x="3088" y="2294"/>
                  </a:lnTo>
                  <a:lnTo>
                    <a:pt x="3090" y="2304"/>
                  </a:lnTo>
                  <a:lnTo>
                    <a:pt x="3092" y="2312"/>
                  </a:lnTo>
                  <a:lnTo>
                    <a:pt x="3092" y="2312"/>
                  </a:lnTo>
                  <a:lnTo>
                    <a:pt x="3094" y="2344"/>
                  </a:lnTo>
                  <a:lnTo>
                    <a:pt x="3098" y="2360"/>
                  </a:lnTo>
                  <a:lnTo>
                    <a:pt x="3102" y="2366"/>
                  </a:lnTo>
                  <a:lnTo>
                    <a:pt x="3106" y="2372"/>
                  </a:lnTo>
                  <a:lnTo>
                    <a:pt x="3106" y="2372"/>
                  </a:lnTo>
                  <a:lnTo>
                    <a:pt x="3110" y="2376"/>
                  </a:lnTo>
                  <a:lnTo>
                    <a:pt x="3112" y="2382"/>
                  </a:lnTo>
                  <a:lnTo>
                    <a:pt x="3116" y="2394"/>
                  </a:lnTo>
                  <a:lnTo>
                    <a:pt x="3118" y="2406"/>
                  </a:lnTo>
                  <a:lnTo>
                    <a:pt x="3116" y="2414"/>
                  </a:lnTo>
                  <a:lnTo>
                    <a:pt x="3116" y="2414"/>
                  </a:lnTo>
                  <a:lnTo>
                    <a:pt x="3116" y="2422"/>
                  </a:lnTo>
                  <a:lnTo>
                    <a:pt x="3118" y="2430"/>
                  </a:lnTo>
                  <a:lnTo>
                    <a:pt x="3120" y="2440"/>
                  </a:lnTo>
                  <a:lnTo>
                    <a:pt x="3120" y="2446"/>
                  </a:lnTo>
                  <a:lnTo>
                    <a:pt x="3120" y="2446"/>
                  </a:lnTo>
                  <a:lnTo>
                    <a:pt x="3110" y="2494"/>
                  </a:lnTo>
                  <a:lnTo>
                    <a:pt x="3110" y="2494"/>
                  </a:lnTo>
                  <a:lnTo>
                    <a:pt x="3108" y="2510"/>
                  </a:lnTo>
                  <a:lnTo>
                    <a:pt x="3108" y="2516"/>
                  </a:lnTo>
                  <a:lnTo>
                    <a:pt x="3112" y="2518"/>
                  </a:lnTo>
                  <a:lnTo>
                    <a:pt x="3112" y="2518"/>
                  </a:lnTo>
                  <a:lnTo>
                    <a:pt x="3118" y="2522"/>
                  </a:lnTo>
                  <a:lnTo>
                    <a:pt x="3128" y="2530"/>
                  </a:lnTo>
                  <a:lnTo>
                    <a:pt x="3148" y="2554"/>
                  </a:lnTo>
                  <a:lnTo>
                    <a:pt x="3148" y="2554"/>
                  </a:lnTo>
                  <a:lnTo>
                    <a:pt x="3156" y="2568"/>
                  </a:lnTo>
                  <a:lnTo>
                    <a:pt x="3162" y="2582"/>
                  </a:lnTo>
                  <a:lnTo>
                    <a:pt x="3164" y="2596"/>
                  </a:lnTo>
                  <a:lnTo>
                    <a:pt x="3164" y="2608"/>
                  </a:lnTo>
                  <a:lnTo>
                    <a:pt x="3164" y="2608"/>
                  </a:lnTo>
                  <a:lnTo>
                    <a:pt x="3166" y="2616"/>
                  </a:lnTo>
                  <a:lnTo>
                    <a:pt x="3168" y="2622"/>
                  </a:lnTo>
                  <a:lnTo>
                    <a:pt x="3176" y="2638"/>
                  </a:lnTo>
                  <a:lnTo>
                    <a:pt x="3186" y="2650"/>
                  </a:lnTo>
                  <a:lnTo>
                    <a:pt x="3192" y="2662"/>
                  </a:lnTo>
                  <a:lnTo>
                    <a:pt x="3192" y="2662"/>
                  </a:lnTo>
                  <a:lnTo>
                    <a:pt x="3196" y="2668"/>
                  </a:lnTo>
                  <a:lnTo>
                    <a:pt x="3200" y="2674"/>
                  </a:lnTo>
                  <a:lnTo>
                    <a:pt x="3218" y="2686"/>
                  </a:lnTo>
                  <a:lnTo>
                    <a:pt x="3218" y="2686"/>
                  </a:lnTo>
                  <a:lnTo>
                    <a:pt x="3248" y="2704"/>
                  </a:lnTo>
                  <a:lnTo>
                    <a:pt x="3262" y="2712"/>
                  </a:lnTo>
                  <a:lnTo>
                    <a:pt x="3266" y="2714"/>
                  </a:lnTo>
                  <a:lnTo>
                    <a:pt x="3270" y="2712"/>
                  </a:lnTo>
                  <a:lnTo>
                    <a:pt x="3270" y="2712"/>
                  </a:lnTo>
                  <a:lnTo>
                    <a:pt x="3272" y="2710"/>
                  </a:lnTo>
                  <a:lnTo>
                    <a:pt x="3272" y="2706"/>
                  </a:lnTo>
                  <a:lnTo>
                    <a:pt x="3266" y="2696"/>
                  </a:lnTo>
                  <a:lnTo>
                    <a:pt x="3260" y="2684"/>
                  </a:lnTo>
                  <a:lnTo>
                    <a:pt x="3252" y="2674"/>
                  </a:lnTo>
                  <a:lnTo>
                    <a:pt x="3252" y="2674"/>
                  </a:lnTo>
                  <a:lnTo>
                    <a:pt x="3250" y="2670"/>
                  </a:lnTo>
                  <a:lnTo>
                    <a:pt x="3248" y="2664"/>
                  </a:lnTo>
                  <a:lnTo>
                    <a:pt x="3248" y="2652"/>
                  </a:lnTo>
                  <a:lnTo>
                    <a:pt x="3250" y="2636"/>
                  </a:lnTo>
                  <a:lnTo>
                    <a:pt x="3252" y="2622"/>
                  </a:lnTo>
                  <a:lnTo>
                    <a:pt x="3252" y="2622"/>
                  </a:lnTo>
                  <a:lnTo>
                    <a:pt x="3252" y="2616"/>
                  </a:lnTo>
                  <a:lnTo>
                    <a:pt x="3250" y="2612"/>
                  </a:lnTo>
                  <a:lnTo>
                    <a:pt x="3242" y="2606"/>
                  </a:lnTo>
                  <a:lnTo>
                    <a:pt x="3236" y="2600"/>
                  </a:lnTo>
                  <a:lnTo>
                    <a:pt x="3232" y="2598"/>
                  </a:lnTo>
                  <a:lnTo>
                    <a:pt x="3230" y="2594"/>
                  </a:lnTo>
                  <a:lnTo>
                    <a:pt x="3230" y="2594"/>
                  </a:lnTo>
                  <a:lnTo>
                    <a:pt x="3228" y="2588"/>
                  </a:lnTo>
                  <a:lnTo>
                    <a:pt x="3224" y="2584"/>
                  </a:lnTo>
                  <a:lnTo>
                    <a:pt x="3220" y="2584"/>
                  </a:lnTo>
                  <a:lnTo>
                    <a:pt x="3218" y="2580"/>
                  </a:lnTo>
                  <a:lnTo>
                    <a:pt x="3218" y="2580"/>
                  </a:lnTo>
                  <a:lnTo>
                    <a:pt x="3214" y="2574"/>
                  </a:lnTo>
                  <a:lnTo>
                    <a:pt x="3204" y="2566"/>
                  </a:lnTo>
                  <a:lnTo>
                    <a:pt x="3194" y="2560"/>
                  </a:lnTo>
                  <a:lnTo>
                    <a:pt x="3184" y="2558"/>
                  </a:lnTo>
                  <a:lnTo>
                    <a:pt x="3184" y="2558"/>
                  </a:lnTo>
                  <a:lnTo>
                    <a:pt x="3180" y="2556"/>
                  </a:lnTo>
                  <a:lnTo>
                    <a:pt x="3176" y="2554"/>
                  </a:lnTo>
                  <a:lnTo>
                    <a:pt x="3168" y="2546"/>
                  </a:lnTo>
                  <a:lnTo>
                    <a:pt x="3166" y="2536"/>
                  </a:lnTo>
                  <a:lnTo>
                    <a:pt x="3166" y="2526"/>
                  </a:lnTo>
                  <a:lnTo>
                    <a:pt x="3166" y="2526"/>
                  </a:lnTo>
                  <a:lnTo>
                    <a:pt x="3164" y="2520"/>
                  </a:lnTo>
                  <a:lnTo>
                    <a:pt x="3160" y="2514"/>
                  </a:lnTo>
                  <a:lnTo>
                    <a:pt x="3156" y="2508"/>
                  </a:lnTo>
                  <a:lnTo>
                    <a:pt x="3154" y="2502"/>
                  </a:lnTo>
                  <a:lnTo>
                    <a:pt x="3154" y="2502"/>
                  </a:lnTo>
                  <a:lnTo>
                    <a:pt x="3154" y="2496"/>
                  </a:lnTo>
                  <a:lnTo>
                    <a:pt x="3150" y="2494"/>
                  </a:lnTo>
                  <a:lnTo>
                    <a:pt x="3138" y="2488"/>
                  </a:lnTo>
                  <a:lnTo>
                    <a:pt x="3138" y="2488"/>
                  </a:lnTo>
                  <a:lnTo>
                    <a:pt x="3136" y="2486"/>
                  </a:lnTo>
                  <a:lnTo>
                    <a:pt x="3134" y="2482"/>
                  </a:lnTo>
                  <a:lnTo>
                    <a:pt x="3136" y="2470"/>
                  </a:lnTo>
                  <a:lnTo>
                    <a:pt x="3140" y="2444"/>
                  </a:lnTo>
                  <a:lnTo>
                    <a:pt x="3140" y="2444"/>
                  </a:lnTo>
                  <a:lnTo>
                    <a:pt x="3144" y="2432"/>
                  </a:lnTo>
                  <a:lnTo>
                    <a:pt x="3150" y="2416"/>
                  </a:lnTo>
                  <a:lnTo>
                    <a:pt x="3156" y="2400"/>
                  </a:lnTo>
                  <a:lnTo>
                    <a:pt x="3156" y="2394"/>
                  </a:lnTo>
                  <a:lnTo>
                    <a:pt x="3156" y="2390"/>
                  </a:lnTo>
                  <a:lnTo>
                    <a:pt x="3156" y="2390"/>
                  </a:lnTo>
                  <a:lnTo>
                    <a:pt x="3156" y="2386"/>
                  </a:lnTo>
                  <a:lnTo>
                    <a:pt x="3156" y="2382"/>
                  </a:lnTo>
                  <a:lnTo>
                    <a:pt x="3160" y="2380"/>
                  </a:lnTo>
                  <a:lnTo>
                    <a:pt x="3164" y="2378"/>
                  </a:lnTo>
                  <a:lnTo>
                    <a:pt x="3168" y="2376"/>
                  </a:lnTo>
                  <a:lnTo>
                    <a:pt x="3174" y="2378"/>
                  </a:lnTo>
                  <a:lnTo>
                    <a:pt x="3176" y="2380"/>
                  </a:lnTo>
                  <a:lnTo>
                    <a:pt x="3178" y="2382"/>
                  </a:lnTo>
                  <a:lnTo>
                    <a:pt x="3178" y="2382"/>
                  </a:lnTo>
                  <a:lnTo>
                    <a:pt x="3182" y="2390"/>
                  </a:lnTo>
                  <a:lnTo>
                    <a:pt x="3184" y="2396"/>
                  </a:lnTo>
                  <a:lnTo>
                    <a:pt x="3190" y="2398"/>
                  </a:lnTo>
                  <a:lnTo>
                    <a:pt x="3200" y="2400"/>
                  </a:lnTo>
                  <a:lnTo>
                    <a:pt x="3200" y="2400"/>
                  </a:lnTo>
                  <a:lnTo>
                    <a:pt x="3204" y="2400"/>
                  </a:lnTo>
                  <a:lnTo>
                    <a:pt x="3208" y="2400"/>
                  </a:lnTo>
                  <a:lnTo>
                    <a:pt x="3216" y="2406"/>
                  </a:lnTo>
                  <a:lnTo>
                    <a:pt x="3220" y="2410"/>
                  </a:lnTo>
                  <a:lnTo>
                    <a:pt x="3228" y="2414"/>
                  </a:lnTo>
                  <a:lnTo>
                    <a:pt x="3228" y="2414"/>
                  </a:lnTo>
                  <a:lnTo>
                    <a:pt x="3232" y="2416"/>
                  </a:lnTo>
                  <a:lnTo>
                    <a:pt x="3236" y="2418"/>
                  </a:lnTo>
                  <a:lnTo>
                    <a:pt x="3238" y="2426"/>
                  </a:lnTo>
                  <a:lnTo>
                    <a:pt x="3238" y="2440"/>
                  </a:lnTo>
                  <a:lnTo>
                    <a:pt x="3238" y="2440"/>
                  </a:lnTo>
                  <a:lnTo>
                    <a:pt x="3240" y="2444"/>
                  </a:lnTo>
                  <a:lnTo>
                    <a:pt x="3244" y="2444"/>
                  </a:lnTo>
                  <a:lnTo>
                    <a:pt x="3254" y="2442"/>
                  </a:lnTo>
                  <a:lnTo>
                    <a:pt x="3254" y="2442"/>
                  </a:lnTo>
                  <a:lnTo>
                    <a:pt x="3256" y="2442"/>
                  </a:lnTo>
                  <a:lnTo>
                    <a:pt x="3256" y="2444"/>
                  </a:lnTo>
                  <a:lnTo>
                    <a:pt x="3256" y="2448"/>
                  </a:lnTo>
                  <a:lnTo>
                    <a:pt x="3254" y="2452"/>
                  </a:lnTo>
                  <a:lnTo>
                    <a:pt x="3256" y="2458"/>
                  </a:lnTo>
                  <a:lnTo>
                    <a:pt x="3256" y="2458"/>
                  </a:lnTo>
                  <a:lnTo>
                    <a:pt x="3258" y="2458"/>
                  </a:lnTo>
                  <a:lnTo>
                    <a:pt x="3260" y="2458"/>
                  </a:lnTo>
                  <a:lnTo>
                    <a:pt x="3268" y="2458"/>
                  </a:lnTo>
                  <a:lnTo>
                    <a:pt x="3274" y="2456"/>
                  </a:lnTo>
                  <a:lnTo>
                    <a:pt x="3276" y="2458"/>
                  </a:lnTo>
                  <a:lnTo>
                    <a:pt x="3278" y="2460"/>
                  </a:lnTo>
                  <a:lnTo>
                    <a:pt x="3278" y="2460"/>
                  </a:lnTo>
                  <a:lnTo>
                    <a:pt x="3280" y="2464"/>
                  </a:lnTo>
                  <a:lnTo>
                    <a:pt x="3284" y="2466"/>
                  </a:lnTo>
                  <a:lnTo>
                    <a:pt x="3292" y="2472"/>
                  </a:lnTo>
                  <a:lnTo>
                    <a:pt x="3292" y="2472"/>
                  </a:lnTo>
                  <a:lnTo>
                    <a:pt x="3294" y="2474"/>
                  </a:lnTo>
                  <a:lnTo>
                    <a:pt x="3294" y="2476"/>
                  </a:lnTo>
                  <a:lnTo>
                    <a:pt x="3290" y="2480"/>
                  </a:lnTo>
                  <a:lnTo>
                    <a:pt x="3286" y="2488"/>
                  </a:lnTo>
                  <a:lnTo>
                    <a:pt x="3284" y="2492"/>
                  </a:lnTo>
                  <a:lnTo>
                    <a:pt x="3284" y="2496"/>
                  </a:lnTo>
                  <a:lnTo>
                    <a:pt x="3284" y="2496"/>
                  </a:lnTo>
                  <a:lnTo>
                    <a:pt x="3286" y="2504"/>
                  </a:lnTo>
                  <a:lnTo>
                    <a:pt x="3290" y="2508"/>
                  </a:lnTo>
                  <a:lnTo>
                    <a:pt x="3294" y="2510"/>
                  </a:lnTo>
                  <a:lnTo>
                    <a:pt x="3298" y="2506"/>
                  </a:lnTo>
                  <a:lnTo>
                    <a:pt x="3298" y="2506"/>
                  </a:lnTo>
                  <a:lnTo>
                    <a:pt x="3310" y="2496"/>
                  </a:lnTo>
                  <a:lnTo>
                    <a:pt x="3322" y="2488"/>
                  </a:lnTo>
                  <a:lnTo>
                    <a:pt x="3322" y="2488"/>
                  </a:lnTo>
                  <a:lnTo>
                    <a:pt x="3326" y="2486"/>
                  </a:lnTo>
                  <a:lnTo>
                    <a:pt x="3326" y="2482"/>
                  </a:lnTo>
                  <a:lnTo>
                    <a:pt x="3326" y="2478"/>
                  </a:lnTo>
                  <a:lnTo>
                    <a:pt x="3330" y="2478"/>
                  </a:lnTo>
                  <a:lnTo>
                    <a:pt x="3330" y="2478"/>
                  </a:lnTo>
                  <a:lnTo>
                    <a:pt x="3332" y="2476"/>
                  </a:lnTo>
                  <a:lnTo>
                    <a:pt x="3334" y="2472"/>
                  </a:lnTo>
                  <a:lnTo>
                    <a:pt x="3336" y="2464"/>
                  </a:lnTo>
                  <a:lnTo>
                    <a:pt x="3336" y="2464"/>
                  </a:lnTo>
                  <a:lnTo>
                    <a:pt x="3338" y="2460"/>
                  </a:lnTo>
                  <a:lnTo>
                    <a:pt x="3342" y="2460"/>
                  </a:lnTo>
                  <a:lnTo>
                    <a:pt x="3354" y="2460"/>
                  </a:lnTo>
                  <a:lnTo>
                    <a:pt x="3354" y="2460"/>
                  </a:lnTo>
                  <a:lnTo>
                    <a:pt x="3362" y="2458"/>
                  </a:lnTo>
                  <a:lnTo>
                    <a:pt x="3370" y="2454"/>
                  </a:lnTo>
                  <a:lnTo>
                    <a:pt x="3390" y="2442"/>
                  </a:lnTo>
                  <a:lnTo>
                    <a:pt x="3390" y="2442"/>
                  </a:lnTo>
                  <a:lnTo>
                    <a:pt x="3398" y="2436"/>
                  </a:lnTo>
                  <a:lnTo>
                    <a:pt x="3404" y="2430"/>
                  </a:lnTo>
                  <a:lnTo>
                    <a:pt x="3408" y="2422"/>
                  </a:lnTo>
                  <a:lnTo>
                    <a:pt x="3412" y="2406"/>
                  </a:lnTo>
                  <a:lnTo>
                    <a:pt x="3412" y="2406"/>
                  </a:lnTo>
                  <a:lnTo>
                    <a:pt x="3412" y="2396"/>
                  </a:lnTo>
                  <a:lnTo>
                    <a:pt x="3412" y="2386"/>
                  </a:lnTo>
                  <a:lnTo>
                    <a:pt x="3410" y="2368"/>
                  </a:lnTo>
                  <a:lnTo>
                    <a:pt x="3406" y="2344"/>
                  </a:lnTo>
                  <a:lnTo>
                    <a:pt x="3406" y="2344"/>
                  </a:lnTo>
                  <a:lnTo>
                    <a:pt x="3402" y="2334"/>
                  </a:lnTo>
                  <a:lnTo>
                    <a:pt x="3394" y="2318"/>
                  </a:lnTo>
                  <a:lnTo>
                    <a:pt x="3386" y="2306"/>
                  </a:lnTo>
                  <a:lnTo>
                    <a:pt x="3382" y="2302"/>
                  </a:lnTo>
                  <a:lnTo>
                    <a:pt x="3380" y="2300"/>
                  </a:lnTo>
                  <a:lnTo>
                    <a:pt x="3380" y="2300"/>
                  </a:lnTo>
                  <a:lnTo>
                    <a:pt x="3376" y="2300"/>
                  </a:lnTo>
                  <a:lnTo>
                    <a:pt x="3370" y="2296"/>
                  </a:lnTo>
                  <a:lnTo>
                    <a:pt x="3358" y="2284"/>
                  </a:lnTo>
                  <a:lnTo>
                    <a:pt x="3336" y="2264"/>
                  </a:lnTo>
                  <a:lnTo>
                    <a:pt x="3336" y="2264"/>
                  </a:lnTo>
                  <a:lnTo>
                    <a:pt x="3332" y="2258"/>
                  </a:lnTo>
                  <a:lnTo>
                    <a:pt x="3330" y="2254"/>
                  </a:lnTo>
                  <a:lnTo>
                    <a:pt x="3328" y="2248"/>
                  </a:lnTo>
                  <a:lnTo>
                    <a:pt x="3324" y="2242"/>
                  </a:lnTo>
                  <a:lnTo>
                    <a:pt x="3324" y="2242"/>
                  </a:lnTo>
                  <a:lnTo>
                    <a:pt x="3318" y="2236"/>
                  </a:lnTo>
                  <a:lnTo>
                    <a:pt x="3316" y="2226"/>
                  </a:lnTo>
                  <a:lnTo>
                    <a:pt x="3316" y="2216"/>
                  </a:lnTo>
                  <a:lnTo>
                    <a:pt x="3316" y="2206"/>
                  </a:lnTo>
                  <a:lnTo>
                    <a:pt x="3316" y="2206"/>
                  </a:lnTo>
                  <a:lnTo>
                    <a:pt x="3318" y="2200"/>
                  </a:lnTo>
                  <a:lnTo>
                    <a:pt x="3320" y="2198"/>
                  </a:lnTo>
                  <a:lnTo>
                    <a:pt x="3328" y="2192"/>
                  </a:lnTo>
                  <a:lnTo>
                    <a:pt x="3334" y="2186"/>
                  </a:lnTo>
                  <a:lnTo>
                    <a:pt x="3336" y="2184"/>
                  </a:lnTo>
                  <a:lnTo>
                    <a:pt x="3336" y="2182"/>
                  </a:lnTo>
                  <a:lnTo>
                    <a:pt x="3336" y="2182"/>
                  </a:lnTo>
                  <a:lnTo>
                    <a:pt x="3336" y="2176"/>
                  </a:lnTo>
                  <a:lnTo>
                    <a:pt x="3338" y="2170"/>
                  </a:lnTo>
                  <a:lnTo>
                    <a:pt x="3340" y="2166"/>
                  </a:lnTo>
                  <a:lnTo>
                    <a:pt x="3346" y="2166"/>
                  </a:lnTo>
                  <a:lnTo>
                    <a:pt x="3346" y="2166"/>
                  </a:lnTo>
                  <a:lnTo>
                    <a:pt x="3352" y="2164"/>
                  </a:lnTo>
                  <a:lnTo>
                    <a:pt x="3358" y="2160"/>
                  </a:lnTo>
                  <a:lnTo>
                    <a:pt x="3364" y="2156"/>
                  </a:lnTo>
                  <a:lnTo>
                    <a:pt x="3368" y="2152"/>
                  </a:lnTo>
                  <a:lnTo>
                    <a:pt x="3368" y="2152"/>
                  </a:lnTo>
                  <a:lnTo>
                    <a:pt x="3370" y="2150"/>
                  </a:lnTo>
                  <a:lnTo>
                    <a:pt x="3372" y="2148"/>
                  </a:lnTo>
                  <a:lnTo>
                    <a:pt x="3378" y="2148"/>
                  </a:lnTo>
                  <a:lnTo>
                    <a:pt x="3384" y="2148"/>
                  </a:lnTo>
                  <a:lnTo>
                    <a:pt x="3386" y="2146"/>
                  </a:lnTo>
                  <a:lnTo>
                    <a:pt x="3386" y="2144"/>
                  </a:lnTo>
                  <a:lnTo>
                    <a:pt x="3386" y="2144"/>
                  </a:lnTo>
                  <a:lnTo>
                    <a:pt x="3390" y="2140"/>
                  </a:lnTo>
                  <a:lnTo>
                    <a:pt x="3394" y="2140"/>
                  </a:lnTo>
                  <a:lnTo>
                    <a:pt x="3398" y="2142"/>
                  </a:lnTo>
                  <a:lnTo>
                    <a:pt x="3402" y="2146"/>
                  </a:lnTo>
                  <a:lnTo>
                    <a:pt x="3402" y="2146"/>
                  </a:lnTo>
                  <a:lnTo>
                    <a:pt x="3404" y="2150"/>
                  </a:lnTo>
                  <a:lnTo>
                    <a:pt x="3408" y="2150"/>
                  </a:lnTo>
                  <a:lnTo>
                    <a:pt x="3412" y="2150"/>
                  </a:lnTo>
                  <a:lnTo>
                    <a:pt x="3418" y="2146"/>
                  </a:lnTo>
                  <a:lnTo>
                    <a:pt x="3418" y="2146"/>
                  </a:lnTo>
                  <a:lnTo>
                    <a:pt x="3420" y="2144"/>
                  </a:lnTo>
                  <a:lnTo>
                    <a:pt x="3422" y="2144"/>
                  </a:lnTo>
                  <a:lnTo>
                    <a:pt x="3426" y="2146"/>
                  </a:lnTo>
                  <a:lnTo>
                    <a:pt x="3426" y="2152"/>
                  </a:lnTo>
                  <a:lnTo>
                    <a:pt x="3424" y="2156"/>
                  </a:lnTo>
                  <a:lnTo>
                    <a:pt x="3424" y="2156"/>
                  </a:lnTo>
                  <a:lnTo>
                    <a:pt x="3422" y="2162"/>
                  </a:lnTo>
                  <a:lnTo>
                    <a:pt x="3422" y="2168"/>
                  </a:lnTo>
                  <a:lnTo>
                    <a:pt x="3426" y="2174"/>
                  </a:lnTo>
                  <a:lnTo>
                    <a:pt x="3430" y="2180"/>
                  </a:lnTo>
                  <a:lnTo>
                    <a:pt x="3430" y="2180"/>
                  </a:lnTo>
                  <a:lnTo>
                    <a:pt x="3436" y="2182"/>
                  </a:lnTo>
                  <a:lnTo>
                    <a:pt x="3438" y="2180"/>
                  </a:lnTo>
                  <a:lnTo>
                    <a:pt x="3438" y="2174"/>
                  </a:lnTo>
                  <a:lnTo>
                    <a:pt x="3438" y="2168"/>
                  </a:lnTo>
                  <a:lnTo>
                    <a:pt x="3438" y="2168"/>
                  </a:lnTo>
                  <a:lnTo>
                    <a:pt x="3438" y="2166"/>
                  </a:lnTo>
                  <a:lnTo>
                    <a:pt x="3440" y="2164"/>
                  </a:lnTo>
                  <a:lnTo>
                    <a:pt x="3446" y="2158"/>
                  </a:lnTo>
                  <a:lnTo>
                    <a:pt x="3460" y="2152"/>
                  </a:lnTo>
                  <a:lnTo>
                    <a:pt x="3476" y="2146"/>
                  </a:lnTo>
                  <a:lnTo>
                    <a:pt x="3476" y="2146"/>
                  </a:lnTo>
                  <a:lnTo>
                    <a:pt x="3496" y="2138"/>
                  </a:lnTo>
                  <a:lnTo>
                    <a:pt x="3512" y="2128"/>
                  </a:lnTo>
                  <a:lnTo>
                    <a:pt x="3524" y="2120"/>
                  </a:lnTo>
                  <a:lnTo>
                    <a:pt x="3530" y="2114"/>
                  </a:lnTo>
                  <a:lnTo>
                    <a:pt x="3530" y="2114"/>
                  </a:lnTo>
                  <a:lnTo>
                    <a:pt x="3530" y="2114"/>
                  </a:lnTo>
                  <a:lnTo>
                    <a:pt x="3532" y="2114"/>
                  </a:lnTo>
                  <a:lnTo>
                    <a:pt x="3540" y="2116"/>
                  </a:lnTo>
                  <a:lnTo>
                    <a:pt x="3548" y="2118"/>
                  </a:lnTo>
                  <a:lnTo>
                    <a:pt x="3552" y="2118"/>
                  </a:lnTo>
                  <a:lnTo>
                    <a:pt x="3556" y="2116"/>
                  </a:lnTo>
                  <a:lnTo>
                    <a:pt x="3556" y="2116"/>
                  </a:lnTo>
                  <a:lnTo>
                    <a:pt x="3566" y="2112"/>
                  </a:lnTo>
                  <a:lnTo>
                    <a:pt x="3580" y="2110"/>
                  </a:lnTo>
                  <a:lnTo>
                    <a:pt x="3604" y="2108"/>
                  </a:lnTo>
                  <a:lnTo>
                    <a:pt x="3604" y="2108"/>
                  </a:lnTo>
                  <a:lnTo>
                    <a:pt x="3608" y="2106"/>
                  </a:lnTo>
                  <a:lnTo>
                    <a:pt x="3610" y="2104"/>
                  </a:lnTo>
                  <a:lnTo>
                    <a:pt x="3614" y="2100"/>
                  </a:lnTo>
                  <a:lnTo>
                    <a:pt x="3620" y="2094"/>
                  </a:lnTo>
                  <a:lnTo>
                    <a:pt x="3620" y="2094"/>
                  </a:lnTo>
                  <a:lnTo>
                    <a:pt x="3626" y="2086"/>
                  </a:lnTo>
                  <a:lnTo>
                    <a:pt x="3630" y="2084"/>
                  </a:lnTo>
                  <a:lnTo>
                    <a:pt x="3636" y="2082"/>
                  </a:lnTo>
                  <a:lnTo>
                    <a:pt x="3636" y="2082"/>
                  </a:lnTo>
                  <a:lnTo>
                    <a:pt x="3642" y="2078"/>
                  </a:lnTo>
                  <a:lnTo>
                    <a:pt x="3646" y="2074"/>
                  </a:lnTo>
                  <a:lnTo>
                    <a:pt x="3650" y="2068"/>
                  </a:lnTo>
                  <a:lnTo>
                    <a:pt x="3652" y="2064"/>
                  </a:lnTo>
                  <a:lnTo>
                    <a:pt x="3652" y="2064"/>
                  </a:lnTo>
                  <a:lnTo>
                    <a:pt x="3652" y="2062"/>
                  </a:lnTo>
                  <a:lnTo>
                    <a:pt x="3654" y="2062"/>
                  </a:lnTo>
                  <a:lnTo>
                    <a:pt x="3660" y="2058"/>
                  </a:lnTo>
                  <a:lnTo>
                    <a:pt x="3666" y="2056"/>
                  </a:lnTo>
                  <a:lnTo>
                    <a:pt x="3668" y="2054"/>
                  </a:lnTo>
                  <a:lnTo>
                    <a:pt x="3670" y="2052"/>
                  </a:lnTo>
                  <a:lnTo>
                    <a:pt x="3670" y="2052"/>
                  </a:lnTo>
                  <a:lnTo>
                    <a:pt x="3672" y="2050"/>
                  </a:lnTo>
                  <a:lnTo>
                    <a:pt x="3676" y="2046"/>
                  </a:lnTo>
                  <a:lnTo>
                    <a:pt x="3682" y="2044"/>
                  </a:lnTo>
                  <a:lnTo>
                    <a:pt x="3684" y="2040"/>
                  </a:lnTo>
                  <a:lnTo>
                    <a:pt x="3684" y="2040"/>
                  </a:lnTo>
                  <a:lnTo>
                    <a:pt x="3684" y="2036"/>
                  </a:lnTo>
                  <a:lnTo>
                    <a:pt x="3688" y="2034"/>
                  </a:lnTo>
                  <a:lnTo>
                    <a:pt x="3692" y="2032"/>
                  </a:lnTo>
                  <a:lnTo>
                    <a:pt x="3694" y="2030"/>
                  </a:lnTo>
                  <a:lnTo>
                    <a:pt x="3694" y="2030"/>
                  </a:lnTo>
                  <a:lnTo>
                    <a:pt x="3696" y="2024"/>
                  </a:lnTo>
                  <a:lnTo>
                    <a:pt x="3696" y="2018"/>
                  </a:lnTo>
                  <a:lnTo>
                    <a:pt x="3696" y="2012"/>
                  </a:lnTo>
                  <a:lnTo>
                    <a:pt x="3696" y="2010"/>
                  </a:lnTo>
                  <a:lnTo>
                    <a:pt x="3698" y="2008"/>
                  </a:lnTo>
                  <a:lnTo>
                    <a:pt x="3698" y="2008"/>
                  </a:lnTo>
                  <a:lnTo>
                    <a:pt x="3700" y="2008"/>
                  </a:lnTo>
                  <a:lnTo>
                    <a:pt x="3700" y="2006"/>
                  </a:lnTo>
                  <a:lnTo>
                    <a:pt x="3700" y="2002"/>
                  </a:lnTo>
                  <a:lnTo>
                    <a:pt x="3694" y="1996"/>
                  </a:lnTo>
                  <a:lnTo>
                    <a:pt x="3694" y="1996"/>
                  </a:lnTo>
                  <a:lnTo>
                    <a:pt x="3696" y="1992"/>
                  </a:lnTo>
                  <a:lnTo>
                    <a:pt x="3702" y="1992"/>
                  </a:lnTo>
                  <a:lnTo>
                    <a:pt x="3708" y="1990"/>
                  </a:lnTo>
                  <a:lnTo>
                    <a:pt x="3714" y="1986"/>
                  </a:lnTo>
                  <a:lnTo>
                    <a:pt x="3714" y="1986"/>
                  </a:lnTo>
                  <a:lnTo>
                    <a:pt x="3718" y="1982"/>
                  </a:lnTo>
                  <a:lnTo>
                    <a:pt x="3722" y="1978"/>
                  </a:lnTo>
                  <a:lnTo>
                    <a:pt x="3724" y="1974"/>
                  </a:lnTo>
                  <a:lnTo>
                    <a:pt x="3726" y="1968"/>
                  </a:lnTo>
                  <a:lnTo>
                    <a:pt x="3726" y="1968"/>
                  </a:lnTo>
                  <a:lnTo>
                    <a:pt x="3728" y="1962"/>
                  </a:lnTo>
                  <a:lnTo>
                    <a:pt x="3734" y="1958"/>
                  </a:lnTo>
                  <a:lnTo>
                    <a:pt x="3744" y="1950"/>
                  </a:lnTo>
                  <a:lnTo>
                    <a:pt x="3744" y="1950"/>
                  </a:lnTo>
                  <a:lnTo>
                    <a:pt x="3748" y="1948"/>
                  </a:lnTo>
                  <a:lnTo>
                    <a:pt x="3750" y="1942"/>
                  </a:lnTo>
                  <a:lnTo>
                    <a:pt x="3750" y="1936"/>
                  </a:lnTo>
                  <a:lnTo>
                    <a:pt x="3750" y="1928"/>
                  </a:lnTo>
                  <a:lnTo>
                    <a:pt x="3750" y="1928"/>
                  </a:lnTo>
                  <a:lnTo>
                    <a:pt x="3750" y="1924"/>
                  </a:lnTo>
                  <a:lnTo>
                    <a:pt x="3754" y="1922"/>
                  </a:lnTo>
                  <a:lnTo>
                    <a:pt x="3756" y="1920"/>
                  </a:lnTo>
                  <a:lnTo>
                    <a:pt x="3754" y="1918"/>
                  </a:lnTo>
                  <a:lnTo>
                    <a:pt x="3754" y="1918"/>
                  </a:lnTo>
                  <a:lnTo>
                    <a:pt x="3752" y="1914"/>
                  </a:lnTo>
                  <a:lnTo>
                    <a:pt x="3754" y="1910"/>
                  </a:lnTo>
                  <a:lnTo>
                    <a:pt x="3760" y="1906"/>
                  </a:lnTo>
                  <a:lnTo>
                    <a:pt x="3766" y="1902"/>
                  </a:lnTo>
                  <a:lnTo>
                    <a:pt x="3766" y="1902"/>
                  </a:lnTo>
                  <a:lnTo>
                    <a:pt x="3768" y="1900"/>
                  </a:lnTo>
                  <a:lnTo>
                    <a:pt x="3768" y="1900"/>
                  </a:lnTo>
                  <a:lnTo>
                    <a:pt x="3766" y="1898"/>
                  </a:lnTo>
                  <a:lnTo>
                    <a:pt x="3760" y="1896"/>
                  </a:lnTo>
                  <a:lnTo>
                    <a:pt x="3754" y="1898"/>
                  </a:lnTo>
                  <a:lnTo>
                    <a:pt x="3754" y="1898"/>
                  </a:lnTo>
                  <a:lnTo>
                    <a:pt x="3752" y="1900"/>
                  </a:lnTo>
                  <a:lnTo>
                    <a:pt x="3750" y="1898"/>
                  </a:lnTo>
                  <a:lnTo>
                    <a:pt x="3746" y="1894"/>
                  </a:lnTo>
                  <a:lnTo>
                    <a:pt x="3742" y="1892"/>
                  </a:lnTo>
                  <a:lnTo>
                    <a:pt x="3740" y="1892"/>
                  </a:lnTo>
                  <a:lnTo>
                    <a:pt x="3738" y="1892"/>
                  </a:lnTo>
                  <a:lnTo>
                    <a:pt x="3738" y="1892"/>
                  </a:lnTo>
                  <a:lnTo>
                    <a:pt x="3736" y="1894"/>
                  </a:lnTo>
                  <a:lnTo>
                    <a:pt x="3734" y="1894"/>
                  </a:lnTo>
                  <a:lnTo>
                    <a:pt x="3728" y="1894"/>
                  </a:lnTo>
                  <a:lnTo>
                    <a:pt x="3726" y="1890"/>
                  </a:lnTo>
                  <a:lnTo>
                    <a:pt x="3726" y="1888"/>
                  </a:lnTo>
                  <a:lnTo>
                    <a:pt x="3730" y="1888"/>
                  </a:lnTo>
                  <a:lnTo>
                    <a:pt x="3730" y="1888"/>
                  </a:lnTo>
                  <a:lnTo>
                    <a:pt x="3736" y="1884"/>
                  </a:lnTo>
                  <a:lnTo>
                    <a:pt x="3744" y="1880"/>
                  </a:lnTo>
                  <a:lnTo>
                    <a:pt x="3758" y="1874"/>
                  </a:lnTo>
                  <a:lnTo>
                    <a:pt x="3758" y="1874"/>
                  </a:lnTo>
                  <a:lnTo>
                    <a:pt x="3760" y="1872"/>
                  </a:lnTo>
                  <a:lnTo>
                    <a:pt x="3758" y="1870"/>
                  </a:lnTo>
                  <a:lnTo>
                    <a:pt x="3754" y="1864"/>
                  </a:lnTo>
                  <a:lnTo>
                    <a:pt x="3748" y="1860"/>
                  </a:lnTo>
                  <a:lnTo>
                    <a:pt x="3742" y="1858"/>
                  </a:lnTo>
                  <a:lnTo>
                    <a:pt x="3742" y="1858"/>
                  </a:lnTo>
                  <a:lnTo>
                    <a:pt x="3738" y="1858"/>
                  </a:lnTo>
                  <a:lnTo>
                    <a:pt x="3736" y="1856"/>
                  </a:lnTo>
                  <a:lnTo>
                    <a:pt x="3730" y="1850"/>
                  </a:lnTo>
                  <a:lnTo>
                    <a:pt x="3724" y="1844"/>
                  </a:lnTo>
                  <a:lnTo>
                    <a:pt x="3720" y="1842"/>
                  </a:lnTo>
                  <a:lnTo>
                    <a:pt x="3718" y="1840"/>
                  </a:lnTo>
                  <a:lnTo>
                    <a:pt x="3718" y="1840"/>
                  </a:lnTo>
                  <a:lnTo>
                    <a:pt x="3714" y="1840"/>
                  </a:lnTo>
                  <a:lnTo>
                    <a:pt x="3718" y="1838"/>
                  </a:lnTo>
                  <a:lnTo>
                    <a:pt x="3724" y="1838"/>
                  </a:lnTo>
                  <a:lnTo>
                    <a:pt x="3732" y="1840"/>
                  </a:lnTo>
                  <a:lnTo>
                    <a:pt x="3732" y="1840"/>
                  </a:lnTo>
                  <a:lnTo>
                    <a:pt x="3746" y="1846"/>
                  </a:lnTo>
                  <a:lnTo>
                    <a:pt x="3752" y="1846"/>
                  </a:lnTo>
                  <a:lnTo>
                    <a:pt x="3756" y="1844"/>
                  </a:lnTo>
                  <a:lnTo>
                    <a:pt x="3756" y="1844"/>
                  </a:lnTo>
                  <a:lnTo>
                    <a:pt x="3758" y="1842"/>
                  </a:lnTo>
                  <a:lnTo>
                    <a:pt x="3756" y="1840"/>
                  </a:lnTo>
                  <a:lnTo>
                    <a:pt x="3750" y="1832"/>
                  </a:lnTo>
                  <a:lnTo>
                    <a:pt x="3734" y="1818"/>
                  </a:lnTo>
                  <a:lnTo>
                    <a:pt x="3734" y="1818"/>
                  </a:lnTo>
                  <a:lnTo>
                    <a:pt x="3730" y="1814"/>
                  </a:lnTo>
                  <a:lnTo>
                    <a:pt x="3730" y="1810"/>
                  </a:lnTo>
                  <a:lnTo>
                    <a:pt x="3730" y="1806"/>
                  </a:lnTo>
                  <a:lnTo>
                    <a:pt x="3728" y="1802"/>
                  </a:lnTo>
                  <a:lnTo>
                    <a:pt x="3728" y="1802"/>
                  </a:lnTo>
                  <a:lnTo>
                    <a:pt x="3724" y="1798"/>
                  </a:lnTo>
                  <a:lnTo>
                    <a:pt x="3720" y="1788"/>
                  </a:lnTo>
                  <a:lnTo>
                    <a:pt x="3712" y="1770"/>
                  </a:lnTo>
                  <a:lnTo>
                    <a:pt x="3712" y="1770"/>
                  </a:lnTo>
                  <a:lnTo>
                    <a:pt x="3710" y="1766"/>
                  </a:lnTo>
                  <a:lnTo>
                    <a:pt x="3706" y="1764"/>
                  </a:lnTo>
                  <a:lnTo>
                    <a:pt x="3700" y="1760"/>
                  </a:lnTo>
                  <a:lnTo>
                    <a:pt x="3692" y="1756"/>
                  </a:lnTo>
                  <a:lnTo>
                    <a:pt x="3688" y="1752"/>
                  </a:lnTo>
                  <a:lnTo>
                    <a:pt x="3688" y="1752"/>
                  </a:lnTo>
                  <a:lnTo>
                    <a:pt x="3686" y="1746"/>
                  </a:lnTo>
                  <a:lnTo>
                    <a:pt x="3688" y="1740"/>
                  </a:lnTo>
                  <a:lnTo>
                    <a:pt x="3692" y="1732"/>
                  </a:lnTo>
                  <a:lnTo>
                    <a:pt x="3700" y="1726"/>
                  </a:lnTo>
                  <a:lnTo>
                    <a:pt x="3700" y="1726"/>
                  </a:lnTo>
                  <a:lnTo>
                    <a:pt x="3706" y="1722"/>
                  </a:lnTo>
                  <a:lnTo>
                    <a:pt x="3710" y="1718"/>
                  </a:lnTo>
                  <a:lnTo>
                    <a:pt x="3710" y="1714"/>
                  </a:lnTo>
                  <a:lnTo>
                    <a:pt x="3714" y="1712"/>
                  </a:lnTo>
                  <a:lnTo>
                    <a:pt x="3714" y="1712"/>
                  </a:lnTo>
                  <a:lnTo>
                    <a:pt x="3718" y="1712"/>
                  </a:lnTo>
                  <a:lnTo>
                    <a:pt x="3720" y="1712"/>
                  </a:lnTo>
                  <a:lnTo>
                    <a:pt x="3724" y="1708"/>
                  </a:lnTo>
                  <a:lnTo>
                    <a:pt x="3728" y="1702"/>
                  </a:lnTo>
                  <a:lnTo>
                    <a:pt x="3728" y="1702"/>
                  </a:lnTo>
                  <a:lnTo>
                    <a:pt x="3732" y="1698"/>
                  </a:lnTo>
                  <a:lnTo>
                    <a:pt x="3736" y="1696"/>
                  </a:lnTo>
                  <a:lnTo>
                    <a:pt x="3740" y="1696"/>
                  </a:lnTo>
                  <a:lnTo>
                    <a:pt x="3744" y="1694"/>
                  </a:lnTo>
                  <a:lnTo>
                    <a:pt x="3744" y="1694"/>
                  </a:lnTo>
                  <a:lnTo>
                    <a:pt x="3750" y="1690"/>
                  </a:lnTo>
                  <a:lnTo>
                    <a:pt x="3760" y="1688"/>
                  </a:lnTo>
                  <a:lnTo>
                    <a:pt x="3768" y="1688"/>
                  </a:lnTo>
                  <a:lnTo>
                    <a:pt x="3776" y="1684"/>
                  </a:lnTo>
                  <a:lnTo>
                    <a:pt x="3776" y="1684"/>
                  </a:lnTo>
                  <a:lnTo>
                    <a:pt x="3778" y="1682"/>
                  </a:lnTo>
                  <a:lnTo>
                    <a:pt x="3778" y="1680"/>
                  </a:lnTo>
                  <a:lnTo>
                    <a:pt x="3774" y="1672"/>
                  </a:lnTo>
                  <a:lnTo>
                    <a:pt x="3768" y="1668"/>
                  </a:lnTo>
                  <a:lnTo>
                    <a:pt x="3764" y="1666"/>
                  </a:lnTo>
                  <a:lnTo>
                    <a:pt x="3760" y="1666"/>
                  </a:lnTo>
                  <a:lnTo>
                    <a:pt x="3760" y="1666"/>
                  </a:lnTo>
                  <a:lnTo>
                    <a:pt x="3752" y="1668"/>
                  </a:lnTo>
                  <a:lnTo>
                    <a:pt x="3746" y="1666"/>
                  </a:lnTo>
                  <a:lnTo>
                    <a:pt x="3738" y="1662"/>
                  </a:lnTo>
                  <a:lnTo>
                    <a:pt x="3734" y="1656"/>
                  </a:lnTo>
                  <a:lnTo>
                    <a:pt x="3734" y="1656"/>
                  </a:lnTo>
                  <a:lnTo>
                    <a:pt x="3730" y="1654"/>
                  </a:lnTo>
                  <a:lnTo>
                    <a:pt x="3726" y="1654"/>
                  </a:lnTo>
                  <a:lnTo>
                    <a:pt x="3718" y="1662"/>
                  </a:lnTo>
                  <a:lnTo>
                    <a:pt x="3708" y="1672"/>
                  </a:lnTo>
                  <a:lnTo>
                    <a:pt x="3696" y="1680"/>
                  </a:lnTo>
                  <a:lnTo>
                    <a:pt x="3696" y="1680"/>
                  </a:lnTo>
                  <a:lnTo>
                    <a:pt x="3692" y="1682"/>
                  </a:lnTo>
                  <a:lnTo>
                    <a:pt x="3688" y="1680"/>
                  </a:lnTo>
                  <a:lnTo>
                    <a:pt x="3684" y="1678"/>
                  </a:lnTo>
                  <a:lnTo>
                    <a:pt x="3682" y="1676"/>
                  </a:lnTo>
                  <a:lnTo>
                    <a:pt x="3678" y="1666"/>
                  </a:lnTo>
                  <a:lnTo>
                    <a:pt x="3680" y="1658"/>
                  </a:lnTo>
                  <a:lnTo>
                    <a:pt x="3680" y="1658"/>
                  </a:lnTo>
                  <a:lnTo>
                    <a:pt x="3680" y="1654"/>
                  </a:lnTo>
                  <a:lnTo>
                    <a:pt x="3680" y="1652"/>
                  </a:lnTo>
                  <a:lnTo>
                    <a:pt x="3678" y="1650"/>
                  </a:lnTo>
                  <a:lnTo>
                    <a:pt x="3674" y="1648"/>
                  </a:lnTo>
                  <a:lnTo>
                    <a:pt x="3664" y="1648"/>
                  </a:lnTo>
                  <a:lnTo>
                    <a:pt x="3652" y="1648"/>
                  </a:lnTo>
                  <a:lnTo>
                    <a:pt x="3652" y="1648"/>
                  </a:lnTo>
                  <a:lnTo>
                    <a:pt x="3646" y="1648"/>
                  </a:lnTo>
                  <a:lnTo>
                    <a:pt x="3642" y="1644"/>
                  </a:lnTo>
                  <a:lnTo>
                    <a:pt x="3640" y="1638"/>
                  </a:lnTo>
                  <a:lnTo>
                    <a:pt x="3640" y="1632"/>
                  </a:lnTo>
                  <a:lnTo>
                    <a:pt x="3642" y="1626"/>
                  </a:lnTo>
                  <a:lnTo>
                    <a:pt x="3644" y="1620"/>
                  </a:lnTo>
                  <a:lnTo>
                    <a:pt x="3648" y="1616"/>
                  </a:lnTo>
                  <a:lnTo>
                    <a:pt x="3652" y="1614"/>
                  </a:lnTo>
                  <a:lnTo>
                    <a:pt x="3652" y="1614"/>
                  </a:lnTo>
                  <a:lnTo>
                    <a:pt x="3660" y="1616"/>
                  </a:lnTo>
                  <a:lnTo>
                    <a:pt x="3670" y="1616"/>
                  </a:lnTo>
                  <a:lnTo>
                    <a:pt x="3674" y="1616"/>
                  </a:lnTo>
                  <a:lnTo>
                    <a:pt x="3678" y="1614"/>
                  </a:lnTo>
                  <a:lnTo>
                    <a:pt x="3682" y="1610"/>
                  </a:lnTo>
                  <a:lnTo>
                    <a:pt x="3686" y="1604"/>
                  </a:lnTo>
                  <a:lnTo>
                    <a:pt x="3686" y="1604"/>
                  </a:lnTo>
                  <a:lnTo>
                    <a:pt x="3688" y="1598"/>
                  </a:lnTo>
                  <a:lnTo>
                    <a:pt x="3690" y="1594"/>
                  </a:lnTo>
                  <a:lnTo>
                    <a:pt x="3694" y="1594"/>
                  </a:lnTo>
                  <a:lnTo>
                    <a:pt x="3698" y="1592"/>
                  </a:lnTo>
                  <a:lnTo>
                    <a:pt x="3706" y="1590"/>
                  </a:lnTo>
                  <a:lnTo>
                    <a:pt x="3712" y="1588"/>
                  </a:lnTo>
                  <a:lnTo>
                    <a:pt x="3718" y="1582"/>
                  </a:lnTo>
                  <a:lnTo>
                    <a:pt x="3718" y="1582"/>
                  </a:lnTo>
                  <a:lnTo>
                    <a:pt x="3728" y="1570"/>
                  </a:lnTo>
                  <a:lnTo>
                    <a:pt x="3742" y="1562"/>
                  </a:lnTo>
                  <a:lnTo>
                    <a:pt x="3746" y="1560"/>
                  </a:lnTo>
                  <a:lnTo>
                    <a:pt x="3752" y="1560"/>
                  </a:lnTo>
                  <a:lnTo>
                    <a:pt x="3758" y="1562"/>
                  </a:lnTo>
                  <a:lnTo>
                    <a:pt x="3764" y="1564"/>
                  </a:lnTo>
                  <a:lnTo>
                    <a:pt x="3764" y="1564"/>
                  </a:lnTo>
                  <a:lnTo>
                    <a:pt x="3766" y="1568"/>
                  </a:lnTo>
                  <a:lnTo>
                    <a:pt x="3766" y="1572"/>
                  </a:lnTo>
                  <a:lnTo>
                    <a:pt x="3764" y="1578"/>
                  </a:lnTo>
                  <a:lnTo>
                    <a:pt x="3760" y="1582"/>
                  </a:lnTo>
                  <a:lnTo>
                    <a:pt x="3752" y="1592"/>
                  </a:lnTo>
                  <a:lnTo>
                    <a:pt x="3744" y="1602"/>
                  </a:lnTo>
                  <a:lnTo>
                    <a:pt x="3744" y="1602"/>
                  </a:lnTo>
                  <a:lnTo>
                    <a:pt x="3744" y="1608"/>
                  </a:lnTo>
                  <a:lnTo>
                    <a:pt x="3744" y="1612"/>
                  </a:lnTo>
                  <a:lnTo>
                    <a:pt x="3744" y="1618"/>
                  </a:lnTo>
                  <a:lnTo>
                    <a:pt x="3740" y="1622"/>
                  </a:lnTo>
                  <a:lnTo>
                    <a:pt x="3740" y="1622"/>
                  </a:lnTo>
                  <a:lnTo>
                    <a:pt x="3738" y="1626"/>
                  </a:lnTo>
                  <a:lnTo>
                    <a:pt x="3740" y="1628"/>
                  </a:lnTo>
                  <a:lnTo>
                    <a:pt x="3742" y="1628"/>
                  </a:lnTo>
                  <a:lnTo>
                    <a:pt x="3750" y="1628"/>
                  </a:lnTo>
                  <a:lnTo>
                    <a:pt x="3760" y="1622"/>
                  </a:lnTo>
                  <a:lnTo>
                    <a:pt x="3760" y="1622"/>
                  </a:lnTo>
                  <a:lnTo>
                    <a:pt x="3786" y="1606"/>
                  </a:lnTo>
                  <a:lnTo>
                    <a:pt x="3810" y="1594"/>
                  </a:lnTo>
                  <a:lnTo>
                    <a:pt x="3810" y="1594"/>
                  </a:lnTo>
                  <a:lnTo>
                    <a:pt x="3816" y="1592"/>
                  </a:lnTo>
                  <a:lnTo>
                    <a:pt x="3822" y="1592"/>
                  </a:lnTo>
                  <a:lnTo>
                    <a:pt x="3836" y="1594"/>
                  </a:lnTo>
                  <a:lnTo>
                    <a:pt x="3846" y="1600"/>
                  </a:lnTo>
                  <a:lnTo>
                    <a:pt x="3854" y="1608"/>
                  </a:lnTo>
                  <a:lnTo>
                    <a:pt x="3854" y="1608"/>
                  </a:lnTo>
                  <a:lnTo>
                    <a:pt x="3856" y="1610"/>
                  </a:lnTo>
                  <a:lnTo>
                    <a:pt x="3856" y="1614"/>
                  </a:lnTo>
                  <a:lnTo>
                    <a:pt x="3852" y="1622"/>
                  </a:lnTo>
                  <a:lnTo>
                    <a:pt x="3838" y="1636"/>
                  </a:lnTo>
                  <a:lnTo>
                    <a:pt x="3838" y="1636"/>
                  </a:lnTo>
                  <a:lnTo>
                    <a:pt x="3836" y="1642"/>
                  </a:lnTo>
                  <a:lnTo>
                    <a:pt x="3838" y="1646"/>
                  </a:lnTo>
                  <a:lnTo>
                    <a:pt x="3842" y="1648"/>
                  </a:lnTo>
                  <a:lnTo>
                    <a:pt x="3844" y="1654"/>
                  </a:lnTo>
                  <a:lnTo>
                    <a:pt x="3844" y="1654"/>
                  </a:lnTo>
                  <a:lnTo>
                    <a:pt x="3846" y="1658"/>
                  </a:lnTo>
                  <a:lnTo>
                    <a:pt x="3848" y="1662"/>
                  </a:lnTo>
                  <a:lnTo>
                    <a:pt x="3854" y="1662"/>
                  </a:lnTo>
                  <a:lnTo>
                    <a:pt x="3856" y="1660"/>
                  </a:lnTo>
                  <a:lnTo>
                    <a:pt x="3856" y="1660"/>
                  </a:lnTo>
                  <a:lnTo>
                    <a:pt x="3860" y="1656"/>
                  </a:lnTo>
                  <a:lnTo>
                    <a:pt x="3864" y="1656"/>
                  </a:lnTo>
                  <a:lnTo>
                    <a:pt x="3878" y="1656"/>
                  </a:lnTo>
                  <a:lnTo>
                    <a:pt x="3878" y="1656"/>
                  </a:lnTo>
                  <a:lnTo>
                    <a:pt x="3882" y="1656"/>
                  </a:lnTo>
                  <a:lnTo>
                    <a:pt x="3884" y="1658"/>
                  </a:lnTo>
                  <a:lnTo>
                    <a:pt x="3886" y="1664"/>
                  </a:lnTo>
                  <a:lnTo>
                    <a:pt x="3888" y="1670"/>
                  </a:lnTo>
                  <a:lnTo>
                    <a:pt x="3890" y="1674"/>
                  </a:lnTo>
                  <a:lnTo>
                    <a:pt x="3892" y="1674"/>
                  </a:lnTo>
                  <a:lnTo>
                    <a:pt x="3892" y="1674"/>
                  </a:lnTo>
                  <a:lnTo>
                    <a:pt x="3896" y="1674"/>
                  </a:lnTo>
                  <a:lnTo>
                    <a:pt x="3898" y="1676"/>
                  </a:lnTo>
                  <a:lnTo>
                    <a:pt x="3898" y="1682"/>
                  </a:lnTo>
                  <a:lnTo>
                    <a:pt x="3896" y="1684"/>
                  </a:lnTo>
                  <a:lnTo>
                    <a:pt x="3894" y="1686"/>
                  </a:lnTo>
                  <a:lnTo>
                    <a:pt x="3892" y="1686"/>
                  </a:lnTo>
                  <a:lnTo>
                    <a:pt x="3892" y="1686"/>
                  </a:lnTo>
                  <a:lnTo>
                    <a:pt x="3888" y="1686"/>
                  </a:lnTo>
                  <a:lnTo>
                    <a:pt x="3886" y="1688"/>
                  </a:lnTo>
                  <a:lnTo>
                    <a:pt x="3884" y="1692"/>
                  </a:lnTo>
                  <a:lnTo>
                    <a:pt x="3886" y="1702"/>
                  </a:lnTo>
                  <a:lnTo>
                    <a:pt x="3890" y="1710"/>
                  </a:lnTo>
                  <a:lnTo>
                    <a:pt x="3890" y="1710"/>
                  </a:lnTo>
                  <a:lnTo>
                    <a:pt x="3892" y="1716"/>
                  </a:lnTo>
                  <a:lnTo>
                    <a:pt x="3892" y="1720"/>
                  </a:lnTo>
                  <a:lnTo>
                    <a:pt x="3886" y="1730"/>
                  </a:lnTo>
                  <a:lnTo>
                    <a:pt x="3880" y="1738"/>
                  </a:lnTo>
                  <a:lnTo>
                    <a:pt x="3880" y="1742"/>
                  </a:lnTo>
                  <a:lnTo>
                    <a:pt x="3882" y="1744"/>
                  </a:lnTo>
                  <a:lnTo>
                    <a:pt x="3882" y="1744"/>
                  </a:lnTo>
                  <a:lnTo>
                    <a:pt x="3884" y="1748"/>
                  </a:lnTo>
                  <a:lnTo>
                    <a:pt x="3884" y="1754"/>
                  </a:lnTo>
                  <a:lnTo>
                    <a:pt x="3884" y="1758"/>
                  </a:lnTo>
                  <a:lnTo>
                    <a:pt x="3886" y="1762"/>
                  </a:lnTo>
                  <a:lnTo>
                    <a:pt x="3886" y="1762"/>
                  </a:lnTo>
                  <a:lnTo>
                    <a:pt x="3888" y="1764"/>
                  </a:lnTo>
                  <a:lnTo>
                    <a:pt x="3892" y="1764"/>
                  </a:lnTo>
                  <a:lnTo>
                    <a:pt x="3906" y="1760"/>
                  </a:lnTo>
                  <a:lnTo>
                    <a:pt x="3924" y="1754"/>
                  </a:lnTo>
                  <a:lnTo>
                    <a:pt x="3930" y="1750"/>
                  </a:lnTo>
                  <a:lnTo>
                    <a:pt x="3938" y="1746"/>
                  </a:lnTo>
                  <a:lnTo>
                    <a:pt x="3938" y="1746"/>
                  </a:lnTo>
                  <a:lnTo>
                    <a:pt x="3946" y="1736"/>
                  </a:lnTo>
                  <a:lnTo>
                    <a:pt x="3954" y="1732"/>
                  </a:lnTo>
                  <a:lnTo>
                    <a:pt x="3958" y="1732"/>
                  </a:lnTo>
                  <a:lnTo>
                    <a:pt x="3964" y="1734"/>
                  </a:lnTo>
                  <a:lnTo>
                    <a:pt x="3964" y="1734"/>
                  </a:lnTo>
                  <a:lnTo>
                    <a:pt x="3970" y="1734"/>
                  </a:lnTo>
                  <a:lnTo>
                    <a:pt x="3974" y="1730"/>
                  </a:lnTo>
                  <a:lnTo>
                    <a:pt x="3976" y="1726"/>
                  </a:lnTo>
                  <a:lnTo>
                    <a:pt x="3974" y="1722"/>
                  </a:lnTo>
                  <a:lnTo>
                    <a:pt x="3974" y="1722"/>
                  </a:lnTo>
                  <a:lnTo>
                    <a:pt x="3972" y="1716"/>
                  </a:lnTo>
                  <a:lnTo>
                    <a:pt x="3970" y="1708"/>
                  </a:lnTo>
                  <a:lnTo>
                    <a:pt x="3968" y="1696"/>
                  </a:lnTo>
                  <a:lnTo>
                    <a:pt x="3968" y="1682"/>
                  </a:lnTo>
                  <a:lnTo>
                    <a:pt x="3968" y="1682"/>
                  </a:lnTo>
                  <a:lnTo>
                    <a:pt x="3966" y="1674"/>
                  </a:lnTo>
                  <a:lnTo>
                    <a:pt x="3962" y="1664"/>
                  </a:lnTo>
                  <a:lnTo>
                    <a:pt x="3946" y="1644"/>
                  </a:lnTo>
                  <a:lnTo>
                    <a:pt x="3928" y="1624"/>
                  </a:lnTo>
                  <a:lnTo>
                    <a:pt x="3916" y="1614"/>
                  </a:lnTo>
                  <a:lnTo>
                    <a:pt x="3916" y="1614"/>
                  </a:lnTo>
                  <a:lnTo>
                    <a:pt x="3912" y="1612"/>
                  </a:lnTo>
                  <a:lnTo>
                    <a:pt x="3912" y="1608"/>
                  </a:lnTo>
                  <a:lnTo>
                    <a:pt x="3912" y="1600"/>
                  </a:lnTo>
                  <a:lnTo>
                    <a:pt x="3916" y="1594"/>
                  </a:lnTo>
                  <a:lnTo>
                    <a:pt x="3922" y="1590"/>
                  </a:lnTo>
                  <a:lnTo>
                    <a:pt x="3922" y="1590"/>
                  </a:lnTo>
                  <a:lnTo>
                    <a:pt x="3934" y="1584"/>
                  </a:lnTo>
                  <a:lnTo>
                    <a:pt x="3948" y="1576"/>
                  </a:lnTo>
                  <a:lnTo>
                    <a:pt x="3970" y="1560"/>
                  </a:lnTo>
                  <a:lnTo>
                    <a:pt x="3970" y="1560"/>
                  </a:lnTo>
                  <a:lnTo>
                    <a:pt x="3974" y="1558"/>
                  </a:lnTo>
                  <a:lnTo>
                    <a:pt x="3974" y="1556"/>
                  </a:lnTo>
                  <a:lnTo>
                    <a:pt x="3976" y="1548"/>
                  </a:lnTo>
                  <a:lnTo>
                    <a:pt x="3978" y="1538"/>
                  </a:lnTo>
                  <a:lnTo>
                    <a:pt x="3980" y="1528"/>
                  </a:lnTo>
                  <a:lnTo>
                    <a:pt x="3980" y="1528"/>
                  </a:lnTo>
                  <a:lnTo>
                    <a:pt x="3992" y="1516"/>
                  </a:lnTo>
                  <a:lnTo>
                    <a:pt x="4008" y="1500"/>
                  </a:lnTo>
                  <a:lnTo>
                    <a:pt x="4028" y="1486"/>
                  </a:lnTo>
                  <a:lnTo>
                    <a:pt x="4034" y="1482"/>
                  </a:lnTo>
                  <a:lnTo>
                    <a:pt x="4040" y="1482"/>
                  </a:lnTo>
                  <a:lnTo>
                    <a:pt x="4040" y="1482"/>
                  </a:lnTo>
                  <a:lnTo>
                    <a:pt x="4044" y="1482"/>
                  </a:lnTo>
                  <a:lnTo>
                    <a:pt x="4048" y="1484"/>
                  </a:lnTo>
                  <a:lnTo>
                    <a:pt x="4056" y="1490"/>
                  </a:lnTo>
                  <a:lnTo>
                    <a:pt x="4064" y="1496"/>
                  </a:lnTo>
                  <a:lnTo>
                    <a:pt x="4068" y="1498"/>
                  </a:lnTo>
                  <a:lnTo>
                    <a:pt x="4072" y="1498"/>
                  </a:lnTo>
                  <a:lnTo>
                    <a:pt x="4072" y="1498"/>
                  </a:lnTo>
                  <a:lnTo>
                    <a:pt x="4078" y="1498"/>
                  </a:lnTo>
                  <a:lnTo>
                    <a:pt x="4086" y="1494"/>
                  </a:lnTo>
                  <a:lnTo>
                    <a:pt x="4106" y="1482"/>
                  </a:lnTo>
                  <a:lnTo>
                    <a:pt x="4126" y="1468"/>
                  </a:lnTo>
                  <a:lnTo>
                    <a:pt x="4132" y="1462"/>
                  </a:lnTo>
                  <a:lnTo>
                    <a:pt x="4134" y="1460"/>
                  </a:lnTo>
                  <a:lnTo>
                    <a:pt x="4134" y="1460"/>
                  </a:lnTo>
                  <a:lnTo>
                    <a:pt x="4140" y="1452"/>
                  </a:lnTo>
                  <a:lnTo>
                    <a:pt x="4152" y="1438"/>
                  </a:lnTo>
                  <a:lnTo>
                    <a:pt x="4178" y="1410"/>
                  </a:lnTo>
                  <a:lnTo>
                    <a:pt x="4178" y="1410"/>
                  </a:lnTo>
                  <a:lnTo>
                    <a:pt x="4200" y="1384"/>
                  </a:lnTo>
                  <a:lnTo>
                    <a:pt x="4212" y="1370"/>
                  </a:lnTo>
                  <a:lnTo>
                    <a:pt x="4218" y="1356"/>
                  </a:lnTo>
                  <a:lnTo>
                    <a:pt x="4218" y="1356"/>
                  </a:lnTo>
                  <a:lnTo>
                    <a:pt x="4224" y="1348"/>
                  </a:lnTo>
                  <a:lnTo>
                    <a:pt x="4232" y="1336"/>
                  </a:lnTo>
                  <a:lnTo>
                    <a:pt x="4248" y="1318"/>
                  </a:lnTo>
                  <a:lnTo>
                    <a:pt x="4248" y="1318"/>
                  </a:lnTo>
                  <a:lnTo>
                    <a:pt x="4254" y="1308"/>
                  </a:lnTo>
                  <a:lnTo>
                    <a:pt x="4264" y="1290"/>
                  </a:lnTo>
                  <a:lnTo>
                    <a:pt x="4264" y="1290"/>
                  </a:lnTo>
                  <a:lnTo>
                    <a:pt x="4268" y="1282"/>
                  </a:lnTo>
                  <a:lnTo>
                    <a:pt x="4270" y="1272"/>
                  </a:lnTo>
                  <a:lnTo>
                    <a:pt x="4272" y="1248"/>
                  </a:lnTo>
                  <a:lnTo>
                    <a:pt x="4274" y="1228"/>
                  </a:lnTo>
                  <a:lnTo>
                    <a:pt x="4276" y="1218"/>
                  </a:lnTo>
                  <a:lnTo>
                    <a:pt x="4276" y="1218"/>
                  </a:lnTo>
                  <a:lnTo>
                    <a:pt x="4278" y="1216"/>
                  </a:lnTo>
                  <a:lnTo>
                    <a:pt x="4278" y="1210"/>
                  </a:lnTo>
                  <a:lnTo>
                    <a:pt x="4280" y="1206"/>
                  </a:lnTo>
                  <a:lnTo>
                    <a:pt x="4282" y="1202"/>
                  </a:lnTo>
                  <a:lnTo>
                    <a:pt x="4282" y="1202"/>
                  </a:lnTo>
                  <a:lnTo>
                    <a:pt x="4284" y="1198"/>
                  </a:lnTo>
                  <a:lnTo>
                    <a:pt x="4284" y="1192"/>
                  </a:lnTo>
                  <a:lnTo>
                    <a:pt x="4286" y="1188"/>
                  </a:lnTo>
                  <a:lnTo>
                    <a:pt x="4292" y="1182"/>
                  </a:lnTo>
                  <a:lnTo>
                    <a:pt x="4292" y="1182"/>
                  </a:lnTo>
                  <a:lnTo>
                    <a:pt x="4296" y="1178"/>
                  </a:lnTo>
                  <a:lnTo>
                    <a:pt x="4298" y="1172"/>
                  </a:lnTo>
                  <a:lnTo>
                    <a:pt x="4298" y="1168"/>
                  </a:lnTo>
                  <a:lnTo>
                    <a:pt x="4296" y="1164"/>
                  </a:lnTo>
                  <a:lnTo>
                    <a:pt x="4296" y="1164"/>
                  </a:lnTo>
                  <a:lnTo>
                    <a:pt x="4294" y="1160"/>
                  </a:lnTo>
                  <a:lnTo>
                    <a:pt x="4294" y="1154"/>
                  </a:lnTo>
                  <a:lnTo>
                    <a:pt x="4294" y="1148"/>
                  </a:lnTo>
                  <a:lnTo>
                    <a:pt x="4294" y="1144"/>
                  </a:lnTo>
                  <a:lnTo>
                    <a:pt x="4294" y="1144"/>
                  </a:lnTo>
                  <a:lnTo>
                    <a:pt x="4294" y="1140"/>
                  </a:lnTo>
                  <a:lnTo>
                    <a:pt x="4298" y="1136"/>
                  </a:lnTo>
                  <a:lnTo>
                    <a:pt x="4298" y="1136"/>
                  </a:lnTo>
                  <a:lnTo>
                    <a:pt x="4298" y="1132"/>
                  </a:lnTo>
                  <a:lnTo>
                    <a:pt x="4296" y="1128"/>
                  </a:lnTo>
                  <a:lnTo>
                    <a:pt x="4288" y="1122"/>
                  </a:lnTo>
                  <a:lnTo>
                    <a:pt x="4288" y="1122"/>
                  </a:lnTo>
                  <a:lnTo>
                    <a:pt x="4276" y="1116"/>
                  </a:lnTo>
                  <a:lnTo>
                    <a:pt x="4272" y="1114"/>
                  </a:lnTo>
                  <a:lnTo>
                    <a:pt x="4270" y="1108"/>
                  </a:lnTo>
                  <a:lnTo>
                    <a:pt x="4270" y="1108"/>
                  </a:lnTo>
                  <a:lnTo>
                    <a:pt x="4268" y="1102"/>
                  </a:lnTo>
                  <a:lnTo>
                    <a:pt x="4264" y="1098"/>
                  </a:lnTo>
                  <a:lnTo>
                    <a:pt x="4256" y="1094"/>
                  </a:lnTo>
                  <a:lnTo>
                    <a:pt x="4250" y="1092"/>
                  </a:lnTo>
                  <a:lnTo>
                    <a:pt x="4250" y="1092"/>
                  </a:lnTo>
                  <a:lnTo>
                    <a:pt x="4234" y="1090"/>
                  </a:lnTo>
                  <a:lnTo>
                    <a:pt x="4228" y="1090"/>
                  </a:lnTo>
                  <a:lnTo>
                    <a:pt x="4226" y="1092"/>
                  </a:lnTo>
                  <a:lnTo>
                    <a:pt x="4226" y="1094"/>
                  </a:lnTo>
                  <a:lnTo>
                    <a:pt x="4226" y="1094"/>
                  </a:lnTo>
                  <a:lnTo>
                    <a:pt x="4226" y="1098"/>
                  </a:lnTo>
                  <a:lnTo>
                    <a:pt x="4226" y="1100"/>
                  </a:lnTo>
                  <a:lnTo>
                    <a:pt x="4224" y="1102"/>
                  </a:lnTo>
                  <a:lnTo>
                    <a:pt x="4220" y="1102"/>
                  </a:lnTo>
                  <a:lnTo>
                    <a:pt x="4220" y="1102"/>
                  </a:lnTo>
                  <a:lnTo>
                    <a:pt x="4218" y="1102"/>
                  </a:lnTo>
                  <a:lnTo>
                    <a:pt x="4216" y="1104"/>
                  </a:lnTo>
                  <a:lnTo>
                    <a:pt x="4210" y="1112"/>
                  </a:lnTo>
                  <a:lnTo>
                    <a:pt x="4210" y="1112"/>
                  </a:lnTo>
                  <a:lnTo>
                    <a:pt x="4204" y="1118"/>
                  </a:lnTo>
                  <a:lnTo>
                    <a:pt x="4196" y="1120"/>
                  </a:lnTo>
                  <a:lnTo>
                    <a:pt x="4192" y="1118"/>
                  </a:lnTo>
                  <a:lnTo>
                    <a:pt x="4192" y="1116"/>
                  </a:lnTo>
                  <a:lnTo>
                    <a:pt x="4194" y="1114"/>
                  </a:lnTo>
                  <a:lnTo>
                    <a:pt x="4194" y="1114"/>
                  </a:lnTo>
                  <a:lnTo>
                    <a:pt x="4196" y="1110"/>
                  </a:lnTo>
                  <a:lnTo>
                    <a:pt x="4196" y="1106"/>
                  </a:lnTo>
                  <a:lnTo>
                    <a:pt x="4194" y="1102"/>
                  </a:lnTo>
                  <a:lnTo>
                    <a:pt x="4192" y="1098"/>
                  </a:lnTo>
                  <a:lnTo>
                    <a:pt x="4192" y="1098"/>
                  </a:lnTo>
                  <a:lnTo>
                    <a:pt x="4196" y="1088"/>
                  </a:lnTo>
                  <a:lnTo>
                    <a:pt x="4196" y="1086"/>
                  </a:lnTo>
                  <a:lnTo>
                    <a:pt x="4192" y="1088"/>
                  </a:lnTo>
                  <a:lnTo>
                    <a:pt x="4192" y="1088"/>
                  </a:lnTo>
                  <a:lnTo>
                    <a:pt x="4186" y="1092"/>
                  </a:lnTo>
                  <a:lnTo>
                    <a:pt x="4182" y="1098"/>
                  </a:lnTo>
                  <a:lnTo>
                    <a:pt x="4180" y="1104"/>
                  </a:lnTo>
                  <a:lnTo>
                    <a:pt x="4174" y="1106"/>
                  </a:lnTo>
                  <a:lnTo>
                    <a:pt x="4174" y="1106"/>
                  </a:lnTo>
                  <a:lnTo>
                    <a:pt x="4172" y="1106"/>
                  </a:lnTo>
                  <a:lnTo>
                    <a:pt x="4170" y="1104"/>
                  </a:lnTo>
                  <a:lnTo>
                    <a:pt x="4170" y="1096"/>
                  </a:lnTo>
                  <a:lnTo>
                    <a:pt x="4170" y="1086"/>
                  </a:lnTo>
                  <a:lnTo>
                    <a:pt x="4172" y="1078"/>
                  </a:lnTo>
                  <a:lnTo>
                    <a:pt x="4172" y="1078"/>
                  </a:lnTo>
                  <a:lnTo>
                    <a:pt x="4172" y="1076"/>
                  </a:lnTo>
                  <a:lnTo>
                    <a:pt x="4170" y="1076"/>
                  </a:lnTo>
                  <a:lnTo>
                    <a:pt x="4164" y="1076"/>
                  </a:lnTo>
                  <a:lnTo>
                    <a:pt x="4152" y="1078"/>
                  </a:lnTo>
                  <a:lnTo>
                    <a:pt x="4140" y="1078"/>
                  </a:lnTo>
                  <a:lnTo>
                    <a:pt x="4140" y="1078"/>
                  </a:lnTo>
                  <a:lnTo>
                    <a:pt x="4136" y="1076"/>
                  </a:lnTo>
                  <a:lnTo>
                    <a:pt x="4132" y="1076"/>
                  </a:lnTo>
                  <a:lnTo>
                    <a:pt x="4130" y="1072"/>
                  </a:lnTo>
                  <a:lnTo>
                    <a:pt x="4130" y="1070"/>
                  </a:lnTo>
                  <a:lnTo>
                    <a:pt x="4134" y="1064"/>
                  </a:lnTo>
                  <a:lnTo>
                    <a:pt x="4142" y="1058"/>
                  </a:lnTo>
                  <a:lnTo>
                    <a:pt x="4142" y="1058"/>
                  </a:lnTo>
                  <a:lnTo>
                    <a:pt x="4150" y="1052"/>
                  </a:lnTo>
                  <a:lnTo>
                    <a:pt x="4154" y="1048"/>
                  </a:lnTo>
                  <a:lnTo>
                    <a:pt x="4156" y="1044"/>
                  </a:lnTo>
                  <a:lnTo>
                    <a:pt x="4160" y="1040"/>
                  </a:lnTo>
                  <a:lnTo>
                    <a:pt x="4160" y="1040"/>
                  </a:lnTo>
                  <a:lnTo>
                    <a:pt x="4176" y="1032"/>
                  </a:lnTo>
                  <a:lnTo>
                    <a:pt x="4194" y="1020"/>
                  </a:lnTo>
                  <a:lnTo>
                    <a:pt x="4194" y="1020"/>
                  </a:lnTo>
                  <a:lnTo>
                    <a:pt x="4202" y="1016"/>
                  </a:lnTo>
                  <a:lnTo>
                    <a:pt x="4206" y="1010"/>
                  </a:lnTo>
                  <a:lnTo>
                    <a:pt x="4210" y="1000"/>
                  </a:lnTo>
                  <a:lnTo>
                    <a:pt x="4210" y="1000"/>
                  </a:lnTo>
                  <a:lnTo>
                    <a:pt x="4214" y="994"/>
                  </a:lnTo>
                  <a:lnTo>
                    <a:pt x="4224" y="988"/>
                  </a:lnTo>
                  <a:lnTo>
                    <a:pt x="4236" y="980"/>
                  </a:lnTo>
                  <a:lnTo>
                    <a:pt x="4248" y="972"/>
                  </a:lnTo>
                  <a:lnTo>
                    <a:pt x="4248" y="972"/>
                  </a:lnTo>
                  <a:lnTo>
                    <a:pt x="4268" y="954"/>
                  </a:lnTo>
                  <a:lnTo>
                    <a:pt x="4274" y="946"/>
                  </a:lnTo>
                  <a:lnTo>
                    <a:pt x="4278" y="940"/>
                  </a:lnTo>
                  <a:lnTo>
                    <a:pt x="4278" y="940"/>
                  </a:lnTo>
                  <a:lnTo>
                    <a:pt x="4286" y="934"/>
                  </a:lnTo>
                  <a:lnTo>
                    <a:pt x="4296" y="926"/>
                  </a:lnTo>
                  <a:lnTo>
                    <a:pt x="4304" y="920"/>
                  </a:lnTo>
                  <a:lnTo>
                    <a:pt x="4308" y="918"/>
                  </a:lnTo>
                  <a:lnTo>
                    <a:pt x="4310" y="914"/>
                  </a:lnTo>
                  <a:lnTo>
                    <a:pt x="4310" y="914"/>
                  </a:lnTo>
                  <a:lnTo>
                    <a:pt x="4310" y="912"/>
                  </a:lnTo>
                  <a:lnTo>
                    <a:pt x="4314" y="908"/>
                  </a:lnTo>
                  <a:lnTo>
                    <a:pt x="4328" y="900"/>
                  </a:lnTo>
                  <a:lnTo>
                    <a:pt x="4344" y="894"/>
                  </a:lnTo>
                  <a:lnTo>
                    <a:pt x="4360" y="888"/>
                  </a:lnTo>
                  <a:lnTo>
                    <a:pt x="4360" y="888"/>
                  </a:lnTo>
                  <a:lnTo>
                    <a:pt x="4378" y="886"/>
                  </a:lnTo>
                  <a:lnTo>
                    <a:pt x="4396" y="888"/>
                  </a:lnTo>
                  <a:lnTo>
                    <a:pt x="4410" y="892"/>
                  </a:lnTo>
                  <a:lnTo>
                    <a:pt x="4420" y="896"/>
                  </a:lnTo>
                  <a:lnTo>
                    <a:pt x="4420" y="896"/>
                  </a:lnTo>
                  <a:lnTo>
                    <a:pt x="4424" y="898"/>
                  </a:lnTo>
                  <a:lnTo>
                    <a:pt x="4428" y="900"/>
                  </a:lnTo>
                  <a:lnTo>
                    <a:pt x="4430" y="898"/>
                  </a:lnTo>
                  <a:lnTo>
                    <a:pt x="4434" y="896"/>
                  </a:lnTo>
                  <a:lnTo>
                    <a:pt x="4434" y="896"/>
                  </a:lnTo>
                  <a:lnTo>
                    <a:pt x="4438" y="894"/>
                  </a:lnTo>
                  <a:lnTo>
                    <a:pt x="4442" y="892"/>
                  </a:lnTo>
                  <a:lnTo>
                    <a:pt x="4458" y="894"/>
                  </a:lnTo>
                  <a:lnTo>
                    <a:pt x="4458" y="894"/>
                  </a:lnTo>
                  <a:lnTo>
                    <a:pt x="4468" y="894"/>
                  </a:lnTo>
                  <a:lnTo>
                    <a:pt x="4474" y="892"/>
                  </a:lnTo>
                  <a:lnTo>
                    <a:pt x="4480" y="890"/>
                  </a:lnTo>
                  <a:lnTo>
                    <a:pt x="4486" y="892"/>
                  </a:lnTo>
                  <a:lnTo>
                    <a:pt x="4486" y="892"/>
                  </a:lnTo>
                  <a:lnTo>
                    <a:pt x="4492" y="892"/>
                  </a:lnTo>
                  <a:lnTo>
                    <a:pt x="4498" y="894"/>
                  </a:lnTo>
                  <a:lnTo>
                    <a:pt x="4504" y="890"/>
                  </a:lnTo>
                  <a:lnTo>
                    <a:pt x="4508" y="884"/>
                  </a:lnTo>
                  <a:lnTo>
                    <a:pt x="4508" y="884"/>
                  </a:lnTo>
                  <a:lnTo>
                    <a:pt x="4510" y="882"/>
                  </a:lnTo>
                  <a:lnTo>
                    <a:pt x="4516" y="878"/>
                  </a:lnTo>
                  <a:lnTo>
                    <a:pt x="4526" y="876"/>
                  </a:lnTo>
                  <a:lnTo>
                    <a:pt x="4538" y="878"/>
                  </a:lnTo>
                  <a:lnTo>
                    <a:pt x="4546" y="880"/>
                  </a:lnTo>
                  <a:lnTo>
                    <a:pt x="4546" y="880"/>
                  </a:lnTo>
                  <a:lnTo>
                    <a:pt x="4554" y="886"/>
                  </a:lnTo>
                  <a:lnTo>
                    <a:pt x="4560" y="888"/>
                  </a:lnTo>
                  <a:lnTo>
                    <a:pt x="4566" y="884"/>
                  </a:lnTo>
                  <a:lnTo>
                    <a:pt x="4566" y="884"/>
                  </a:lnTo>
                  <a:lnTo>
                    <a:pt x="4570" y="882"/>
                  </a:lnTo>
                  <a:lnTo>
                    <a:pt x="4572" y="884"/>
                  </a:lnTo>
                  <a:lnTo>
                    <a:pt x="4576" y="886"/>
                  </a:lnTo>
                  <a:lnTo>
                    <a:pt x="4580" y="892"/>
                  </a:lnTo>
                  <a:lnTo>
                    <a:pt x="4582" y="894"/>
                  </a:lnTo>
                  <a:lnTo>
                    <a:pt x="4586" y="894"/>
                  </a:lnTo>
                  <a:lnTo>
                    <a:pt x="4586" y="894"/>
                  </a:lnTo>
                  <a:lnTo>
                    <a:pt x="4590" y="896"/>
                  </a:lnTo>
                  <a:lnTo>
                    <a:pt x="4590" y="900"/>
                  </a:lnTo>
                  <a:lnTo>
                    <a:pt x="4586" y="902"/>
                  </a:lnTo>
                  <a:lnTo>
                    <a:pt x="4580" y="902"/>
                  </a:lnTo>
                  <a:lnTo>
                    <a:pt x="4580" y="902"/>
                  </a:lnTo>
                  <a:lnTo>
                    <a:pt x="4574" y="902"/>
                  </a:lnTo>
                  <a:lnTo>
                    <a:pt x="4570" y="904"/>
                  </a:lnTo>
                  <a:lnTo>
                    <a:pt x="4568" y="908"/>
                  </a:lnTo>
                  <a:lnTo>
                    <a:pt x="4572" y="912"/>
                  </a:lnTo>
                  <a:lnTo>
                    <a:pt x="4572" y="912"/>
                  </a:lnTo>
                  <a:lnTo>
                    <a:pt x="4576" y="914"/>
                  </a:lnTo>
                  <a:lnTo>
                    <a:pt x="4578" y="914"/>
                  </a:lnTo>
                  <a:lnTo>
                    <a:pt x="4586" y="912"/>
                  </a:lnTo>
                  <a:lnTo>
                    <a:pt x="4594" y="908"/>
                  </a:lnTo>
                  <a:lnTo>
                    <a:pt x="4600" y="908"/>
                  </a:lnTo>
                  <a:lnTo>
                    <a:pt x="4600" y="908"/>
                  </a:lnTo>
                  <a:lnTo>
                    <a:pt x="4612" y="908"/>
                  </a:lnTo>
                  <a:lnTo>
                    <a:pt x="4620" y="906"/>
                  </a:lnTo>
                  <a:lnTo>
                    <a:pt x="4628" y="902"/>
                  </a:lnTo>
                  <a:lnTo>
                    <a:pt x="4628" y="902"/>
                  </a:lnTo>
                  <a:lnTo>
                    <a:pt x="4634" y="900"/>
                  </a:lnTo>
                  <a:lnTo>
                    <a:pt x="4638" y="902"/>
                  </a:lnTo>
                  <a:lnTo>
                    <a:pt x="4642" y="904"/>
                  </a:lnTo>
                  <a:lnTo>
                    <a:pt x="4648" y="902"/>
                  </a:lnTo>
                  <a:lnTo>
                    <a:pt x="4648" y="902"/>
                  </a:lnTo>
                  <a:lnTo>
                    <a:pt x="4654" y="898"/>
                  </a:lnTo>
                  <a:lnTo>
                    <a:pt x="4660" y="896"/>
                  </a:lnTo>
                  <a:lnTo>
                    <a:pt x="4676" y="896"/>
                  </a:lnTo>
                  <a:lnTo>
                    <a:pt x="4676" y="896"/>
                  </a:lnTo>
                  <a:lnTo>
                    <a:pt x="4678" y="894"/>
                  </a:lnTo>
                  <a:lnTo>
                    <a:pt x="4678" y="892"/>
                  </a:lnTo>
                  <a:lnTo>
                    <a:pt x="4672" y="888"/>
                  </a:lnTo>
                  <a:lnTo>
                    <a:pt x="4664" y="888"/>
                  </a:lnTo>
                  <a:lnTo>
                    <a:pt x="4664" y="888"/>
                  </a:lnTo>
                  <a:lnTo>
                    <a:pt x="4658" y="886"/>
                  </a:lnTo>
                  <a:lnTo>
                    <a:pt x="4656" y="884"/>
                  </a:lnTo>
                  <a:lnTo>
                    <a:pt x="4656" y="882"/>
                  </a:lnTo>
                  <a:lnTo>
                    <a:pt x="4656" y="874"/>
                  </a:lnTo>
                  <a:lnTo>
                    <a:pt x="4662" y="864"/>
                  </a:lnTo>
                  <a:lnTo>
                    <a:pt x="4662" y="864"/>
                  </a:lnTo>
                  <a:lnTo>
                    <a:pt x="4672" y="854"/>
                  </a:lnTo>
                  <a:lnTo>
                    <a:pt x="4682" y="844"/>
                  </a:lnTo>
                  <a:lnTo>
                    <a:pt x="4702" y="828"/>
                  </a:lnTo>
                  <a:lnTo>
                    <a:pt x="4702" y="828"/>
                  </a:lnTo>
                  <a:lnTo>
                    <a:pt x="4710" y="824"/>
                  </a:lnTo>
                  <a:lnTo>
                    <a:pt x="4716" y="822"/>
                  </a:lnTo>
                  <a:lnTo>
                    <a:pt x="4720" y="820"/>
                  </a:lnTo>
                  <a:lnTo>
                    <a:pt x="4722" y="818"/>
                  </a:lnTo>
                  <a:lnTo>
                    <a:pt x="4722" y="818"/>
                  </a:lnTo>
                  <a:lnTo>
                    <a:pt x="4724" y="810"/>
                  </a:lnTo>
                  <a:lnTo>
                    <a:pt x="4726" y="802"/>
                  </a:lnTo>
                  <a:lnTo>
                    <a:pt x="4730" y="796"/>
                  </a:lnTo>
                  <a:lnTo>
                    <a:pt x="4734" y="794"/>
                  </a:lnTo>
                  <a:lnTo>
                    <a:pt x="4736" y="792"/>
                  </a:lnTo>
                  <a:lnTo>
                    <a:pt x="4736" y="792"/>
                  </a:lnTo>
                  <a:lnTo>
                    <a:pt x="4758" y="792"/>
                  </a:lnTo>
                  <a:lnTo>
                    <a:pt x="4770" y="792"/>
                  </a:lnTo>
                  <a:lnTo>
                    <a:pt x="4782" y="788"/>
                  </a:lnTo>
                  <a:lnTo>
                    <a:pt x="4782" y="788"/>
                  </a:lnTo>
                  <a:lnTo>
                    <a:pt x="4786" y="786"/>
                  </a:lnTo>
                  <a:lnTo>
                    <a:pt x="4790" y="786"/>
                  </a:lnTo>
                  <a:lnTo>
                    <a:pt x="4794" y="788"/>
                  </a:lnTo>
                  <a:lnTo>
                    <a:pt x="4796" y="792"/>
                  </a:lnTo>
                  <a:lnTo>
                    <a:pt x="4800" y="796"/>
                  </a:lnTo>
                  <a:lnTo>
                    <a:pt x="4800" y="796"/>
                  </a:lnTo>
                  <a:lnTo>
                    <a:pt x="4804" y="794"/>
                  </a:lnTo>
                  <a:lnTo>
                    <a:pt x="4810" y="792"/>
                  </a:lnTo>
                  <a:lnTo>
                    <a:pt x="4814" y="788"/>
                  </a:lnTo>
                  <a:lnTo>
                    <a:pt x="4818" y="788"/>
                  </a:lnTo>
                  <a:lnTo>
                    <a:pt x="4820" y="788"/>
                  </a:lnTo>
                  <a:lnTo>
                    <a:pt x="4820" y="788"/>
                  </a:lnTo>
                  <a:lnTo>
                    <a:pt x="4820" y="790"/>
                  </a:lnTo>
                  <a:lnTo>
                    <a:pt x="4820" y="792"/>
                  </a:lnTo>
                  <a:lnTo>
                    <a:pt x="4816" y="798"/>
                  </a:lnTo>
                  <a:lnTo>
                    <a:pt x="4810" y="806"/>
                  </a:lnTo>
                  <a:lnTo>
                    <a:pt x="4806" y="814"/>
                  </a:lnTo>
                  <a:lnTo>
                    <a:pt x="4806" y="814"/>
                  </a:lnTo>
                  <a:lnTo>
                    <a:pt x="4806" y="818"/>
                  </a:lnTo>
                  <a:lnTo>
                    <a:pt x="4806" y="820"/>
                  </a:lnTo>
                  <a:lnTo>
                    <a:pt x="4810" y="822"/>
                  </a:lnTo>
                  <a:lnTo>
                    <a:pt x="4816" y="822"/>
                  </a:lnTo>
                  <a:lnTo>
                    <a:pt x="4822" y="824"/>
                  </a:lnTo>
                  <a:lnTo>
                    <a:pt x="4822" y="824"/>
                  </a:lnTo>
                  <a:lnTo>
                    <a:pt x="4824" y="826"/>
                  </a:lnTo>
                  <a:lnTo>
                    <a:pt x="4824" y="826"/>
                  </a:lnTo>
                  <a:lnTo>
                    <a:pt x="4820" y="830"/>
                  </a:lnTo>
                  <a:lnTo>
                    <a:pt x="4816" y="832"/>
                  </a:lnTo>
                  <a:lnTo>
                    <a:pt x="4814" y="836"/>
                  </a:lnTo>
                  <a:lnTo>
                    <a:pt x="4814" y="836"/>
                  </a:lnTo>
                  <a:lnTo>
                    <a:pt x="4818" y="836"/>
                  </a:lnTo>
                  <a:lnTo>
                    <a:pt x="4824" y="836"/>
                  </a:lnTo>
                  <a:lnTo>
                    <a:pt x="4834" y="830"/>
                  </a:lnTo>
                  <a:lnTo>
                    <a:pt x="4848" y="820"/>
                  </a:lnTo>
                  <a:lnTo>
                    <a:pt x="4848" y="820"/>
                  </a:lnTo>
                  <a:lnTo>
                    <a:pt x="4860" y="810"/>
                  </a:lnTo>
                  <a:lnTo>
                    <a:pt x="4872" y="802"/>
                  </a:lnTo>
                  <a:lnTo>
                    <a:pt x="4884" y="800"/>
                  </a:lnTo>
                  <a:lnTo>
                    <a:pt x="4892" y="800"/>
                  </a:lnTo>
                  <a:lnTo>
                    <a:pt x="4892" y="800"/>
                  </a:lnTo>
                  <a:lnTo>
                    <a:pt x="4896" y="800"/>
                  </a:lnTo>
                  <a:lnTo>
                    <a:pt x="4898" y="798"/>
                  </a:lnTo>
                  <a:lnTo>
                    <a:pt x="4900" y="792"/>
                  </a:lnTo>
                  <a:lnTo>
                    <a:pt x="4898" y="784"/>
                  </a:lnTo>
                  <a:lnTo>
                    <a:pt x="4898" y="772"/>
                  </a:lnTo>
                  <a:lnTo>
                    <a:pt x="4898" y="772"/>
                  </a:lnTo>
                  <a:lnTo>
                    <a:pt x="4900" y="768"/>
                  </a:lnTo>
                  <a:lnTo>
                    <a:pt x="4904" y="762"/>
                  </a:lnTo>
                  <a:lnTo>
                    <a:pt x="4910" y="760"/>
                  </a:lnTo>
                  <a:lnTo>
                    <a:pt x="4918" y="756"/>
                  </a:lnTo>
                  <a:lnTo>
                    <a:pt x="4932" y="754"/>
                  </a:lnTo>
                  <a:lnTo>
                    <a:pt x="4944" y="756"/>
                  </a:lnTo>
                  <a:lnTo>
                    <a:pt x="4944" y="756"/>
                  </a:lnTo>
                  <a:lnTo>
                    <a:pt x="4952" y="760"/>
                  </a:lnTo>
                  <a:lnTo>
                    <a:pt x="4952" y="762"/>
                  </a:lnTo>
                  <a:lnTo>
                    <a:pt x="4950" y="764"/>
                  </a:lnTo>
                  <a:lnTo>
                    <a:pt x="4944" y="762"/>
                  </a:lnTo>
                  <a:lnTo>
                    <a:pt x="4944" y="762"/>
                  </a:lnTo>
                  <a:lnTo>
                    <a:pt x="4936" y="762"/>
                  </a:lnTo>
                  <a:lnTo>
                    <a:pt x="4930" y="766"/>
                  </a:lnTo>
                  <a:lnTo>
                    <a:pt x="4926" y="774"/>
                  </a:lnTo>
                  <a:lnTo>
                    <a:pt x="4924" y="784"/>
                  </a:lnTo>
                  <a:lnTo>
                    <a:pt x="4924" y="784"/>
                  </a:lnTo>
                  <a:lnTo>
                    <a:pt x="4922" y="792"/>
                  </a:lnTo>
                  <a:lnTo>
                    <a:pt x="4920" y="798"/>
                  </a:lnTo>
                  <a:lnTo>
                    <a:pt x="4918" y="802"/>
                  </a:lnTo>
                  <a:lnTo>
                    <a:pt x="4920" y="806"/>
                  </a:lnTo>
                  <a:lnTo>
                    <a:pt x="4920" y="806"/>
                  </a:lnTo>
                  <a:lnTo>
                    <a:pt x="4920" y="808"/>
                  </a:lnTo>
                  <a:lnTo>
                    <a:pt x="4920" y="810"/>
                  </a:lnTo>
                  <a:lnTo>
                    <a:pt x="4918" y="812"/>
                  </a:lnTo>
                  <a:lnTo>
                    <a:pt x="4914" y="816"/>
                  </a:lnTo>
                  <a:lnTo>
                    <a:pt x="4912" y="818"/>
                  </a:lnTo>
                  <a:lnTo>
                    <a:pt x="4912" y="818"/>
                  </a:lnTo>
                  <a:lnTo>
                    <a:pt x="4910" y="826"/>
                  </a:lnTo>
                  <a:lnTo>
                    <a:pt x="4908" y="830"/>
                  </a:lnTo>
                  <a:lnTo>
                    <a:pt x="4904" y="832"/>
                  </a:lnTo>
                  <a:lnTo>
                    <a:pt x="4904" y="832"/>
                  </a:lnTo>
                  <a:lnTo>
                    <a:pt x="4882" y="836"/>
                  </a:lnTo>
                  <a:lnTo>
                    <a:pt x="4872" y="840"/>
                  </a:lnTo>
                  <a:lnTo>
                    <a:pt x="4868" y="844"/>
                  </a:lnTo>
                  <a:lnTo>
                    <a:pt x="4868" y="846"/>
                  </a:lnTo>
                  <a:lnTo>
                    <a:pt x="4868" y="846"/>
                  </a:lnTo>
                  <a:lnTo>
                    <a:pt x="4866" y="850"/>
                  </a:lnTo>
                  <a:lnTo>
                    <a:pt x="4864" y="854"/>
                  </a:lnTo>
                  <a:lnTo>
                    <a:pt x="4858" y="858"/>
                  </a:lnTo>
                  <a:lnTo>
                    <a:pt x="4852" y="864"/>
                  </a:lnTo>
                  <a:lnTo>
                    <a:pt x="4846" y="872"/>
                  </a:lnTo>
                  <a:lnTo>
                    <a:pt x="4846" y="872"/>
                  </a:lnTo>
                  <a:lnTo>
                    <a:pt x="4842" y="876"/>
                  </a:lnTo>
                  <a:lnTo>
                    <a:pt x="4836" y="880"/>
                  </a:lnTo>
                  <a:lnTo>
                    <a:pt x="4824" y="890"/>
                  </a:lnTo>
                  <a:lnTo>
                    <a:pt x="4810" y="902"/>
                  </a:lnTo>
                  <a:lnTo>
                    <a:pt x="4802" y="908"/>
                  </a:lnTo>
                  <a:lnTo>
                    <a:pt x="4794" y="918"/>
                  </a:lnTo>
                  <a:lnTo>
                    <a:pt x="4794" y="918"/>
                  </a:lnTo>
                  <a:lnTo>
                    <a:pt x="4788" y="926"/>
                  </a:lnTo>
                  <a:lnTo>
                    <a:pt x="4780" y="932"/>
                  </a:lnTo>
                  <a:lnTo>
                    <a:pt x="4766" y="940"/>
                  </a:lnTo>
                  <a:lnTo>
                    <a:pt x="4754" y="946"/>
                  </a:lnTo>
                  <a:lnTo>
                    <a:pt x="4752" y="946"/>
                  </a:lnTo>
                  <a:lnTo>
                    <a:pt x="4750" y="948"/>
                  </a:lnTo>
                  <a:lnTo>
                    <a:pt x="4750" y="948"/>
                  </a:lnTo>
                  <a:lnTo>
                    <a:pt x="4750" y="950"/>
                  </a:lnTo>
                  <a:lnTo>
                    <a:pt x="4748" y="952"/>
                  </a:lnTo>
                  <a:lnTo>
                    <a:pt x="4740" y="952"/>
                  </a:lnTo>
                  <a:lnTo>
                    <a:pt x="4724" y="954"/>
                  </a:lnTo>
                  <a:lnTo>
                    <a:pt x="4724" y="954"/>
                  </a:lnTo>
                  <a:lnTo>
                    <a:pt x="4724" y="954"/>
                  </a:lnTo>
                  <a:lnTo>
                    <a:pt x="4722" y="956"/>
                  </a:lnTo>
                  <a:lnTo>
                    <a:pt x="4724" y="964"/>
                  </a:lnTo>
                  <a:lnTo>
                    <a:pt x="4722" y="974"/>
                  </a:lnTo>
                  <a:lnTo>
                    <a:pt x="4720" y="980"/>
                  </a:lnTo>
                  <a:lnTo>
                    <a:pt x="4716" y="986"/>
                  </a:lnTo>
                  <a:lnTo>
                    <a:pt x="4716" y="986"/>
                  </a:lnTo>
                  <a:lnTo>
                    <a:pt x="4706" y="1000"/>
                  </a:lnTo>
                  <a:lnTo>
                    <a:pt x="4698" y="1016"/>
                  </a:lnTo>
                  <a:lnTo>
                    <a:pt x="4692" y="1032"/>
                  </a:lnTo>
                  <a:lnTo>
                    <a:pt x="4690" y="1050"/>
                  </a:lnTo>
                  <a:lnTo>
                    <a:pt x="4690" y="1050"/>
                  </a:lnTo>
                  <a:lnTo>
                    <a:pt x="4692" y="1072"/>
                  </a:lnTo>
                  <a:lnTo>
                    <a:pt x="4696" y="1104"/>
                  </a:lnTo>
                  <a:lnTo>
                    <a:pt x="4700" y="1132"/>
                  </a:lnTo>
                  <a:lnTo>
                    <a:pt x="4702" y="1144"/>
                  </a:lnTo>
                  <a:lnTo>
                    <a:pt x="4706" y="1150"/>
                  </a:lnTo>
                  <a:lnTo>
                    <a:pt x="4706" y="1150"/>
                  </a:lnTo>
                  <a:lnTo>
                    <a:pt x="4708" y="1162"/>
                  </a:lnTo>
                  <a:lnTo>
                    <a:pt x="4710" y="1176"/>
                  </a:lnTo>
                  <a:lnTo>
                    <a:pt x="4712" y="1188"/>
                  </a:lnTo>
                  <a:lnTo>
                    <a:pt x="4712" y="1194"/>
                  </a:lnTo>
                  <a:lnTo>
                    <a:pt x="4714" y="1196"/>
                  </a:lnTo>
                  <a:lnTo>
                    <a:pt x="4714" y="1196"/>
                  </a:lnTo>
                  <a:lnTo>
                    <a:pt x="4716" y="1202"/>
                  </a:lnTo>
                  <a:lnTo>
                    <a:pt x="4718" y="1208"/>
                  </a:lnTo>
                  <a:lnTo>
                    <a:pt x="4720" y="1212"/>
                  </a:lnTo>
                  <a:lnTo>
                    <a:pt x="4722" y="1216"/>
                  </a:lnTo>
                  <a:lnTo>
                    <a:pt x="4722" y="1216"/>
                  </a:lnTo>
                  <a:lnTo>
                    <a:pt x="4724" y="1216"/>
                  </a:lnTo>
                  <a:lnTo>
                    <a:pt x="4726" y="1214"/>
                  </a:lnTo>
                  <a:lnTo>
                    <a:pt x="4734" y="1208"/>
                  </a:lnTo>
                  <a:lnTo>
                    <a:pt x="4750" y="1192"/>
                  </a:lnTo>
                  <a:lnTo>
                    <a:pt x="4750" y="1192"/>
                  </a:lnTo>
                  <a:lnTo>
                    <a:pt x="4756" y="1186"/>
                  </a:lnTo>
                  <a:lnTo>
                    <a:pt x="4758" y="1182"/>
                  </a:lnTo>
                  <a:lnTo>
                    <a:pt x="4760" y="1178"/>
                  </a:lnTo>
                  <a:lnTo>
                    <a:pt x="4764" y="1176"/>
                  </a:lnTo>
                  <a:lnTo>
                    <a:pt x="4764" y="1176"/>
                  </a:lnTo>
                  <a:lnTo>
                    <a:pt x="4766" y="1174"/>
                  </a:lnTo>
                  <a:lnTo>
                    <a:pt x="4768" y="1170"/>
                  </a:lnTo>
                  <a:lnTo>
                    <a:pt x="4768" y="1162"/>
                  </a:lnTo>
                  <a:lnTo>
                    <a:pt x="4768" y="1154"/>
                  </a:lnTo>
                  <a:lnTo>
                    <a:pt x="4770" y="1148"/>
                  </a:lnTo>
                  <a:lnTo>
                    <a:pt x="4770" y="1148"/>
                  </a:lnTo>
                  <a:lnTo>
                    <a:pt x="4772" y="1144"/>
                  </a:lnTo>
                  <a:lnTo>
                    <a:pt x="4778" y="1142"/>
                  </a:lnTo>
                  <a:lnTo>
                    <a:pt x="4784" y="1138"/>
                  </a:lnTo>
                  <a:lnTo>
                    <a:pt x="4788" y="1136"/>
                  </a:lnTo>
                  <a:lnTo>
                    <a:pt x="4788" y="1136"/>
                  </a:lnTo>
                  <a:lnTo>
                    <a:pt x="4792" y="1132"/>
                  </a:lnTo>
                  <a:lnTo>
                    <a:pt x="4798" y="1132"/>
                  </a:lnTo>
                  <a:lnTo>
                    <a:pt x="4808" y="1132"/>
                  </a:lnTo>
                  <a:lnTo>
                    <a:pt x="4808" y="1132"/>
                  </a:lnTo>
                  <a:lnTo>
                    <a:pt x="4810" y="1130"/>
                  </a:lnTo>
                  <a:lnTo>
                    <a:pt x="4810" y="1128"/>
                  </a:lnTo>
                  <a:lnTo>
                    <a:pt x="4810" y="1122"/>
                  </a:lnTo>
                  <a:lnTo>
                    <a:pt x="4806" y="1108"/>
                  </a:lnTo>
                  <a:lnTo>
                    <a:pt x="4806" y="1108"/>
                  </a:lnTo>
                  <a:lnTo>
                    <a:pt x="4806" y="1106"/>
                  </a:lnTo>
                  <a:lnTo>
                    <a:pt x="4808" y="1102"/>
                  </a:lnTo>
                  <a:lnTo>
                    <a:pt x="4814" y="1096"/>
                  </a:lnTo>
                  <a:lnTo>
                    <a:pt x="4832" y="1084"/>
                  </a:lnTo>
                  <a:lnTo>
                    <a:pt x="4832" y="1084"/>
                  </a:lnTo>
                  <a:lnTo>
                    <a:pt x="4836" y="1082"/>
                  </a:lnTo>
                  <a:lnTo>
                    <a:pt x="4840" y="1082"/>
                  </a:lnTo>
                  <a:lnTo>
                    <a:pt x="4848" y="1082"/>
                  </a:lnTo>
                  <a:lnTo>
                    <a:pt x="4856" y="1082"/>
                  </a:lnTo>
                  <a:lnTo>
                    <a:pt x="4860" y="1080"/>
                  </a:lnTo>
                  <a:lnTo>
                    <a:pt x="4864" y="1078"/>
                  </a:lnTo>
                  <a:lnTo>
                    <a:pt x="4864" y="1078"/>
                  </a:lnTo>
                  <a:lnTo>
                    <a:pt x="4868" y="1074"/>
                  </a:lnTo>
                  <a:lnTo>
                    <a:pt x="4870" y="1070"/>
                  </a:lnTo>
                  <a:lnTo>
                    <a:pt x="4868" y="1062"/>
                  </a:lnTo>
                  <a:lnTo>
                    <a:pt x="4864" y="1056"/>
                  </a:lnTo>
                  <a:lnTo>
                    <a:pt x="4860" y="1050"/>
                  </a:lnTo>
                  <a:lnTo>
                    <a:pt x="4860" y="1050"/>
                  </a:lnTo>
                  <a:lnTo>
                    <a:pt x="4860" y="1048"/>
                  </a:lnTo>
                  <a:lnTo>
                    <a:pt x="4860" y="1044"/>
                  </a:lnTo>
                  <a:lnTo>
                    <a:pt x="4864" y="1034"/>
                  </a:lnTo>
                  <a:lnTo>
                    <a:pt x="4872" y="1024"/>
                  </a:lnTo>
                  <a:lnTo>
                    <a:pt x="4880" y="1018"/>
                  </a:lnTo>
                  <a:lnTo>
                    <a:pt x="4880" y="1018"/>
                  </a:lnTo>
                  <a:lnTo>
                    <a:pt x="4884" y="1018"/>
                  </a:lnTo>
                  <a:lnTo>
                    <a:pt x="4890" y="1018"/>
                  </a:lnTo>
                  <a:lnTo>
                    <a:pt x="4894" y="1020"/>
                  </a:lnTo>
                  <a:lnTo>
                    <a:pt x="4900" y="1016"/>
                  </a:lnTo>
                  <a:lnTo>
                    <a:pt x="4900" y="1016"/>
                  </a:lnTo>
                  <a:lnTo>
                    <a:pt x="4902" y="1014"/>
                  </a:lnTo>
                  <a:lnTo>
                    <a:pt x="4902" y="1010"/>
                  </a:lnTo>
                  <a:lnTo>
                    <a:pt x="4898" y="1004"/>
                  </a:lnTo>
                  <a:lnTo>
                    <a:pt x="4892" y="1000"/>
                  </a:lnTo>
                  <a:lnTo>
                    <a:pt x="4888" y="998"/>
                  </a:lnTo>
                  <a:lnTo>
                    <a:pt x="4888" y="998"/>
                  </a:lnTo>
                  <a:lnTo>
                    <a:pt x="4886" y="998"/>
                  </a:lnTo>
                  <a:lnTo>
                    <a:pt x="4884" y="996"/>
                  </a:lnTo>
                  <a:lnTo>
                    <a:pt x="4882" y="988"/>
                  </a:lnTo>
                  <a:lnTo>
                    <a:pt x="4886" y="976"/>
                  </a:lnTo>
                  <a:lnTo>
                    <a:pt x="4888" y="972"/>
                  </a:lnTo>
                  <a:lnTo>
                    <a:pt x="4892" y="968"/>
                  </a:lnTo>
                  <a:lnTo>
                    <a:pt x="4892" y="968"/>
                  </a:lnTo>
                  <a:lnTo>
                    <a:pt x="4900" y="962"/>
                  </a:lnTo>
                  <a:lnTo>
                    <a:pt x="4900" y="958"/>
                  </a:lnTo>
                  <a:lnTo>
                    <a:pt x="4898" y="956"/>
                  </a:lnTo>
                  <a:lnTo>
                    <a:pt x="4892" y="954"/>
                  </a:lnTo>
                  <a:lnTo>
                    <a:pt x="4892" y="954"/>
                  </a:lnTo>
                  <a:lnTo>
                    <a:pt x="4886" y="952"/>
                  </a:lnTo>
                  <a:lnTo>
                    <a:pt x="4882" y="952"/>
                  </a:lnTo>
                  <a:lnTo>
                    <a:pt x="4874" y="954"/>
                  </a:lnTo>
                  <a:lnTo>
                    <a:pt x="4874" y="954"/>
                  </a:lnTo>
                  <a:lnTo>
                    <a:pt x="4872" y="954"/>
                  </a:lnTo>
                  <a:lnTo>
                    <a:pt x="4870" y="952"/>
                  </a:lnTo>
                  <a:lnTo>
                    <a:pt x="4866" y="946"/>
                  </a:lnTo>
                  <a:lnTo>
                    <a:pt x="4866" y="936"/>
                  </a:lnTo>
                  <a:lnTo>
                    <a:pt x="4868" y="932"/>
                  </a:lnTo>
                  <a:lnTo>
                    <a:pt x="4872" y="926"/>
                  </a:lnTo>
                  <a:lnTo>
                    <a:pt x="4872" y="926"/>
                  </a:lnTo>
                  <a:lnTo>
                    <a:pt x="4880" y="918"/>
                  </a:lnTo>
                  <a:lnTo>
                    <a:pt x="4886" y="914"/>
                  </a:lnTo>
                  <a:lnTo>
                    <a:pt x="4892" y="908"/>
                  </a:lnTo>
                  <a:lnTo>
                    <a:pt x="4894" y="902"/>
                  </a:lnTo>
                  <a:lnTo>
                    <a:pt x="4894" y="902"/>
                  </a:lnTo>
                  <a:lnTo>
                    <a:pt x="4898" y="892"/>
                  </a:lnTo>
                  <a:lnTo>
                    <a:pt x="4904" y="882"/>
                  </a:lnTo>
                  <a:lnTo>
                    <a:pt x="4916" y="868"/>
                  </a:lnTo>
                  <a:lnTo>
                    <a:pt x="4916" y="868"/>
                  </a:lnTo>
                  <a:lnTo>
                    <a:pt x="4916" y="866"/>
                  </a:lnTo>
                  <a:lnTo>
                    <a:pt x="4920" y="866"/>
                  </a:lnTo>
                  <a:lnTo>
                    <a:pt x="4926" y="866"/>
                  </a:lnTo>
                  <a:lnTo>
                    <a:pt x="4934" y="866"/>
                  </a:lnTo>
                  <a:lnTo>
                    <a:pt x="4938" y="866"/>
                  </a:lnTo>
                  <a:lnTo>
                    <a:pt x="4938" y="866"/>
                  </a:lnTo>
                  <a:lnTo>
                    <a:pt x="4942" y="868"/>
                  </a:lnTo>
                  <a:lnTo>
                    <a:pt x="4944" y="870"/>
                  </a:lnTo>
                  <a:lnTo>
                    <a:pt x="4946" y="874"/>
                  </a:lnTo>
                  <a:lnTo>
                    <a:pt x="4950" y="872"/>
                  </a:lnTo>
                  <a:lnTo>
                    <a:pt x="4950" y="872"/>
                  </a:lnTo>
                  <a:lnTo>
                    <a:pt x="4962" y="856"/>
                  </a:lnTo>
                  <a:lnTo>
                    <a:pt x="4970" y="848"/>
                  </a:lnTo>
                  <a:lnTo>
                    <a:pt x="4974" y="846"/>
                  </a:lnTo>
                  <a:lnTo>
                    <a:pt x="4976" y="846"/>
                  </a:lnTo>
                  <a:lnTo>
                    <a:pt x="4976" y="846"/>
                  </a:lnTo>
                  <a:lnTo>
                    <a:pt x="4980" y="846"/>
                  </a:lnTo>
                  <a:lnTo>
                    <a:pt x="4982" y="848"/>
                  </a:lnTo>
                  <a:lnTo>
                    <a:pt x="4982" y="854"/>
                  </a:lnTo>
                  <a:lnTo>
                    <a:pt x="4982" y="862"/>
                  </a:lnTo>
                  <a:lnTo>
                    <a:pt x="4982" y="870"/>
                  </a:lnTo>
                  <a:lnTo>
                    <a:pt x="4982" y="870"/>
                  </a:lnTo>
                  <a:lnTo>
                    <a:pt x="4984" y="872"/>
                  </a:lnTo>
                  <a:lnTo>
                    <a:pt x="4984" y="872"/>
                  </a:lnTo>
                  <a:lnTo>
                    <a:pt x="4990" y="870"/>
                  </a:lnTo>
                  <a:lnTo>
                    <a:pt x="4996" y="864"/>
                  </a:lnTo>
                  <a:lnTo>
                    <a:pt x="5008" y="854"/>
                  </a:lnTo>
                  <a:lnTo>
                    <a:pt x="5008" y="854"/>
                  </a:lnTo>
                  <a:lnTo>
                    <a:pt x="5016" y="850"/>
                  </a:lnTo>
                  <a:lnTo>
                    <a:pt x="5024" y="848"/>
                  </a:lnTo>
                  <a:lnTo>
                    <a:pt x="5044" y="846"/>
                  </a:lnTo>
                  <a:lnTo>
                    <a:pt x="5062" y="846"/>
                  </a:lnTo>
                  <a:lnTo>
                    <a:pt x="5076" y="850"/>
                  </a:lnTo>
                  <a:lnTo>
                    <a:pt x="5076" y="850"/>
                  </a:lnTo>
                  <a:lnTo>
                    <a:pt x="5082" y="854"/>
                  </a:lnTo>
                  <a:lnTo>
                    <a:pt x="5088" y="860"/>
                  </a:lnTo>
                  <a:lnTo>
                    <a:pt x="5092" y="866"/>
                  </a:lnTo>
                  <a:lnTo>
                    <a:pt x="5094" y="866"/>
                  </a:lnTo>
                  <a:lnTo>
                    <a:pt x="5096" y="866"/>
                  </a:lnTo>
                  <a:lnTo>
                    <a:pt x="5096" y="866"/>
                  </a:lnTo>
                  <a:lnTo>
                    <a:pt x="5098" y="866"/>
                  </a:lnTo>
                  <a:lnTo>
                    <a:pt x="5100" y="864"/>
                  </a:lnTo>
                  <a:lnTo>
                    <a:pt x="5102" y="858"/>
                  </a:lnTo>
                  <a:lnTo>
                    <a:pt x="5102" y="854"/>
                  </a:lnTo>
                  <a:lnTo>
                    <a:pt x="5104" y="852"/>
                  </a:lnTo>
                  <a:lnTo>
                    <a:pt x="5108" y="850"/>
                  </a:lnTo>
                  <a:lnTo>
                    <a:pt x="5108" y="850"/>
                  </a:lnTo>
                  <a:lnTo>
                    <a:pt x="5126" y="842"/>
                  </a:lnTo>
                  <a:lnTo>
                    <a:pt x="5146" y="828"/>
                  </a:lnTo>
                  <a:lnTo>
                    <a:pt x="5146" y="828"/>
                  </a:lnTo>
                  <a:lnTo>
                    <a:pt x="5154" y="824"/>
                  </a:lnTo>
                  <a:lnTo>
                    <a:pt x="5158" y="822"/>
                  </a:lnTo>
                  <a:lnTo>
                    <a:pt x="5160" y="822"/>
                  </a:lnTo>
                  <a:lnTo>
                    <a:pt x="5162" y="818"/>
                  </a:lnTo>
                  <a:lnTo>
                    <a:pt x="5162" y="818"/>
                  </a:lnTo>
                  <a:lnTo>
                    <a:pt x="5168" y="814"/>
                  </a:lnTo>
                  <a:lnTo>
                    <a:pt x="5172" y="812"/>
                  </a:lnTo>
                  <a:lnTo>
                    <a:pt x="5176" y="810"/>
                  </a:lnTo>
                  <a:lnTo>
                    <a:pt x="5178" y="808"/>
                  </a:lnTo>
                  <a:lnTo>
                    <a:pt x="5178" y="808"/>
                  </a:lnTo>
                  <a:lnTo>
                    <a:pt x="5184" y="802"/>
                  </a:lnTo>
                  <a:lnTo>
                    <a:pt x="5192" y="796"/>
                  </a:lnTo>
                  <a:lnTo>
                    <a:pt x="5206" y="792"/>
                  </a:lnTo>
                  <a:lnTo>
                    <a:pt x="5224" y="786"/>
                  </a:lnTo>
                  <a:lnTo>
                    <a:pt x="5224" y="786"/>
                  </a:lnTo>
                  <a:lnTo>
                    <a:pt x="5244" y="780"/>
                  </a:lnTo>
                  <a:lnTo>
                    <a:pt x="5264" y="772"/>
                  </a:lnTo>
                  <a:lnTo>
                    <a:pt x="5276" y="764"/>
                  </a:lnTo>
                  <a:lnTo>
                    <a:pt x="5280" y="762"/>
                  </a:lnTo>
                  <a:lnTo>
                    <a:pt x="5282" y="758"/>
                  </a:lnTo>
                  <a:lnTo>
                    <a:pt x="5282" y="758"/>
                  </a:lnTo>
                  <a:lnTo>
                    <a:pt x="5282" y="756"/>
                  </a:lnTo>
                  <a:lnTo>
                    <a:pt x="5286" y="754"/>
                  </a:lnTo>
                  <a:lnTo>
                    <a:pt x="5290" y="754"/>
                  </a:lnTo>
                  <a:lnTo>
                    <a:pt x="5292" y="756"/>
                  </a:lnTo>
                  <a:lnTo>
                    <a:pt x="5292" y="756"/>
                  </a:lnTo>
                  <a:lnTo>
                    <a:pt x="5294" y="758"/>
                  </a:lnTo>
                  <a:lnTo>
                    <a:pt x="5300" y="760"/>
                  </a:lnTo>
                  <a:lnTo>
                    <a:pt x="5316" y="762"/>
                  </a:lnTo>
                  <a:lnTo>
                    <a:pt x="5316" y="762"/>
                  </a:lnTo>
                  <a:lnTo>
                    <a:pt x="5332" y="766"/>
                  </a:lnTo>
                  <a:lnTo>
                    <a:pt x="5338" y="766"/>
                  </a:lnTo>
                  <a:lnTo>
                    <a:pt x="5346" y="760"/>
                  </a:lnTo>
                  <a:lnTo>
                    <a:pt x="5346" y="760"/>
                  </a:lnTo>
                  <a:lnTo>
                    <a:pt x="5350" y="756"/>
                  </a:lnTo>
                  <a:lnTo>
                    <a:pt x="5350" y="754"/>
                  </a:lnTo>
                  <a:lnTo>
                    <a:pt x="5350" y="748"/>
                  </a:lnTo>
                  <a:lnTo>
                    <a:pt x="5346" y="744"/>
                  </a:lnTo>
                  <a:lnTo>
                    <a:pt x="5346" y="738"/>
                  </a:lnTo>
                  <a:lnTo>
                    <a:pt x="5346" y="738"/>
                  </a:lnTo>
                  <a:lnTo>
                    <a:pt x="5344" y="734"/>
                  </a:lnTo>
                  <a:lnTo>
                    <a:pt x="5342" y="732"/>
                  </a:lnTo>
                  <a:lnTo>
                    <a:pt x="5336" y="726"/>
                  </a:lnTo>
                  <a:lnTo>
                    <a:pt x="5332" y="720"/>
                  </a:lnTo>
                  <a:lnTo>
                    <a:pt x="5330" y="716"/>
                  </a:lnTo>
                  <a:lnTo>
                    <a:pt x="5330" y="712"/>
                  </a:lnTo>
                  <a:lnTo>
                    <a:pt x="5330" y="712"/>
                  </a:lnTo>
                  <a:lnTo>
                    <a:pt x="5330" y="708"/>
                  </a:lnTo>
                  <a:lnTo>
                    <a:pt x="5328" y="704"/>
                  </a:lnTo>
                  <a:lnTo>
                    <a:pt x="5324" y="694"/>
                  </a:lnTo>
                  <a:lnTo>
                    <a:pt x="5316" y="688"/>
                  </a:lnTo>
                  <a:lnTo>
                    <a:pt x="5314" y="686"/>
                  </a:lnTo>
                  <a:lnTo>
                    <a:pt x="5312" y="686"/>
                  </a:lnTo>
                  <a:lnTo>
                    <a:pt x="5312" y="686"/>
                  </a:lnTo>
                  <a:lnTo>
                    <a:pt x="5306" y="688"/>
                  </a:lnTo>
                  <a:lnTo>
                    <a:pt x="5302" y="686"/>
                  </a:lnTo>
                  <a:lnTo>
                    <a:pt x="5296" y="680"/>
                  </a:lnTo>
                  <a:lnTo>
                    <a:pt x="5296" y="676"/>
                  </a:lnTo>
                  <a:lnTo>
                    <a:pt x="5296" y="676"/>
                  </a:lnTo>
                  <a:lnTo>
                    <a:pt x="5294" y="672"/>
                  </a:lnTo>
                  <a:lnTo>
                    <a:pt x="5294" y="668"/>
                  </a:lnTo>
                  <a:lnTo>
                    <a:pt x="5292" y="666"/>
                  </a:lnTo>
                  <a:lnTo>
                    <a:pt x="5286" y="666"/>
                  </a:lnTo>
                  <a:lnTo>
                    <a:pt x="5286" y="666"/>
                  </a:lnTo>
                  <a:lnTo>
                    <a:pt x="5280" y="670"/>
                  </a:lnTo>
                  <a:lnTo>
                    <a:pt x="5274" y="668"/>
                  </a:lnTo>
                  <a:lnTo>
                    <a:pt x="5268" y="666"/>
                  </a:lnTo>
                  <a:lnTo>
                    <a:pt x="5264" y="662"/>
                  </a:lnTo>
                  <a:lnTo>
                    <a:pt x="5264" y="662"/>
                  </a:lnTo>
                  <a:lnTo>
                    <a:pt x="5264" y="660"/>
                  </a:lnTo>
                  <a:lnTo>
                    <a:pt x="5266" y="658"/>
                  </a:lnTo>
                  <a:lnTo>
                    <a:pt x="5272" y="654"/>
                  </a:lnTo>
                  <a:lnTo>
                    <a:pt x="5280" y="652"/>
                  </a:lnTo>
                  <a:lnTo>
                    <a:pt x="5290" y="654"/>
                  </a:lnTo>
                  <a:lnTo>
                    <a:pt x="5290" y="654"/>
                  </a:lnTo>
                  <a:lnTo>
                    <a:pt x="5298" y="658"/>
                  </a:lnTo>
                  <a:lnTo>
                    <a:pt x="5300" y="662"/>
                  </a:lnTo>
                  <a:lnTo>
                    <a:pt x="5302" y="664"/>
                  </a:lnTo>
                  <a:lnTo>
                    <a:pt x="5306" y="668"/>
                  </a:lnTo>
                  <a:lnTo>
                    <a:pt x="5306" y="668"/>
                  </a:lnTo>
                  <a:lnTo>
                    <a:pt x="5312" y="670"/>
                  </a:lnTo>
                  <a:lnTo>
                    <a:pt x="5320" y="670"/>
                  </a:lnTo>
                  <a:lnTo>
                    <a:pt x="5328" y="668"/>
                  </a:lnTo>
                  <a:lnTo>
                    <a:pt x="5336" y="666"/>
                  </a:lnTo>
                  <a:lnTo>
                    <a:pt x="5336" y="666"/>
                  </a:lnTo>
                  <a:lnTo>
                    <a:pt x="5356" y="658"/>
                  </a:lnTo>
                  <a:lnTo>
                    <a:pt x="5366" y="652"/>
                  </a:lnTo>
                  <a:lnTo>
                    <a:pt x="5372" y="648"/>
                  </a:lnTo>
                  <a:lnTo>
                    <a:pt x="5372" y="648"/>
                  </a:lnTo>
                  <a:lnTo>
                    <a:pt x="5374" y="642"/>
                  </a:lnTo>
                  <a:lnTo>
                    <a:pt x="5374" y="638"/>
                  </a:lnTo>
                  <a:lnTo>
                    <a:pt x="5376" y="636"/>
                  </a:lnTo>
                  <a:lnTo>
                    <a:pt x="5380" y="632"/>
                  </a:lnTo>
                  <a:lnTo>
                    <a:pt x="5380" y="632"/>
                  </a:lnTo>
                  <a:lnTo>
                    <a:pt x="5384" y="630"/>
                  </a:lnTo>
                  <a:lnTo>
                    <a:pt x="5384" y="624"/>
                  </a:lnTo>
                  <a:lnTo>
                    <a:pt x="5380" y="620"/>
                  </a:lnTo>
                  <a:lnTo>
                    <a:pt x="5376" y="616"/>
                  </a:lnTo>
                  <a:lnTo>
                    <a:pt x="5376" y="616"/>
                  </a:lnTo>
                  <a:lnTo>
                    <a:pt x="5372" y="614"/>
                  </a:lnTo>
                  <a:lnTo>
                    <a:pt x="5370" y="608"/>
                  </a:lnTo>
                  <a:lnTo>
                    <a:pt x="5372" y="606"/>
                  </a:lnTo>
                  <a:lnTo>
                    <a:pt x="5378" y="604"/>
                  </a:lnTo>
                  <a:lnTo>
                    <a:pt x="5378" y="604"/>
                  </a:lnTo>
                  <a:lnTo>
                    <a:pt x="5382" y="602"/>
                  </a:lnTo>
                  <a:lnTo>
                    <a:pt x="5384" y="600"/>
                  </a:lnTo>
                  <a:lnTo>
                    <a:pt x="5384" y="596"/>
                  </a:lnTo>
                  <a:lnTo>
                    <a:pt x="5388" y="594"/>
                  </a:lnTo>
                  <a:lnTo>
                    <a:pt x="5388" y="594"/>
                  </a:lnTo>
                  <a:lnTo>
                    <a:pt x="5394" y="596"/>
                  </a:lnTo>
                  <a:lnTo>
                    <a:pt x="5396" y="596"/>
                  </a:lnTo>
                  <a:lnTo>
                    <a:pt x="5402" y="594"/>
                  </a:lnTo>
                  <a:lnTo>
                    <a:pt x="5402" y="594"/>
                  </a:lnTo>
                  <a:lnTo>
                    <a:pt x="5406" y="594"/>
                  </a:lnTo>
                  <a:lnTo>
                    <a:pt x="5404" y="596"/>
                  </a:lnTo>
                  <a:lnTo>
                    <a:pt x="5398" y="608"/>
                  </a:lnTo>
                  <a:lnTo>
                    <a:pt x="5398" y="608"/>
                  </a:lnTo>
                  <a:lnTo>
                    <a:pt x="5398" y="612"/>
                  </a:lnTo>
                  <a:lnTo>
                    <a:pt x="5398" y="614"/>
                  </a:lnTo>
                  <a:lnTo>
                    <a:pt x="5402" y="618"/>
                  </a:lnTo>
                  <a:lnTo>
                    <a:pt x="5406" y="624"/>
                  </a:lnTo>
                  <a:lnTo>
                    <a:pt x="5408" y="626"/>
                  </a:lnTo>
                  <a:lnTo>
                    <a:pt x="5408" y="626"/>
                  </a:lnTo>
                  <a:lnTo>
                    <a:pt x="5412" y="630"/>
                  </a:lnTo>
                  <a:lnTo>
                    <a:pt x="5418" y="630"/>
                  </a:lnTo>
                  <a:lnTo>
                    <a:pt x="5428" y="630"/>
                  </a:lnTo>
                  <a:lnTo>
                    <a:pt x="5436" y="628"/>
                  </a:lnTo>
                  <a:lnTo>
                    <a:pt x="5436" y="628"/>
                  </a:lnTo>
                  <a:lnTo>
                    <a:pt x="5440" y="626"/>
                  </a:lnTo>
                  <a:lnTo>
                    <a:pt x="5446" y="626"/>
                  </a:lnTo>
                  <a:lnTo>
                    <a:pt x="5460" y="630"/>
                  </a:lnTo>
                  <a:lnTo>
                    <a:pt x="5472" y="636"/>
                  </a:lnTo>
                  <a:lnTo>
                    <a:pt x="5476" y="638"/>
                  </a:lnTo>
                  <a:lnTo>
                    <a:pt x="5478" y="642"/>
                  </a:lnTo>
                  <a:lnTo>
                    <a:pt x="5478" y="642"/>
                  </a:lnTo>
                  <a:lnTo>
                    <a:pt x="5480" y="648"/>
                  </a:lnTo>
                  <a:lnTo>
                    <a:pt x="5484" y="654"/>
                  </a:lnTo>
                  <a:lnTo>
                    <a:pt x="5490" y="660"/>
                  </a:lnTo>
                  <a:lnTo>
                    <a:pt x="5498" y="666"/>
                  </a:lnTo>
                  <a:lnTo>
                    <a:pt x="5498" y="666"/>
                  </a:lnTo>
                  <a:lnTo>
                    <a:pt x="5508" y="668"/>
                  </a:lnTo>
                  <a:lnTo>
                    <a:pt x="5516" y="670"/>
                  </a:lnTo>
                  <a:lnTo>
                    <a:pt x="5522" y="672"/>
                  </a:lnTo>
                  <a:lnTo>
                    <a:pt x="5526" y="674"/>
                  </a:lnTo>
                  <a:lnTo>
                    <a:pt x="5526" y="674"/>
                  </a:lnTo>
                  <a:lnTo>
                    <a:pt x="5528" y="678"/>
                  </a:lnTo>
                  <a:lnTo>
                    <a:pt x="5530" y="682"/>
                  </a:lnTo>
                  <a:lnTo>
                    <a:pt x="5534" y="682"/>
                  </a:lnTo>
                  <a:lnTo>
                    <a:pt x="5540" y="682"/>
                  </a:lnTo>
                  <a:lnTo>
                    <a:pt x="5540" y="682"/>
                  </a:lnTo>
                  <a:lnTo>
                    <a:pt x="5544" y="682"/>
                  </a:lnTo>
                  <a:lnTo>
                    <a:pt x="5548" y="684"/>
                  </a:lnTo>
                  <a:lnTo>
                    <a:pt x="5552" y="686"/>
                  </a:lnTo>
                  <a:lnTo>
                    <a:pt x="5556" y="684"/>
                  </a:lnTo>
                  <a:lnTo>
                    <a:pt x="5556" y="684"/>
                  </a:lnTo>
                  <a:lnTo>
                    <a:pt x="5560" y="682"/>
                  </a:lnTo>
                  <a:lnTo>
                    <a:pt x="5562" y="682"/>
                  </a:lnTo>
                  <a:lnTo>
                    <a:pt x="5566" y="684"/>
                  </a:lnTo>
                  <a:lnTo>
                    <a:pt x="5572" y="680"/>
                  </a:lnTo>
                  <a:lnTo>
                    <a:pt x="5572" y="680"/>
                  </a:lnTo>
                  <a:lnTo>
                    <a:pt x="5572" y="678"/>
                  </a:lnTo>
                  <a:lnTo>
                    <a:pt x="5572" y="676"/>
                  </a:lnTo>
                  <a:lnTo>
                    <a:pt x="5566" y="672"/>
                  </a:lnTo>
                  <a:lnTo>
                    <a:pt x="5560" y="670"/>
                  </a:lnTo>
                  <a:lnTo>
                    <a:pt x="5558" y="668"/>
                  </a:lnTo>
                  <a:lnTo>
                    <a:pt x="5558" y="666"/>
                  </a:lnTo>
                  <a:lnTo>
                    <a:pt x="5558" y="666"/>
                  </a:lnTo>
                  <a:lnTo>
                    <a:pt x="5562" y="664"/>
                  </a:lnTo>
                  <a:lnTo>
                    <a:pt x="5564" y="666"/>
                  </a:lnTo>
                  <a:lnTo>
                    <a:pt x="5568" y="668"/>
                  </a:lnTo>
                  <a:lnTo>
                    <a:pt x="5572" y="670"/>
                  </a:lnTo>
                  <a:lnTo>
                    <a:pt x="5572" y="670"/>
                  </a:lnTo>
                  <a:lnTo>
                    <a:pt x="5574" y="668"/>
                  </a:lnTo>
                  <a:lnTo>
                    <a:pt x="5574" y="668"/>
                  </a:lnTo>
                  <a:lnTo>
                    <a:pt x="5574" y="662"/>
                  </a:lnTo>
                  <a:lnTo>
                    <a:pt x="5574" y="658"/>
                  </a:lnTo>
                  <a:lnTo>
                    <a:pt x="5574" y="656"/>
                  </a:lnTo>
                  <a:lnTo>
                    <a:pt x="5576" y="656"/>
                  </a:lnTo>
                  <a:lnTo>
                    <a:pt x="5576" y="656"/>
                  </a:lnTo>
                  <a:lnTo>
                    <a:pt x="5576" y="654"/>
                  </a:lnTo>
                  <a:lnTo>
                    <a:pt x="5576" y="652"/>
                  </a:lnTo>
                  <a:lnTo>
                    <a:pt x="5576" y="642"/>
                  </a:lnTo>
                  <a:lnTo>
                    <a:pt x="5574" y="634"/>
                  </a:lnTo>
                  <a:lnTo>
                    <a:pt x="5572" y="628"/>
                  </a:lnTo>
                  <a:lnTo>
                    <a:pt x="5572" y="628"/>
                  </a:lnTo>
                  <a:lnTo>
                    <a:pt x="5568" y="626"/>
                  </a:lnTo>
                  <a:lnTo>
                    <a:pt x="5570" y="624"/>
                  </a:lnTo>
                  <a:lnTo>
                    <a:pt x="5574" y="624"/>
                  </a:lnTo>
                  <a:lnTo>
                    <a:pt x="5580" y="626"/>
                  </a:lnTo>
                  <a:lnTo>
                    <a:pt x="5580" y="626"/>
                  </a:lnTo>
                  <a:close/>
                  <a:moveTo>
                    <a:pt x="1950" y="1558"/>
                  </a:moveTo>
                  <a:lnTo>
                    <a:pt x="1950" y="1558"/>
                  </a:lnTo>
                  <a:lnTo>
                    <a:pt x="1944" y="1558"/>
                  </a:lnTo>
                  <a:lnTo>
                    <a:pt x="1936" y="1562"/>
                  </a:lnTo>
                  <a:lnTo>
                    <a:pt x="1930" y="1564"/>
                  </a:lnTo>
                  <a:lnTo>
                    <a:pt x="1924" y="1564"/>
                  </a:lnTo>
                  <a:lnTo>
                    <a:pt x="1924" y="1564"/>
                  </a:lnTo>
                  <a:lnTo>
                    <a:pt x="1908" y="1558"/>
                  </a:lnTo>
                  <a:lnTo>
                    <a:pt x="1902" y="1558"/>
                  </a:lnTo>
                  <a:lnTo>
                    <a:pt x="1900" y="1560"/>
                  </a:lnTo>
                  <a:lnTo>
                    <a:pt x="1898" y="1564"/>
                  </a:lnTo>
                  <a:lnTo>
                    <a:pt x="1898" y="1564"/>
                  </a:lnTo>
                  <a:lnTo>
                    <a:pt x="1896" y="1572"/>
                  </a:lnTo>
                  <a:lnTo>
                    <a:pt x="1896" y="1580"/>
                  </a:lnTo>
                  <a:lnTo>
                    <a:pt x="1896" y="1582"/>
                  </a:lnTo>
                  <a:lnTo>
                    <a:pt x="1898" y="1584"/>
                  </a:lnTo>
                  <a:lnTo>
                    <a:pt x="1900" y="1586"/>
                  </a:lnTo>
                  <a:lnTo>
                    <a:pt x="1904" y="1586"/>
                  </a:lnTo>
                  <a:lnTo>
                    <a:pt x="1904" y="1586"/>
                  </a:lnTo>
                  <a:lnTo>
                    <a:pt x="1910" y="1586"/>
                  </a:lnTo>
                  <a:lnTo>
                    <a:pt x="1912" y="1588"/>
                  </a:lnTo>
                  <a:lnTo>
                    <a:pt x="1912" y="1590"/>
                  </a:lnTo>
                  <a:lnTo>
                    <a:pt x="1910" y="1596"/>
                  </a:lnTo>
                  <a:lnTo>
                    <a:pt x="1906" y="1602"/>
                  </a:lnTo>
                  <a:lnTo>
                    <a:pt x="1906" y="1602"/>
                  </a:lnTo>
                  <a:lnTo>
                    <a:pt x="1904" y="1606"/>
                  </a:lnTo>
                  <a:lnTo>
                    <a:pt x="1904" y="1606"/>
                  </a:lnTo>
                  <a:lnTo>
                    <a:pt x="1910" y="1606"/>
                  </a:lnTo>
                  <a:lnTo>
                    <a:pt x="1916" y="1606"/>
                  </a:lnTo>
                  <a:lnTo>
                    <a:pt x="1920" y="1608"/>
                  </a:lnTo>
                  <a:lnTo>
                    <a:pt x="1920" y="1610"/>
                  </a:lnTo>
                  <a:lnTo>
                    <a:pt x="1920" y="1610"/>
                  </a:lnTo>
                  <a:lnTo>
                    <a:pt x="1922" y="1614"/>
                  </a:lnTo>
                  <a:lnTo>
                    <a:pt x="1926" y="1618"/>
                  </a:lnTo>
                  <a:lnTo>
                    <a:pt x="1928" y="1624"/>
                  </a:lnTo>
                  <a:lnTo>
                    <a:pt x="1926" y="1632"/>
                  </a:lnTo>
                  <a:lnTo>
                    <a:pt x="1926" y="1632"/>
                  </a:lnTo>
                  <a:lnTo>
                    <a:pt x="1926" y="1644"/>
                  </a:lnTo>
                  <a:lnTo>
                    <a:pt x="1926" y="1660"/>
                  </a:lnTo>
                  <a:lnTo>
                    <a:pt x="1926" y="1674"/>
                  </a:lnTo>
                  <a:lnTo>
                    <a:pt x="1926" y="1682"/>
                  </a:lnTo>
                  <a:lnTo>
                    <a:pt x="1926" y="1682"/>
                  </a:lnTo>
                  <a:lnTo>
                    <a:pt x="1922" y="1684"/>
                  </a:lnTo>
                  <a:lnTo>
                    <a:pt x="1918" y="1686"/>
                  </a:lnTo>
                  <a:lnTo>
                    <a:pt x="1904" y="1690"/>
                  </a:lnTo>
                  <a:lnTo>
                    <a:pt x="1886" y="1694"/>
                  </a:lnTo>
                  <a:lnTo>
                    <a:pt x="1866" y="1694"/>
                  </a:lnTo>
                  <a:lnTo>
                    <a:pt x="1866" y="1694"/>
                  </a:lnTo>
                  <a:lnTo>
                    <a:pt x="1858" y="1694"/>
                  </a:lnTo>
                  <a:lnTo>
                    <a:pt x="1852" y="1690"/>
                  </a:lnTo>
                  <a:lnTo>
                    <a:pt x="1842" y="1680"/>
                  </a:lnTo>
                  <a:lnTo>
                    <a:pt x="1838" y="1674"/>
                  </a:lnTo>
                  <a:lnTo>
                    <a:pt x="1832" y="1670"/>
                  </a:lnTo>
                  <a:lnTo>
                    <a:pt x="1826" y="1666"/>
                  </a:lnTo>
                  <a:lnTo>
                    <a:pt x="1816" y="1664"/>
                  </a:lnTo>
                  <a:lnTo>
                    <a:pt x="1816" y="1664"/>
                  </a:lnTo>
                  <a:lnTo>
                    <a:pt x="1808" y="1664"/>
                  </a:lnTo>
                  <a:lnTo>
                    <a:pt x="1800" y="1660"/>
                  </a:lnTo>
                  <a:lnTo>
                    <a:pt x="1794" y="1654"/>
                  </a:lnTo>
                  <a:lnTo>
                    <a:pt x="1788" y="1648"/>
                  </a:lnTo>
                  <a:lnTo>
                    <a:pt x="1784" y="1640"/>
                  </a:lnTo>
                  <a:lnTo>
                    <a:pt x="1784" y="1632"/>
                  </a:lnTo>
                  <a:lnTo>
                    <a:pt x="1784" y="1624"/>
                  </a:lnTo>
                  <a:lnTo>
                    <a:pt x="1788" y="1616"/>
                  </a:lnTo>
                  <a:lnTo>
                    <a:pt x="1788" y="1616"/>
                  </a:lnTo>
                  <a:lnTo>
                    <a:pt x="1798" y="1602"/>
                  </a:lnTo>
                  <a:lnTo>
                    <a:pt x="1804" y="1586"/>
                  </a:lnTo>
                  <a:lnTo>
                    <a:pt x="1808" y="1572"/>
                  </a:lnTo>
                  <a:lnTo>
                    <a:pt x="1806" y="1564"/>
                  </a:lnTo>
                  <a:lnTo>
                    <a:pt x="1804" y="1558"/>
                  </a:lnTo>
                  <a:lnTo>
                    <a:pt x="1804" y="1558"/>
                  </a:lnTo>
                  <a:lnTo>
                    <a:pt x="1792" y="1542"/>
                  </a:lnTo>
                  <a:lnTo>
                    <a:pt x="1774" y="1518"/>
                  </a:lnTo>
                  <a:lnTo>
                    <a:pt x="1756" y="1496"/>
                  </a:lnTo>
                  <a:lnTo>
                    <a:pt x="1750" y="1486"/>
                  </a:lnTo>
                  <a:lnTo>
                    <a:pt x="1750" y="1480"/>
                  </a:lnTo>
                  <a:lnTo>
                    <a:pt x="1750" y="1480"/>
                  </a:lnTo>
                  <a:lnTo>
                    <a:pt x="1750" y="1470"/>
                  </a:lnTo>
                  <a:lnTo>
                    <a:pt x="1750" y="1462"/>
                  </a:lnTo>
                  <a:lnTo>
                    <a:pt x="1748" y="1452"/>
                  </a:lnTo>
                  <a:lnTo>
                    <a:pt x="1738" y="1442"/>
                  </a:lnTo>
                  <a:lnTo>
                    <a:pt x="1738" y="1442"/>
                  </a:lnTo>
                  <a:lnTo>
                    <a:pt x="1734" y="1438"/>
                  </a:lnTo>
                  <a:lnTo>
                    <a:pt x="1732" y="1432"/>
                  </a:lnTo>
                  <a:lnTo>
                    <a:pt x="1732" y="1428"/>
                  </a:lnTo>
                  <a:lnTo>
                    <a:pt x="1734" y="1424"/>
                  </a:lnTo>
                  <a:lnTo>
                    <a:pt x="1742" y="1414"/>
                  </a:lnTo>
                  <a:lnTo>
                    <a:pt x="1752" y="1402"/>
                  </a:lnTo>
                  <a:lnTo>
                    <a:pt x="1752" y="1402"/>
                  </a:lnTo>
                  <a:lnTo>
                    <a:pt x="1758" y="1398"/>
                  </a:lnTo>
                  <a:lnTo>
                    <a:pt x="1764" y="1394"/>
                  </a:lnTo>
                  <a:lnTo>
                    <a:pt x="1778" y="1386"/>
                  </a:lnTo>
                  <a:lnTo>
                    <a:pt x="1794" y="1378"/>
                  </a:lnTo>
                  <a:lnTo>
                    <a:pt x="1806" y="1370"/>
                  </a:lnTo>
                  <a:lnTo>
                    <a:pt x="1806" y="1370"/>
                  </a:lnTo>
                  <a:lnTo>
                    <a:pt x="1818" y="1362"/>
                  </a:lnTo>
                  <a:lnTo>
                    <a:pt x="1832" y="1354"/>
                  </a:lnTo>
                  <a:lnTo>
                    <a:pt x="1848" y="1350"/>
                  </a:lnTo>
                  <a:lnTo>
                    <a:pt x="1856" y="1350"/>
                  </a:lnTo>
                  <a:lnTo>
                    <a:pt x="1862" y="1352"/>
                  </a:lnTo>
                  <a:lnTo>
                    <a:pt x="1862" y="1352"/>
                  </a:lnTo>
                  <a:lnTo>
                    <a:pt x="1876" y="1354"/>
                  </a:lnTo>
                  <a:lnTo>
                    <a:pt x="1888" y="1352"/>
                  </a:lnTo>
                  <a:lnTo>
                    <a:pt x="1898" y="1354"/>
                  </a:lnTo>
                  <a:lnTo>
                    <a:pt x="1902" y="1356"/>
                  </a:lnTo>
                  <a:lnTo>
                    <a:pt x="1904" y="1360"/>
                  </a:lnTo>
                  <a:lnTo>
                    <a:pt x="1904" y="1360"/>
                  </a:lnTo>
                  <a:lnTo>
                    <a:pt x="1906" y="1364"/>
                  </a:lnTo>
                  <a:lnTo>
                    <a:pt x="1908" y="1370"/>
                  </a:lnTo>
                  <a:lnTo>
                    <a:pt x="1908" y="1380"/>
                  </a:lnTo>
                  <a:lnTo>
                    <a:pt x="1908" y="1392"/>
                  </a:lnTo>
                  <a:lnTo>
                    <a:pt x="1908" y="1400"/>
                  </a:lnTo>
                  <a:lnTo>
                    <a:pt x="1908" y="1400"/>
                  </a:lnTo>
                  <a:lnTo>
                    <a:pt x="1908" y="1402"/>
                  </a:lnTo>
                  <a:lnTo>
                    <a:pt x="1906" y="1404"/>
                  </a:lnTo>
                  <a:lnTo>
                    <a:pt x="1900" y="1406"/>
                  </a:lnTo>
                  <a:lnTo>
                    <a:pt x="1892" y="1408"/>
                  </a:lnTo>
                  <a:lnTo>
                    <a:pt x="1882" y="1406"/>
                  </a:lnTo>
                  <a:lnTo>
                    <a:pt x="1882" y="1406"/>
                  </a:lnTo>
                  <a:lnTo>
                    <a:pt x="1870" y="1408"/>
                  </a:lnTo>
                  <a:lnTo>
                    <a:pt x="1858" y="1410"/>
                  </a:lnTo>
                  <a:lnTo>
                    <a:pt x="1850" y="1414"/>
                  </a:lnTo>
                  <a:lnTo>
                    <a:pt x="1848" y="1416"/>
                  </a:lnTo>
                  <a:lnTo>
                    <a:pt x="1848" y="1420"/>
                  </a:lnTo>
                  <a:lnTo>
                    <a:pt x="1848" y="1420"/>
                  </a:lnTo>
                  <a:lnTo>
                    <a:pt x="1850" y="1426"/>
                  </a:lnTo>
                  <a:lnTo>
                    <a:pt x="1852" y="1432"/>
                  </a:lnTo>
                  <a:lnTo>
                    <a:pt x="1852" y="1436"/>
                  </a:lnTo>
                  <a:lnTo>
                    <a:pt x="1852" y="1436"/>
                  </a:lnTo>
                  <a:lnTo>
                    <a:pt x="1848" y="1436"/>
                  </a:lnTo>
                  <a:lnTo>
                    <a:pt x="1844" y="1434"/>
                  </a:lnTo>
                  <a:lnTo>
                    <a:pt x="1844" y="1434"/>
                  </a:lnTo>
                  <a:lnTo>
                    <a:pt x="1838" y="1432"/>
                  </a:lnTo>
                  <a:lnTo>
                    <a:pt x="1834" y="1432"/>
                  </a:lnTo>
                  <a:lnTo>
                    <a:pt x="1830" y="1434"/>
                  </a:lnTo>
                  <a:lnTo>
                    <a:pt x="1828" y="1436"/>
                  </a:lnTo>
                  <a:lnTo>
                    <a:pt x="1826" y="1440"/>
                  </a:lnTo>
                  <a:lnTo>
                    <a:pt x="1828" y="1442"/>
                  </a:lnTo>
                  <a:lnTo>
                    <a:pt x="1830" y="1444"/>
                  </a:lnTo>
                  <a:lnTo>
                    <a:pt x="1830" y="1444"/>
                  </a:lnTo>
                  <a:lnTo>
                    <a:pt x="1836" y="1444"/>
                  </a:lnTo>
                  <a:lnTo>
                    <a:pt x="1844" y="1450"/>
                  </a:lnTo>
                  <a:lnTo>
                    <a:pt x="1848" y="1456"/>
                  </a:lnTo>
                  <a:lnTo>
                    <a:pt x="1850" y="1460"/>
                  </a:lnTo>
                  <a:lnTo>
                    <a:pt x="1850" y="1460"/>
                  </a:lnTo>
                  <a:lnTo>
                    <a:pt x="1852" y="1476"/>
                  </a:lnTo>
                  <a:lnTo>
                    <a:pt x="1854" y="1480"/>
                  </a:lnTo>
                  <a:lnTo>
                    <a:pt x="1856" y="1482"/>
                  </a:lnTo>
                  <a:lnTo>
                    <a:pt x="1860" y="1482"/>
                  </a:lnTo>
                  <a:lnTo>
                    <a:pt x="1860" y="1482"/>
                  </a:lnTo>
                  <a:lnTo>
                    <a:pt x="1862" y="1482"/>
                  </a:lnTo>
                  <a:lnTo>
                    <a:pt x="1864" y="1482"/>
                  </a:lnTo>
                  <a:lnTo>
                    <a:pt x="1868" y="1486"/>
                  </a:lnTo>
                  <a:lnTo>
                    <a:pt x="1872" y="1492"/>
                  </a:lnTo>
                  <a:lnTo>
                    <a:pt x="1876" y="1492"/>
                  </a:lnTo>
                  <a:lnTo>
                    <a:pt x="1878" y="1494"/>
                  </a:lnTo>
                  <a:lnTo>
                    <a:pt x="1878" y="1494"/>
                  </a:lnTo>
                  <a:lnTo>
                    <a:pt x="1886" y="1494"/>
                  </a:lnTo>
                  <a:lnTo>
                    <a:pt x="1892" y="1496"/>
                  </a:lnTo>
                  <a:lnTo>
                    <a:pt x="1894" y="1498"/>
                  </a:lnTo>
                  <a:lnTo>
                    <a:pt x="1896" y="1500"/>
                  </a:lnTo>
                  <a:lnTo>
                    <a:pt x="1894" y="1504"/>
                  </a:lnTo>
                  <a:lnTo>
                    <a:pt x="1892" y="1506"/>
                  </a:lnTo>
                  <a:lnTo>
                    <a:pt x="1892" y="1506"/>
                  </a:lnTo>
                  <a:lnTo>
                    <a:pt x="1890" y="1512"/>
                  </a:lnTo>
                  <a:lnTo>
                    <a:pt x="1888" y="1518"/>
                  </a:lnTo>
                  <a:lnTo>
                    <a:pt x="1892" y="1530"/>
                  </a:lnTo>
                  <a:lnTo>
                    <a:pt x="1896" y="1538"/>
                  </a:lnTo>
                  <a:lnTo>
                    <a:pt x="1898" y="1540"/>
                  </a:lnTo>
                  <a:lnTo>
                    <a:pt x="1900" y="1540"/>
                  </a:lnTo>
                  <a:lnTo>
                    <a:pt x="1900" y="1540"/>
                  </a:lnTo>
                  <a:lnTo>
                    <a:pt x="1902" y="1534"/>
                  </a:lnTo>
                  <a:lnTo>
                    <a:pt x="1902" y="1526"/>
                  </a:lnTo>
                  <a:lnTo>
                    <a:pt x="1904" y="1522"/>
                  </a:lnTo>
                  <a:lnTo>
                    <a:pt x="1906" y="1518"/>
                  </a:lnTo>
                  <a:lnTo>
                    <a:pt x="1910" y="1516"/>
                  </a:lnTo>
                  <a:lnTo>
                    <a:pt x="1916" y="1516"/>
                  </a:lnTo>
                  <a:lnTo>
                    <a:pt x="1916" y="1516"/>
                  </a:lnTo>
                  <a:lnTo>
                    <a:pt x="1922" y="1518"/>
                  </a:lnTo>
                  <a:lnTo>
                    <a:pt x="1926" y="1522"/>
                  </a:lnTo>
                  <a:lnTo>
                    <a:pt x="1930" y="1524"/>
                  </a:lnTo>
                  <a:lnTo>
                    <a:pt x="1930" y="1530"/>
                  </a:lnTo>
                  <a:lnTo>
                    <a:pt x="1932" y="1538"/>
                  </a:lnTo>
                  <a:lnTo>
                    <a:pt x="1934" y="1540"/>
                  </a:lnTo>
                  <a:lnTo>
                    <a:pt x="1938" y="1542"/>
                  </a:lnTo>
                  <a:lnTo>
                    <a:pt x="1938" y="1542"/>
                  </a:lnTo>
                  <a:lnTo>
                    <a:pt x="1946" y="1544"/>
                  </a:lnTo>
                  <a:lnTo>
                    <a:pt x="1952" y="1550"/>
                  </a:lnTo>
                  <a:lnTo>
                    <a:pt x="1954" y="1556"/>
                  </a:lnTo>
                  <a:lnTo>
                    <a:pt x="1954" y="1558"/>
                  </a:lnTo>
                  <a:lnTo>
                    <a:pt x="1950" y="1558"/>
                  </a:lnTo>
                  <a:lnTo>
                    <a:pt x="1950" y="1558"/>
                  </a:lnTo>
                  <a:close/>
                  <a:moveTo>
                    <a:pt x="2108" y="1444"/>
                  </a:moveTo>
                  <a:lnTo>
                    <a:pt x="2108" y="1444"/>
                  </a:lnTo>
                  <a:lnTo>
                    <a:pt x="2102" y="1450"/>
                  </a:lnTo>
                  <a:lnTo>
                    <a:pt x="2094" y="1452"/>
                  </a:lnTo>
                  <a:lnTo>
                    <a:pt x="2088" y="1454"/>
                  </a:lnTo>
                  <a:lnTo>
                    <a:pt x="2082" y="1454"/>
                  </a:lnTo>
                  <a:lnTo>
                    <a:pt x="2078" y="1452"/>
                  </a:lnTo>
                  <a:lnTo>
                    <a:pt x="2076" y="1450"/>
                  </a:lnTo>
                  <a:lnTo>
                    <a:pt x="2074" y="1446"/>
                  </a:lnTo>
                  <a:lnTo>
                    <a:pt x="2076" y="1440"/>
                  </a:lnTo>
                  <a:lnTo>
                    <a:pt x="2076" y="1440"/>
                  </a:lnTo>
                  <a:lnTo>
                    <a:pt x="2080" y="1426"/>
                  </a:lnTo>
                  <a:lnTo>
                    <a:pt x="2080" y="1414"/>
                  </a:lnTo>
                  <a:lnTo>
                    <a:pt x="2078" y="1404"/>
                  </a:lnTo>
                  <a:lnTo>
                    <a:pt x="2076" y="1402"/>
                  </a:lnTo>
                  <a:lnTo>
                    <a:pt x="2072" y="1400"/>
                  </a:lnTo>
                  <a:lnTo>
                    <a:pt x="2072" y="1400"/>
                  </a:lnTo>
                  <a:lnTo>
                    <a:pt x="2070" y="1402"/>
                  </a:lnTo>
                  <a:lnTo>
                    <a:pt x="2068" y="1406"/>
                  </a:lnTo>
                  <a:lnTo>
                    <a:pt x="2066" y="1420"/>
                  </a:lnTo>
                  <a:lnTo>
                    <a:pt x="2064" y="1432"/>
                  </a:lnTo>
                  <a:lnTo>
                    <a:pt x="2064" y="1438"/>
                  </a:lnTo>
                  <a:lnTo>
                    <a:pt x="2062" y="1440"/>
                  </a:lnTo>
                  <a:lnTo>
                    <a:pt x="2062" y="1440"/>
                  </a:lnTo>
                  <a:lnTo>
                    <a:pt x="2058" y="1440"/>
                  </a:lnTo>
                  <a:lnTo>
                    <a:pt x="2056" y="1436"/>
                  </a:lnTo>
                  <a:lnTo>
                    <a:pt x="2054" y="1422"/>
                  </a:lnTo>
                  <a:lnTo>
                    <a:pt x="2054" y="1406"/>
                  </a:lnTo>
                  <a:lnTo>
                    <a:pt x="2056" y="1400"/>
                  </a:lnTo>
                  <a:lnTo>
                    <a:pt x="2060" y="1394"/>
                  </a:lnTo>
                  <a:lnTo>
                    <a:pt x="2060" y="1394"/>
                  </a:lnTo>
                  <a:lnTo>
                    <a:pt x="2062" y="1390"/>
                  </a:lnTo>
                  <a:lnTo>
                    <a:pt x="2066" y="1388"/>
                  </a:lnTo>
                  <a:lnTo>
                    <a:pt x="2070" y="1388"/>
                  </a:lnTo>
                  <a:lnTo>
                    <a:pt x="2074" y="1388"/>
                  </a:lnTo>
                  <a:lnTo>
                    <a:pt x="2080" y="1390"/>
                  </a:lnTo>
                  <a:lnTo>
                    <a:pt x="2084" y="1394"/>
                  </a:lnTo>
                  <a:lnTo>
                    <a:pt x="2084" y="1394"/>
                  </a:lnTo>
                  <a:lnTo>
                    <a:pt x="2086" y="1394"/>
                  </a:lnTo>
                  <a:lnTo>
                    <a:pt x="2086" y="1394"/>
                  </a:lnTo>
                  <a:lnTo>
                    <a:pt x="2088" y="1388"/>
                  </a:lnTo>
                  <a:lnTo>
                    <a:pt x="2090" y="1384"/>
                  </a:lnTo>
                  <a:lnTo>
                    <a:pt x="2092" y="1382"/>
                  </a:lnTo>
                  <a:lnTo>
                    <a:pt x="2096" y="1382"/>
                  </a:lnTo>
                  <a:lnTo>
                    <a:pt x="2096" y="1382"/>
                  </a:lnTo>
                  <a:lnTo>
                    <a:pt x="2098" y="1382"/>
                  </a:lnTo>
                  <a:lnTo>
                    <a:pt x="2100" y="1384"/>
                  </a:lnTo>
                  <a:lnTo>
                    <a:pt x="2100" y="1390"/>
                  </a:lnTo>
                  <a:lnTo>
                    <a:pt x="2100" y="1394"/>
                  </a:lnTo>
                  <a:lnTo>
                    <a:pt x="2100" y="1396"/>
                  </a:lnTo>
                  <a:lnTo>
                    <a:pt x="2102" y="1398"/>
                  </a:lnTo>
                  <a:lnTo>
                    <a:pt x="2102" y="1398"/>
                  </a:lnTo>
                  <a:lnTo>
                    <a:pt x="2106" y="1398"/>
                  </a:lnTo>
                  <a:lnTo>
                    <a:pt x="2110" y="1402"/>
                  </a:lnTo>
                  <a:lnTo>
                    <a:pt x="2112" y="1408"/>
                  </a:lnTo>
                  <a:lnTo>
                    <a:pt x="2116" y="1416"/>
                  </a:lnTo>
                  <a:lnTo>
                    <a:pt x="2118" y="1424"/>
                  </a:lnTo>
                  <a:lnTo>
                    <a:pt x="2118" y="1432"/>
                  </a:lnTo>
                  <a:lnTo>
                    <a:pt x="2114" y="1438"/>
                  </a:lnTo>
                  <a:lnTo>
                    <a:pt x="2108" y="1444"/>
                  </a:lnTo>
                  <a:lnTo>
                    <a:pt x="2108" y="1444"/>
                  </a:lnTo>
                  <a:close/>
                  <a:moveTo>
                    <a:pt x="2138" y="1376"/>
                  </a:moveTo>
                  <a:lnTo>
                    <a:pt x="2138" y="1376"/>
                  </a:lnTo>
                  <a:lnTo>
                    <a:pt x="2136" y="1378"/>
                  </a:lnTo>
                  <a:lnTo>
                    <a:pt x="2130" y="1378"/>
                  </a:lnTo>
                  <a:lnTo>
                    <a:pt x="2118" y="1374"/>
                  </a:lnTo>
                  <a:lnTo>
                    <a:pt x="2106" y="1370"/>
                  </a:lnTo>
                  <a:lnTo>
                    <a:pt x="2102" y="1368"/>
                  </a:lnTo>
                  <a:lnTo>
                    <a:pt x="2100" y="1366"/>
                  </a:lnTo>
                  <a:lnTo>
                    <a:pt x="2100" y="1366"/>
                  </a:lnTo>
                  <a:lnTo>
                    <a:pt x="2102" y="1364"/>
                  </a:lnTo>
                  <a:lnTo>
                    <a:pt x="2106" y="1364"/>
                  </a:lnTo>
                  <a:lnTo>
                    <a:pt x="2120" y="1364"/>
                  </a:lnTo>
                  <a:lnTo>
                    <a:pt x="2134" y="1370"/>
                  </a:lnTo>
                  <a:lnTo>
                    <a:pt x="2138" y="1372"/>
                  </a:lnTo>
                  <a:lnTo>
                    <a:pt x="2138" y="1376"/>
                  </a:lnTo>
                  <a:lnTo>
                    <a:pt x="2138" y="1376"/>
                  </a:lnTo>
                  <a:close/>
                  <a:moveTo>
                    <a:pt x="2596" y="1374"/>
                  </a:moveTo>
                  <a:lnTo>
                    <a:pt x="2596" y="1374"/>
                  </a:lnTo>
                  <a:lnTo>
                    <a:pt x="2574" y="1372"/>
                  </a:lnTo>
                  <a:lnTo>
                    <a:pt x="2548" y="1370"/>
                  </a:lnTo>
                  <a:lnTo>
                    <a:pt x="2534" y="1370"/>
                  </a:lnTo>
                  <a:lnTo>
                    <a:pt x="2522" y="1372"/>
                  </a:lnTo>
                  <a:lnTo>
                    <a:pt x="2512" y="1376"/>
                  </a:lnTo>
                  <a:lnTo>
                    <a:pt x="2502" y="1384"/>
                  </a:lnTo>
                  <a:lnTo>
                    <a:pt x="2502" y="1384"/>
                  </a:lnTo>
                  <a:lnTo>
                    <a:pt x="2496" y="1392"/>
                  </a:lnTo>
                  <a:lnTo>
                    <a:pt x="2494" y="1398"/>
                  </a:lnTo>
                  <a:lnTo>
                    <a:pt x="2492" y="1404"/>
                  </a:lnTo>
                  <a:lnTo>
                    <a:pt x="2492" y="1408"/>
                  </a:lnTo>
                  <a:lnTo>
                    <a:pt x="2492" y="1416"/>
                  </a:lnTo>
                  <a:lnTo>
                    <a:pt x="2490" y="1418"/>
                  </a:lnTo>
                  <a:lnTo>
                    <a:pt x="2488" y="1418"/>
                  </a:lnTo>
                  <a:lnTo>
                    <a:pt x="2488" y="1418"/>
                  </a:lnTo>
                  <a:lnTo>
                    <a:pt x="2484" y="1418"/>
                  </a:lnTo>
                  <a:lnTo>
                    <a:pt x="2482" y="1414"/>
                  </a:lnTo>
                  <a:lnTo>
                    <a:pt x="2478" y="1400"/>
                  </a:lnTo>
                  <a:lnTo>
                    <a:pt x="2480" y="1386"/>
                  </a:lnTo>
                  <a:lnTo>
                    <a:pt x="2482" y="1380"/>
                  </a:lnTo>
                  <a:lnTo>
                    <a:pt x="2484" y="1374"/>
                  </a:lnTo>
                  <a:lnTo>
                    <a:pt x="2484" y="1374"/>
                  </a:lnTo>
                  <a:lnTo>
                    <a:pt x="2490" y="1370"/>
                  </a:lnTo>
                  <a:lnTo>
                    <a:pt x="2498" y="1366"/>
                  </a:lnTo>
                  <a:lnTo>
                    <a:pt x="2516" y="1362"/>
                  </a:lnTo>
                  <a:lnTo>
                    <a:pt x="2536" y="1362"/>
                  </a:lnTo>
                  <a:lnTo>
                    <a:pt x="2556" y="1364"/>
                  </a:lnTo>
                  <a:lnTo>
                    <a:pt x="2556" y="1364"/>
                  </a:lnTo>
                  <a:lnTo>
                    <a:pt x="2564" y="1364"/>
                  </a:lnTo>
                  <a:lnTo>
                    <a:pt x="2574" y="1366"/>
                  </a:lnTo>
                  <a:lnTo>
                    <a:pt x="2596" y="1364"/>
                  </a:lnTo>
                  <a:lnTo>
                    <a:pt x="2614" y="1360"/>
                  </a:lnTo>
                  <a:lnTo>
                    <a:pt x="2624" y="1360"/>
                  </a:lnTo>
                  <a:lnTo>
                    <a:pt x="2624" y="1360"/>
                  </a:lnTo>
                  <a:lnTo>
                    <a:pt x="2624" y="1362"/>
                  </a:lnTo>
                  <a:lnTo>
                    <a:pt x="2624" y="1362"/>
                  </a:lnTo>
                  <a:lnTo>
                    <a:pt x="2620" y="1368"/>
                  </a:lnTo>
                  <a:lnTo>
                    <a:pt x="2610" y="1372"/>
                  </a:lnTo>
                  <a:lnTo>
                    <a:pt x="2596" y="1374"/>
                  </a:lnTo>
                  <a:lnTo>
                    <a:pt x="2596" y="1374"/>
                  </a:lnTo>
                  <a:close/>
                  <a:moveTo>
                    <a:pt x="3394" y="1130"/>
                  </a:moveTo>
                  <a:lnTo>
                    <a:pt x="3394" y="1130"/>
                  </a:lnTo>
                  <a:lnTo>
                    <a:pt x="3386" y="1138"/>
                  </a:lnTo>
                  <a:lnTo>
                    <a:pt x="3374" y="1144"/>
                  </a:lnTo>
                  <a:lnTo>
                    <a:pt x="3352" y="1152"/>
                  </a:lnTo>
                  <a:lnTo>
                    <a:pt x="3334" y="1162"/>
                  </a:lnTo>
                  <a:lnTo>
                    <a:pt x="3328" y="1166"/>
                  </a:lnTo>
                  <a:lnTo>
                    <a:pt x="3326" y="1172"/>
                  </a:lnTo>
                  <a:lnTo>
                    <a:pt x="3326" y="1172"/>
                  </a:lnTo>
                  <a:lnTo>
                    <a:pt x="3324" y="1178"/>
                  </a:lnTo>
                  <a:lnTo>
                    <a:pt x="3318" y="1184"/>
                  </a:lnTo>
                  <a:lnTo>
                    <a:pt x="3308" y="1188"/>
                  </a:lnTo>
                  <a:lnTo>
                    <a:pt x="3298" y="1190"/>
                  </a:lnTo>
                  <a:lnTo>
                    <a:pt x="3276" y="1194"/>
                  </a:lnTo>
                  <a:lnTo>
                    <a:pt x="3270" y="1192"/>
                  </a:lnTo>
                  <a:lnTo>
                    <a:pt x="3266" y="1190"/>
                  </a:lnTo>
                  <a:lnTo>
                    <a:pt x="3266" y="1190"/>
                  </a:lnTo>
                  <a:lnTo>
                    <a:pt x="3266" y="1188"/>
                  </a:lnTo>
                  <a:lnTo>
                    <a:pt x="3270" y="1186"/>
                  </a:lnTo>
                  <a:lnTo>
                    <a:pt x="3286" y="1180"/>
                  </a:lnTo>
                  <a:lnTo>
                    <a:pt x="3296" y="1178"/>
                  </a:lnTo>
                  <a:lnTo>
                    <a:pt x="3304" y="1172"/>
                  </a:lnTo>
                  <a:lnTo>
                    <a:pt x="3312" y="1166"/>
                  </a:lnTo>
                  <a:lnTo>
                    <a:pt x="3318" y="1158"/>
                  </a:lnTo>
                  <a:lnTo>
                    <a:pt x="3318" y="1158"/>
                  </a:lnTo>
                  <a:lnTo>
                    <a:pt x="3322" y="1150"/>
                  </a:lnTo>
                  <a:lnTo>
                    <a:pt x="3330" y="1142"/>
                  </a:lnTo>
                  <a:lnTo>
                    <a:pt x="3350" y="1126"/>
                  </a:lnTo>
                  <a:lnTo>
                    <a:pt x="3372" y="1110"/>
                  </a:lnTo>
                  <a:lnTo>
                    <a:pt x="3382" y="1100"/>
                  </a:lnTo>
                  <a:lnTo>
                    <a:pt x="3390" y="1090"/>
                  </a:lnTo>
                  <a:lnTo>
                    <a:pt x="3390" y="1090"/>
                  </a:lnTo>
                  <a:lnTo>
                    <a:pt x="3400" y="1070"/>
                  </a:lnTo>
                  <a:lnTo>
                    <a:pt x="3410" y="1052"/>
                  </a:lnTo>
                  <a:lnTo>
                    <a:pt x="3418" y="1038"/>
                  </a:lnTo>
                  <a:lnTo>
                    <a:pt x="3422" y="1034"/>
                  </a:lnTo>
                  <a:lnTo>
                    <a:pt x="3424" y="1034"/>
                  </a:lnTo>
                  <a:lnTo>
                    <a:pt x="3424" y="1034"/>
                  </a:lnTo>
                  <a:lnTo>
                    <a:pt x="3426" y="1034"/>
                  </a:lnTo>
                  <a:lnTo>
                    <a:pt x="3428" y="1038"/>
                  </a:lnTo>
                  <a:lnTo>
                    <a:pt x="3428" y="1046"/>
                  </a:lnTo>
                  <a:lnTo>
                    <a:pt x="3426" y="1060"/>
                  </a:lnTo>
                  <a:lnTo>
                    <a:pt x="3422" y="1076"/>
                  </a:lnTo>
                  <a:lnTo>
                    <a:pt x="3416" y="1092"/>
                  </a:lnTo>
                  <a:lnTo>
                    <a:pt x="3410" y="1106"/>
                  </a:lnTo>
                  <a:lnTo>
                    <a:pt x="3402" y="1120"/>
                  </a:lnTo>
                  <a:lnTo>
                    <a:pt x="3394" y="1130"/>
                  </a:lnTo>
                  <a:lnTo>
                    <a:pt x="3394" y="113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7" name="Freeform 84"/>
            <p:cNvSpPr>
              <a:spLocks/>
            </p:cNvSpPr>
            <p:nvPr/>
          </p:nvSpPr>
          <p:spPr bwMode="auto">
            <a:xfrm>
              <a:off x="14766925" y="7705725"/>
              <a:ext cx="244475" cy="342900"/>
            </a:xfrm>
            <a:custGeom>
              <a:avLst/>
              <a:gdLst>
                <a:gd name="T0" fmla="*/ 124 w 154"/>
                <a:gd name="T1" fmla="*/ 102 h 216"/>
                <a:gd name="T2" fmla="*/ 108 w 154"/>
                <a:gd name="T3" fmla="*/ 98 h 216"/>
                <a:gd name="T4" fmla="*/ 92 w 154"/>
                <a:gd name="T5" fmla="*/ 96 h 216"/>
                <a:gd name="T6" fmla="*/ 84 w 154"/>
                <a:gd name="T7" fmla="*/ 80 h 216"/>
                <a:gd name="T8" fmla="*/ 80 w 154"/>
                <a:gd name="T9" fmla="*/ 66 h 216"/>
                <a:gd name="T10" fmla="*/ 72 w 154"/>
                <a:gd name="T11" fmla="*/ 58 h 216"/>
                <a:gd name="T12" fmla="*/ 68 w 154"/>
                <a:gd name="T13" fmla="*/ 60 h 216"/>
                <a:gd name="T14" fmla="*/ 72 w 154"/>
                <a:gd name="T15" fmla="*/ 72 h 216"/>
                <a:gd name="T16" fmla="*/ 68 w 154"/>
                <a:gd name="T17" fmla="*/ 76 h 216"/>
                <a:gd name="T18" fmla="*/ 60 w 154"/>
                <a:gd name="T19" fmla="*/ 68 h 216"/>
                <a:gd name="T20" fmla="*/ 52 w 154"/>
                <a:gd name="T21" fmla="*/ 64 h 216"/>
                <a:gd name="T22" fmla="*/ 50 w 154"/>
                <a:gd name="T23" fmla="*/ 50 h 216"/>
                <a:gd name="T24" fmla="*/ 40 w 154"/>
                <a:gd name="T25" fmla="*/ 34 h 216"/>
                <a:gd name="T26" fmla="*/ 38 w 154"/>
                <a:gd name="T27" fmla="*/ 20 h 216"/>
                <a:gd name="T28" fmla="*/ 16 w 154"/>
                <a:gd name="T29" fmla="*/ 2 h 216"/>
                <a:gd name="T30" fmla="*/ 2 w 154"/>
                <a:gd name="T31" fmla="*/ 2 h 216"/>
                <a:gd name="T32" fmla="*/ 8 w 154"/>
                <a:gd name="T33" fmla="*/ 22 h 216"/>
                <a:gd name="T34" fmla="*/ 26 w 154"/>
                <a:gd name="T35" fmla="*/ 40 h 216"/>
                <a:gd name="T36" fmla="*/ 32 w 154"/>
                <a:gd name="T37" fmla="*/ 48 h 216"/>
                <a:gd name="T38" fmla="*/ 44 w 154"/>
                <a:gd name="T39" fmla="*/ 66 h 216"/>
                <a:gd name="T40" fmla="*/ 50 w 154"/>
                <a:gd name="T41" fmla="*/ 72 h 216"/>
                <a:gd name="T42" fmla="*/ 46 w 154"/>
                <a:gd name="T43" fmla="*/ 98 h 216"/>
                <a:gd name="T44" fmla="*/ 44 w 154"/>
                <a:gd name="T45" fmla="*/ 116 h 216"/>
                <a:gd name="T46" fmla="*/ 30 w 154"/>
                <a:gd name="T47" fmla="*/ 130 h 216"/>
                <a:gd name="T48" fmla="*/ 20 w 154"/>
                <a:gd name="T49" fmla="*/ 140 h 216"/>
                <a:gd name="T50" fmla="*/ 32 w 154"/>
                <a:gd name="T51" fmla="*/ 152 h 216"/>
                <a:gd name="T52" fmla="*/ 58 w 154"/>
                <a:gd name="T53" fmla="*/ 168 h 216"/>
                <a:gd name="T54" fmla="*/ 60 w 154"/>
                <a:gd name="T55" fmla="*/ 186 h 216"/>
                <a:gd name="T56" fmla="*/ 50 w 154"/>
                <a:gd name="T57" fmla="*/ 208 h 216"/>
                <a:gd name="T58" fmla="*/ 54 w 154"/>
                <a:gd name="T59" fmla="*/ 214 h 216"/>
                <a:gd name="T60" fmla="*/ 76 w 154"/>
                <a:gd name="T61" fmla="*/ 216 h 216"/>
                <a:gd name="T62" fmla="*/ 84 w 154"/>
                <a:gd name="T63" fmla="*/ 208 h 216"/>
                <a:gd name="T64" fmla="*/ 106 w 154"/>
                <a:gd name="T65" fmla="*/ 174 h 216"/>
                <a:gd name="T66" fmla="*/ 110 w 154"/>
                <a:gd name="T67" fmla="*/ 166 h 216"/>
                <a:gd name="T68" fmla="*/ 114 w 154"/>
                <a:gd name="T69" fmla="*/ 144 h 216"/>
                <a:gd name="T70" fmla="*/ 122 w 154"/>
                <a:gd name="T71" fmla="*/ 140 h 216"/>
                <a:gd name="T72" fmla="*/ 134 w 154"/>
                <a:gd name="T73" fmla="*/ 138 h 216"/>
                <a:gd name="T74" fmla="*/ 140 w 154"/>
                <a:gd name="T75" fmla="*/ 124 h 216"/>
                <a:gd name="T76" fmla="*/ 144 w 154"/>
                <a:gd name="T77" fmla="*/ 122 h 216"/>
                <a:gd name="T78" fmla="*/ 150 w 154"/>
                <a:gd name="T79" fmla="*/ 116 h 216"/>
                <a:gd name="T80" fmla="*/ 152 w 154"/>
                <a:gd name="T81" fmla="*/ 98 h 216"/>
                <a:gd name="T82" fmla="*/ 148 w 154"/>
                <a:gd name="T83" fmla="*/ 90 h 216"/>
                <a:gd name="T84" fmla="*/ 130 w 154"/>
                <a:gd name="T85"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216">
                  <a:moveTo>
                    <a:pt x="126" y="100"/>
                  </a:moveTo>
                  <a:lnTo>
                    <a:pt x="126" y="100"/>
                  </a:lnTo>
                  <a:lnTo>
                    <a:pt x="124" y="102"/>
                  </a:lnTo>
                  <a:lnTo>
                    <a:pt x="122" y="102"/>
                  </a:lnTo>
                  <a:lnTo>
                    <a:pt x="114" y="102"/>
                  </a:lnTo>
                  <a:lnTo>
                    <a:pt x="108" y="98"/>
                  </a:lnTo>
                  <a:lnTo>
                    <a:pt x="100" y="96"/>
                  </a:lnTo>
                  <a:lnTo>
                    <a:pt x="100" y="96"/>
                  </a:lnTo>
                  <a:lnTo>
                    <a:pt x="92" y="96"/>
                  </a:lnTo>
                  <a:lnTo>
                    <a:pt x="88" y="92"/>
                  </a:lnTo>
                  <a:lnTo>
                    <a:pt x="84" y="88"/>
                  </a:lnTo>
                  <a:lnTo>
                    <a:pt x="84" y="80"/>
                  </a:lnTo>
                  <a:lnTo>
                    <a:pt x="84" y="80"/>
                  </a:lnTo>
                  <a:lnTo>
                    <a:pt x="82" y="74"/>
                  </a:lnTo>
                  <a:lnTo>
                    <a:pt x="80" y="66"/>
                  </a:lnTo>
                  <a:lnTo>
                    <a:pt x="78" y="60"/>
                  </a:lnTo>
                  <a:lnTo>
                    <a:pt x="74" y="60"/>
                  </a:lnTo>
                  <a:lnTo>
                    <a:pt x="72" y="58"/>
                  </a:lnTo>
                  <a:lnTo>
                    <a:pt x="72" y="58"/>
                  </a:lnTo>
                  <a:lnTo>
                    <a:pt x="68" y="60"/>
                  </a:lnTo>
                  <a:lnTo>
                    <a:pt x="68" y="60"/>
                  </a:lnTo>
                  <a:lnTo>
                    <a:pt x="68" y="64"/>
                  </a:lnTo>
                  <a:lnTo>
                    <a:pt x="70" y="70"/>
                  </a:lnTo>
                  <a:lnTo>
                    <a:pt x="72" y="72"/>
                  </a:lnTo>
                  <a:lnTo>
                    <a:pt x="70" y="74"/>
                  </a:lnTo>
                  <a:lnTo>
                    <a:pt x="70" y="74"/>
                  </a:lnTo>
                  <a:lnTo>
                    <a:pt x="68" y="76"/>
                  </a:lnTo>
                  <a:lnTo>
                    <a:pt x="66" y="74"/>
                  </a:lnTo>
                  <a:lnTo>
                    <a:pt x="62" y="70"/>
                  </a:lnTo>
                  <a:lnTo>
                    <a:pt x="60" y="68"/>
                  </a:lnTo>
                  <a:lnTo>
                    <a:pt x="60" y="68"/>
                  </a:lnTo>
                  <a:lnTo>
                    <a:pt x="56" y="68"/>
                  </a:lnTo>
                  <a:lnTo>
                    <a:pt x="52" y="64"/>
                  </a:lnTo>
                  <a:lnTo>
                    <a:pt x="50" y="58"/>
                  </a:lnTo>
                  <a:lnTo>
                    <a:pt x="50" y="50"/>
                  </a:lnTo>
                  <a:lnTo>
                    <a:pt x="50" y="50"/>
                  </a:lnTo>
                  <a:lnTo>
                    <a:pt x="48" y="42"/>
                  </a:lnTo>
                  <a:lnTo>
                    <a:pt x="44" y="38"/>
                  </a:lnTo>
                  <a:lnTo>
                    <a:pt x="40" y="34"/>
                  </a:lnTo>
                  <a:lnTo>
                    <a:pt x="40" y="26"/>
                  </a:lnTo>
                  <a:lnTo>
                    <a:pt x="40" y="26"/>
                  </a:lnTo>
                  <a:lnTo>
                    <a:pt x="38" y="20"/>
                  </a:lnTo>
                  <a:lnTo>
                    <a:pt x="36" y="16"/>
                  </a:lnTo>
                  <a:lnTo>
                    <a:pt x="26" y="8"/>
                  </a:lnTo>
                  <a:lnTo>
                    <a:pt x="16" y="2"/>
                  </a:lnTo>
                  <a:lnTo>
                    <a:pt x="6" y="0"/>
                  </a:lnTo>
                  <a:lnTo>
                    <a:pt x="6" y="0"/>
                  </a:lnTo>
                  <a:lnTo>
                    <a:pt x="2" y="2"/>
                  </a:lnTo>
                  <a:lnTo>
                    <a:pt x="0" y="4"/>
                  </a:lnTo>
                  <a:lnTo>
                    <a:pt x="2" y="12"/>
                  </a:lnTo>
                  <a:lnTo>
                    <a:pt x="8" y="22"/>
                  </a:lnTo>
                  <a:lnTo>
                    <a:pt x="14" y="30"/>
                  </a:lnTo>
                  <a:lnTo>
                    <a:pt x="14" y="30"/>
                  </a:lnTo>
                  <a:lnTo>
                    <a:pt x="26" y="40"/>
                  </a:lnTo>
                  <a:lnTo>
                    <a:pt x="30" y="44"/>
                  </a:lnTo>
                  <a:lnTo>
                    <a:pt x="32" y="48"/>
                  </a:lnTo>
                  <a:lnTo>
                    <a:pt x="32" y="48"/>
                  </a:lnTo>
                  <a:lnTo>
                    <a:pt x="34" y="54"/>
                  </a:lnTo>
                  <a:lnTo>
                    <a:pt x="38" y="60"/>
                  </a:lnTo>
                  <a:lnTo>
                    <a:pt x="44" y="66"/>
                  </a:lnTo>
                  <a:lnTo>
                    <a:pt x="48" y="70"/>
                  </a:lnTo>
                  <a:lnTo>
                    <a:pt x="48" y="70"/>
                  </a:lnTo>
                  <a:lnTo>
                    <a:pt x="50" y="72"/>
                  </a:lnTo>
                  <a:lnTo>
                    <a:pt x="52" y="76"/>
                  </a:lnTo>
                  <a:lnTo>
                    <a:pt x="50" y="86"/>
                  </a:lnTo>
                  <a:lnTo>
                    <a:pt x="46" y="98"/>
                  </a:lnTo>
                  <a:lnTo>
                    <a:pt x="44" y="110"/>
                  </a:lnTo>
                  <a:lnTo>
                    <a:pt x="44" y="110"/>
                  </a:lnTo>
                  <a:lnTo>
                    <a:pt x="44" y="116"/>
                  </a:lnTo>
                  <a:lnTo>
                    <a:pt x="42" y="120"/>
                  </a:lnTo>
                  <a:lnTo>
                    <a:pt x="36" y="126"/>
                  </a:lnTo>
                  <a:lnTo>
                    <a:pt x="30" y="130"/>
                  </a:lnTo>
                  <a:lnTo>
                    <a:pt x="22" y="136"/>
                  </a:lnTo>
                  <a:lnTo>
                    <a:pt x="22" y="136"/>
                  </a:lnTo>
                  <a:lnTo>
                    <a:pt x="20" y="140"/>
                  </a:lnTo>
                  <a:lnTo>
                    <a:pt x="22" y="144"/>
                  </a:lnTo>
                  <a:lnTo>
                    <a:pt x="26" y="148"/>
                  </a:lnTo>
                  <a:lnTo>
                    <a:pt x="32" y="152"/>
                  </a:lnTo>
                  <a:lnTo>
                    <a:pt x="46" y="160"/>
                  </a:lnTo>
                  <a:lnTo>
                    <a:pt x="58" y="168"/>
                  </a:lnTo>
                  <a:lnTo>
                    <a:pt x="58" y="168"/>
                  </a:lnTo>
                  <a:lnTo>
                    <a:pt x="62" y="174"/>
                  </a:lnTo>
                  <a:lnTo>
                    <a:pt x="62" y="178"/>
                  </a:lnTo>
                  <a:lnTo>
                    <a:pt x="60" y="186"/>
                  </a:lnTo>
                  <a:lnTo>
                    <a:pt x="58" y="192"/>
                  </a:lnTo>
                  <a:lnTo>
                    <a:pt x="52" y="204"/>
                  </a:lnTo>
                  <a:lnTo>
                    <a:pt x="50" y="208"/>
                  </a:lnTo>
                  <a:lnTo>
                    <a:pt x="50" y="212"/>
                  </a:lnTo>
                  <a:lnTo>
                    <a:pt x="50" y="212"/>
                  </a:lnTo>
                  <a:lnTo>
                    <a:pt x="54" y="214"/>
                  </a:lnTo>
                  <a:lnTo>
                    <a:pt x="58" y="216"/>
                  </a:lnTo>
                  <a:lnTo>
                    <a:pt x="66" y="216"/>
                  </a:lnTo>
                  <a:lnTo>
                    <a:pt x="76" y="216"/>
                  </a:lnTo>
                  <a:lnTo>
                    <a:pt x="76" y="216"/>
                  </a:lnTo>
                  <a:lnTo>
                    <a:pt x="80" y="212"/>
                  </a:lnTo>
                  <a:lnTo>
                    <a:pt x="84" y="208"/>
                  </a:lnTo>
                  <a:lnTo>
                    <a:pt x="92" y="196"/>
                  </a:lnTo>
                  <a:lnTo>
                    <a:pt x="98" y="182"/>
                  </a:lnTo>
                  <a:lnTo>
                    <a:pt x="106" y="174"/>
                  </a:lnTo>
                  <a:lnTo>
                    <a:pt x="106" y="174"/>
                  </a:lnTo>
                  <a:lnTo>
                    <a:pt x="108" y="170"/>
                  </a:lnTo>
                  <a:lnTo>
                    <a:pt x="110" y="166"/>
                  </a:lnTo>
                  <a:lnTo>
                    <a:pt x="112" y="158"/>
                  </a:lnTo>
                  <a:lnTo>
                    <a:pt x="112" y="150"/>
                  </a:lnTo>
                  <a:lnTo>
                    <a:pt x="114" y="144"/>
                  </a:lnTo>
                  <a:lnTo>
                    <a:pt x="114" y="144"/>
                  </a:lnTo>
                  <a:lnTo>
                    <a:pt x="118" y="140"/>
                  </a:lnTo>
                  <a:lnTo>
                    <a:pt x="122" y="140"/>
                  </a:lnTo>
                  <a:lnTo>
                    <a:pt x="132" y="138"/>
                  </a:lnTo>
                  <a:lnTo>
                    <a:pt x="132" y="138"/>
                  </a:lnTo>
                  <a:lnTo>
                    <a:pt x="134" y="138"/>
                  </a:lnTo>
                  <a:lnTo>
                    <a:pt x="136" y="136"/>
                  </a:lnTo>
                  <a:lnTo>
                    <a:pt x="138" y="130"/>
                  </a:lnTo>
                  <a:lnTo>
                    <a:pt x="140" y="124"/>
                  </a:lnTo>
                  <a:lnTo>
                    <a:pt x="140" y="124"/>
                  </a:lnTo>
                  <a:lnTo>
                    <a:pt x="144" y="122"/>
                  </a:lnTo>
                  <a:lnTo>
                    <a:pt x="144" y="122"/>
                  </a:lnTo>
                  <a:lnTo>
                    <a:pt x="146" y="122"/>
                  </a:lnTo>
                  <a:lnTo>
                    <a:pt x="148" y="120"/>
                  </a:lnTo>
                  <a:lnTo>
                    <a:pt x="150" y="116"/>
                  </a:lnTo>
                  <a:lnTo>
                    <a:pt x="150" y="108"/>
                  </a:lnTo>
                  <a:lnTo>
                    <a:pt x="152" y="98"/>
                  </a:lnTo>
                  <a:lnTo>
                    <a:pt x="152" y="98"/>
                  </a:lnTo>
                  <a:lnTo>
                    <a:pt x="154" y="94"/>
                  </a:lnTo>
                  <a:lnTo>
                    <a:pt x="152" y="92"/>
                  </a:lnTo>
                  <a:lnTo>
                    <a:pt x="148" y="90"/>
                  </a:lnTo>
                  <a:lnTo>
                    <a:pt x="144" y="90"/>
                  </a:lnTo>
                  <a:lnTo>
                    <a:pt x="134" y="94"/>
                  </a:lnTo>
                  <a:lnTo>
                    <a:pt x="130" y="96"/>
                  </a:lnTo>
                  <a:lnTo>
                    <a:pt x="126" y="100"/>
                  </a:lnTo>
                  <a:lnTo>
                    <a:pt x="126" y="10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8" name="Freeform 85"/>
            <p:cNvSpPr>
              <a:spLocks/>
            </p:cNvSpPr>
            <p:nvPr/>
          </p:nvSpPr>
          <p:spPr bwMode="auto">
            <a:xfrm>
              <a:off x="7696200" y="4105275"/>
              <a:ext cx="38100" cy="82550"/>
            </a:xfrm>
            <a:custGeom>
              <a:avLst/>
              <a:gdLst>
                <a:gd name="T0" fmla="*/ 16 w 24"/>
                <a:gd name="T1" fmla="*/ 52 h 52"/>
                <a:gd name="T2" fmla="*/ 16 w 24"/>
                <a:gd name="T3" fmla="*/ 52 h 52"/>
                <a:gd name="T4" fmla="*/ 20 w 24"/>
                <a:gd name="T5" fmla="*/ 48 h 52"/>
                <a:gd name="T6" fmla="*/ 22 w 24"/>
                <a:gd name="T7" fmla="*/ 42 h 52"/>
                <a:gd name="T8" fmla="*/ 24 w 24"/>
                <a:gd name="T9" fmla="*/ 26 h 52"/>
                <a:gd name="T10" fmla="*/ 24 w 24"/>
                <a:gd name="T11" fmla="*/ 8 h 52"/>
                <a:gd name="T12" fmla="*/ 22 w 24"/>
                <a:gd name="T13" fmla="*/ 2 h 52"/>
                <a:gd name="T14" fmla="*/ 22 w 24"/>
                <a:gd name="T15" fmla="*/ 0 h 52"/>
                <a:gd name="T16" fmla="*/ 22 w 24"/>
                <a:gd name="T17" fmla="*/ 0 h 52"/>
                <a:gd name="T18" fmla="*/ 18 w 24"/>
                <a:gd name="T19" fmla="*/ 2 h 52"/>
                <a:gd name="T20" fmla="*/ 16 w 24"/>
                <a:gd name="T21" fmla="*/ 6 h 52"/>
                <a:gd name="T22" fmla="*/ 12 w 24"/>
                <a:gd name="T23" fmla="*/ 10 h 52"/>
                <a:gd name="T24" fmla="*/ 4 w 24"/>
                <a:gd name="T25" fmla="*/ 16 h 52"/>
                <a:gd name="T26" fmla="*/ 4 w 24"/>
                <a:gd name="T27" fmla="*/ 16 h 52"/>
                <a:gd name="T28" fmla="*/ 2 w 24"/>
                <a:gd name="T29" fmla="*/ 18 h 52"/>
                <a:gd name="T30" fmla="*/ 0 w 24"/>
                <a:gd name="T31" fmla="*/ 24 h 52"/>
                <a:gd name="T32" fmla="*/ 0 w 24"/>
                <a:gd name="T33" fmla="*/ 30 h 52"/>
                <a:gd name="T34" fmla="*/ 2 w 24"/>
                <a:gd name="T35" fmla="*/ 36 h 52"/>
                <a:gd name="T36" fmla="*/ 4 w 24"/>
                <a:gd name="T37" fmla="*/ 42 h 52"/>
                <a:gd name="T38" fmla="*/ 8 w 24"/>
                <a:gd name="T39" fmla="*/ 48 h 52"/>
                <a:gd name="T40" fmla="*/ 12 w 24"/>
                <a:gd name="T41" fmla="*/ 50 h 52"/>
                <a:gd name="T42" fmla="*/ 16 w 24"/>
                <a:gd name="T43" fmla="*/ 52 h 52"/>
                <a:gd name="T44" fmla="*/ 16 w 24"/>
                <a:gd name="T4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52">
                  <a:moveTo>
                    <a:pt x="16" y="52"/>
                  </a:moveTo>
                  <a:lnTo>
                    <a:pt x="16" y="52"/>
                  </a:lnTo>
                  <a:lnTo>
                    <a:pt x="20" y="48"/>
                  </a:lnTo>
                  <a:lnTo>
                    <a:pt x="22" y="42"/>
                  </a:lnTo>
                  <a:lnTo>
                    <a:pt x="24" y="26"/>
                  </a:lnTo>
                  <a:lnTo>
                    <a:pt x="24" y="8"/>
                  </a:lnTo>
                  <a:lnTo>
                    <a:pt x="22" y="2"/>
                  </a:lnTo>
                  <a:lnTo>
                    <a:pt x="22" y="0"/>
                  </a:lnTo>
                  <a:lnTo>
                    <a:pt x="22" y="0"/>
                  </a:lnTo>
                  <a:lnTo>
                    <a:pt x="18" y="2"/>
                  </a:lnTo>
                  <a:lnTo>
                    <a:pt x="16" y="6"/>
                  </a:lnTo>
                  <a:lnTo>
                    <a:pt x="12" y="10"/>
                  </a:lnTo>
                  <a:lnTo>
                    <a:pt x="4" y="16"/>
                  </a:lnTo>
                  <a:lnTo>
                    <a:pt x="4" y="16"/>
                  </a:lnTo>
                  <a:lnTo>
                    <a:pt x="2" y="18"/>
                  </a:lnTo>
                  <a:lnTo>
                    <a:pt x="0" y="24"/>
                  </a:lnTo>
                  <a:lnTo>
                    <a:pt x="0" y="30"/>
                  </a:lnTo>
                  <a:lnTo>
                    <a:pt x="2" y="36"/>
                  </a:lnTo>
                  <a:lnTo>
                    <a:pt x="4" y="42"/>
                  </a:lnTo>
                  <a:lnTo>
                    <a:pt x="8" y="48"/>
                  </a:lnTo>
                  <a:lnTo>
                    <a:pt x="12" y="50"/>
                  </a:lnTo>
                  <a:lnTo>
                    <a:pt x="16" y="52"/>
                  </a:lnTo>
                  <a:lnTo>
                    <a:pt x="16" y="5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399" name="Freeform 86"/>
            <p:cNvSpPr>
              <a:spLocks/>
            </p:cNvSpPr>
            <p:nvPr/>
          </p:nvSpPr>
          <p:spPr bwMode="auto">
            <a:xfrm>
              <a:off x="7673975" y="4206875"/>
              <a:ext cx="73025" cy="114300"/>
            </a:xfrm>
            <a:custGeom>
              <a:avLst/>
              <a:gdLst>
                <a:gd name="T0" fmla="*/ 0 w 46"/>
                <a:gd name="T1" fmla="*/ 8 h 72"/>
                <a:gd name="T2" fmla="*/ 0 w 46"/>
                <a:gd name="T3" fmla="*/ 8 h 72"/>
                <a:gd name="T4" fmla="*/ 0 w 46"/>
                <a:gd name="T5" fmla="*/ 12 h 72"/>
                <a:gd name="T6" fmla="*/ 0 w 46"/>
                <a:gd name="T7" fmla="*/ 14 h 72"/>
                <a:gd name="T8" fmla="*/ 4 w 46"/>
                <a:gd name="T9" fmla="*/ 22 h 72"/>
                <a:gd name="T10" fmla="*/ 10 w 46"/>
                <a:gd name="T11" fmla="*/ 32 h 72"/>
                <a:gd name="T12" fmla="*/ 10 w 46"/>
                <a:gd name="T13" fmla="*/ 38 h 72"/>
                <a:gd name="T14" fmla="*/ 10 w 46"/>
                <a:gd name="T15" fmla="*/ 44 h 72"/>
                <a:gd name="T16" fmla="*/ 10 w 46"/>
                <a:gd name="T17" fmla="*/ 44 h 72"/>
                <a:gd name="T18" fmla="*/ 10 w 46"/>
                <a:gd name="T19" fmla="*/ 56 h 72"/>
                <a:gd name="T20" fmla="*/ 12 w 46"/>
                <a:gd name="T21" fmla="*/ 66 h 72"/>
                <a:gd name="T22" fmla="*/ 12 w 46"/>
                <a:gd name="T23" fmla="*/ 70 h 72"/>
                <a:gd name="T24" fmla="*/ 16 w 46"/>
                <a:gd name="T25" fmla="*/ 72 h 72"/>
                <a:gd name="T26" fmla="*/ 18 w 46"/>
                <a:gd name="T27" fmla="*/ 72 h 72"/>
                <a:gd name="T28" fmla="*/ 22 w 46"/>
                <a:gd name="T29" fmla="*/ 70 h 72"/>
                <a:gd name="T30" fmla="*/ 22 w 46"/>
                <a:gd name="T31" fmla="*/ 70 h 72"/>
                <a:gd name="T32" fmla="*/ 28 w 46"/>
                <a:gd name="T33" fmla="*/ 64 h 72"/>
                <a:gd name="T34" fmla="*/ 32 w 46"/>
                <a:gd name="T35" fmla="*/ 62 h 72"/>
                <a:gd name="T36" fmla="*/ 36 w 46"/>
                <a:gd name="T37" fmla="*/ 62 h 72"/>
                <a:gd name="T38" fmla="*/ 40 w 46"/>
                <a:gd name="T39" fmla="*/ 58 h 72"/>
                <a:gd name="T40" fmla="*/ 40 w 46"/>
                <a:gd name="T41" fmla="*/ 58 h 72"/>
                <a:gd name="T42" fmla="*/ 42 w 46"/>
                <a:gd name="T43" fmla="*/ 50 h 72"/>
                <a:gd name="T44" fmla="*/ 44 w 46"/>
                <a:gd name="T45" fmla="*/ 38 h 72"/>
                <a:gd name="T46" fmla="*/ 44 w 46"/>
                <a:gd name="T47" fmla="*/ 24 h 72"/>
                <a:gd name="T48" fmla="*/ 44 w 46"/>
                <a:gd name="T49" fmla="*/ 14 h 72"/>
                <a:gd name="T50" fmla="*/ 44 w 46"/>
                <a:gd name="T51" fmla="*/ 14 h 72"/>
                <a:gd name="T52" fmla="*/ 46 w 46"/>
                <a:gd name="T53" fmla="*/ 10 h 72"/>
                <a:gd name="T54" fmla="*/ 44 w 46"/>
                <a:gd name="T55" fmla="*/ 6 h 72"/>
                <a:gd name="T56" fmla="*/ 40 w 46"/>
                <a:gd name="T57" fmla="*/ 4 h 72"/>
                <a:gd name="T58" fmla="*/ 38 w 46"/>
                <a:gd name="T59" fmla="*/ 2 h 72"/>
                <a:gd name="T60" fmla="*/ 28 w 46"/>
                <a:gd name="T61" fmla="*/ 0 h 72"/>
                <a:gd name="T62" fmla="*/ 24 w 46"/>
                <a:gd name="T63" fmla="*/ 2 h 72"/>
                <a:gd name="T64" fmla="*/ 20 w 46"/>
                <a:gd name="T65" fmla="*/ 4 h 72"/>
                <a:gd name="T66" fmla="*/ 20 w 46"/>
                <a:gd name="T67" fmla="*/ 4 h 72"/>
                <a:gd name="T68" fmla="*/ 14 w 46"/>
                <a:gd name="T69" fmla="*/ 6 h 72"/>
                <a:gd name="T70" fmla="*/ 8 w 46"/>
                <a:gd name="T71" fmla="*/ 6 h 72"/>
                <a:gd name="T72" fmla="*/ 4 w 46"/>
                <a:gd name="T73" fmla="*/ 6 h 72"/>
                <a:gd name="T74" fmla="*/ 0 w 46"/>
                <a:gd name="T75" fmla="*/ 8 h 72"/>
                <a:gd name="T76" fmla="*/ 0 w 46"/>
                <a:gd name="T7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72">
                  <a:moveTo>
                    <a:pt x="0" y="8"/>
                  </a:moveTo>
                  <a:lnTo>
                    <a:pt x="0" y="8"/>
                  </a:lnTo>
                  <a:lnTo>
                    <a:pt x="0" y="12"/>
                  </a:lnTo>
                  <a:lnTo>
                    <a:pt x="0" y="14"/>
                  </a:lnTo>
                  <a:lnTo>
                    <a:pt x="4" y="22"/>
                  </a:lnTo>
                  <a:lnTo>
                    <a:pt x="10" y="32"/>
                  </a:lnTo>
                  <a:lnTo>
                    <a:pt x="10" y="38"/>
                  </a:lnTo>
                  <a:lnTo>
                    <a:pt x="10" y="44"/>
                  </a:lnTo>
                  <a:lnTo>
                    <a:pt x="10" y="44"/>
                  </a:lnTo>
                  <a:lnTo>
                    <a:pt x="10" y="56"/>
                  </a:lnTo>
                  <a:lnTo>
                    <a:pt x="12" y="66"/>
                  </a:lnTo>
                  <a:lnTo>
                    <a:pt x="12" y="70"/>
                  </a:lnTo>
                  <a:lnTo>
                    <a:pt x="16" y="72"/>
                  </a:lnTo>
                  <a:lnTo>
                    <a:pt x="18" y="72"/>
                  </a:lnTo>
                  <a:lnTo>
                    <a:pt x="22" y="70"/>
                  </a:lnTo>
                  <a:lnTo>
                    <a:pt x="22" y="70"/>
                  </a:lnTo>
                  <a:lnTo>
                    <a:pt x="28" y="64"/>
                  </a:lnTo>
                  <a:lnTo>
                    <a:pt x="32" y="62"/>
                  </a:lnTo>
                  <a:lnTo>
                    <a:pt x="36" y="62"/>
                  </a:lnTo>
                  <a:lnTo>
                    <a:pt x="40" y="58"/>
                  </a:lnTo>
                  <a:lnTo>
                    <a:pt x="40" y="58"/>
                  </a:lnTo>
                  <a:lnTo>
                    <a:pt x="42" y="50"/>
                  </a:lnTo>
                  <a:lnTo>
                    <a:pt x="44" y="38"/>
                  </a:lnTo>
                  <a:lnTo>
                    <a:pt x="44" y="24"/>
                  </a:lnTo>
                  <a:lnTo>
                    <a:pt x="44" y="14"/>
                  </a:lnTo>
                  <a:lnTo>
                    <a:pt x="44" y="14"/>
                  </a:lnTo>
                  <a:lnTo>
                    <a:pt x="46" y="10"/>
                  </a:lnTo>
                  <a:lnTo>
                    <a:pt x="44" y="6"/>
                  </a:lnTo>
                  <a:lnTo>
                    <a:pt x="40" y="4"/>
                  </a:lnTo>
                  <a:lnTo>
                    <a:pt x="38" y="2"/>
                  </a:lnTo>
                  <a:lnTo>
                    <a:pt x="28" y="0"/>
                  </a:lnTo>
                  <a:lnTo>
                    <a:pt x="24" y="2"/>
                  </a:lnTo>
                  <a:lnTo>
                    <a:pt x="20" y="4"/>
                  </a:lnTo>
                  <a:lnTo>
                    <a:pt x="20" y="4"/>
                  </a:lnTo>
                  <a:lnTo>
                    <a:pt x="14" y="6"/>
                  </a:lnTo>
                  <a:lnTo>
                    <a:pt x="8" y="6"/>
                  </a:lnTo>
                  <a:lnTo>
                    <a:pt x="4" y="6"/>
                  </a:lnTo>
                  <a:lnTo>
                    <a:pt x="0" y="8"/>
                  </a:lnTo>
                  <a:lnTo>
                    <a:pt x="0" y="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0" name="Freeform 87"/>
            <p:cNvSpPr>
              <a:spLocks/>
            </p:cNvSpPr>
            <p:nvPr/>
          </p:nvSpPr>
          <p:spPr bwMode="auto">
            <a:xfrm>
              <a:off x="4733925" y="3638550"/>
              <a:ext cx="282575" cy="260350"/>
            </a:xfrm>
            <a:custGeom>
              <a:avLst/>
              <a:gdLst>
                <a:gd name="T0" fmla="*/ 100 w 178"/>
                <a:gd name="T1" fmla="*/ 8 h 164"/>
                <a:gd name="T2" fmla="*/ 98 w 178"/>
                <a:gd name="T3" fmla="*/ 0 h 164"/>
                <a:gd name="T4" fmla="*/ 84 w 178"/>
                <a:gd name="T5" fmla="*/ 0 h 164"/>
                <a:gd name="T6" fmla="*/ 56 w 178"/>
                <a:gd name="T7" fmla="*/ 28 h 164"/>
                <a:gd name="T8" fmla="*/ 38 w 178"/>
                <a:gd name="T9" fmla="*/ 62 h 164"/>
                <a:gd name="T10" fmla="*/ 38 w 178"/>
                <a:gd name="T11" fmla="*/ 80 h 164"/>
                <a:gd name="T12" fmla="*/ 26 w 178"/>
                <a:gd name="T13" fmla="*/ 88 h 164"/>
                <a:gd name="T14" fmla="*/ 12 w 178"/>
                <a:gd name="T15" fmla="*/ 92 h 164"/>
                <a:gd name="T16" fmla="*/ 12 w 178"/>
                <a:gd name="T17" fmla="*/ 104 h 164"/>
                <a:gd name="T18" fmla="*/ 12 w 178"/>
                <a:gd name="T19" fmla="*/ 110 h 164"/>
                <a:gd name="T20" fmla="*/ 0 w 178"/>
                <a:gd name="T21" fmla="*/ 130 h 164"/>
                <a:gd name="T22" fmla="*/ 4 w 178"/>
                <a:gd name="T23" fmla="*/ 136 h 164"/>
                <a:gd name="T24" fmla="*/ 34 w 178"/>
                <a:gd name="T25" fmla="*/ 136 h 164"/>
                <a:gd name="T26" fmla="*/ 56 w 178"/>
                <a:gd name="T27" fmla="*/ 136 h 164"/>
                <a:gd name="T28" fmla="*/ 84 w 178"/>
                <a:gd name="T29" fmla="*/ 130 h 164"/>
                <a:gd name="T30" fmla="*/ 92 w 178"/>
                <a:gd name="T31" fmla="*/ 128 h 164"/>
                <a:gd name="T32" fmla="*/ 104 w 178"/>
                <a:gd name="T33" fmla="*/ 136 h 164"/>
                <a:gd name="T34" fmla="*/ 112 w 178"/>
                <a:gd name="T35" fmla="*/ 136 h 164"/>
                <a:gd name="T36" fmla="*/ 106 w 178"/>
                <a:gd name="T37" fmla="*/ 148 h 164"/>
                <a:gd name="T38" fmla="*/ 102 w 178"/>
                <a:gd name="T39" fmla="*/ 156 h 164"/>
                <a:gd name="T40" fmla="*/ 112 w 178"/>
                <a:gd name="T41" fmla="*/ 156 h 164"/>
                <a:gd name="T42" fmla="*/ 134 w 178"/>
                <a:gd name="T43" fmla="*/ 144 h 164"/>
                <a:gd name="T44" fmla="*/ 144 w 178"/>
                <a:gd name="T45" fmla="*/ 150 h 164"/>
                <a:gd name="T46" fmla="*/ 142 w 178"/>
                <a:gd name="T47" fmla="*/ 156 h 164"/>
                <a:gd name="T48" fmla="*/ 162 w 178"/>
                <a:gd name="T49" fmla="*/ 164 h 164"/>
                <a:gd name="T50" fmla="*/ 176 w 178"/>
                <a:gd name="T51" fmla="*/ 156 h 164"/>
                <a:gd name="T52" fmla="*/ 178 w 178"/>
                <a:gd name="T53" fmla="*/ 146 h 164"/>
                <a:gd name="T54" fmla="*/ 166 w 178"/>
                <a:gd name="T55" fmla="*/ 130 h 164"/>
                <a:gd name="T56" fmla="*/ 162 w 178"/>
                <a:gd name="T57" fmla="*/ 136 h 164"/>
                <a:gd name="T58" fmla="*/ 158 w 178"/>
                <a:gd name="T59" fmla="*/ 126 h 164"/>
                <a:gd name="T60" fmla="*/ 164 w 178"/>
                <a:gd name="T61" fmla="*/ 118 h 164"/>
                <a:gd name="T62" fmla="*/ 166 w 178"/>
                <a:gd name="T63" fmla="*/ 112 h 164"/>
                <a:gd name="T64" fmla="*/ 152 w 178"/>
                <a:gd name="T65" fmla="*/ 112 h 164"/>
                <a:gd name="T66" fmla="*/ 146 w 178"/>
                <a:gd name="T67" fmla="*/ 110 h 164"/>
                <a:gd name="T68" fmla="*/ 150 w 178"/>
                <a:gd name="T69" fmla="*/ 88 h 164"/>
                <a:gd name="T70" fmla="*/ 156 w 178"/>
                <a:gd name="T71" fmla="*/ 84 h 164"/>
                <a:gd name="T72" fmla="*/ 136 w 178"/>
                <a:gd name="T73" fmla="*/ 76 h 164"/>
                <a:gd name="T74" fmla="*/ 132 w 178"/>
                <a:gd name="T75" fmla="*/ 80 h 164"/>
                <a:gd name="T76" fmla="*/ 120 w 178"/>
                <a:gd name="T77" fmla="*/ 84 h 164"/>
                <a:gd name="T78" fmla="*/ 108 w 178"/>
                <a:gd name="T79" fmla="*/ 74 h 164"/>
                <a:gd name="T80" fmla="*/ 98 w 178"/>
                <a:gd name="T81" fmla="*/ 66 h 164"/>
                <a:gd name="T82" fmla="*/ 96 w 178"/>
                <a:gd name="T83" fmla="*/ 58 h 164"/>
                <a:gd name="T84" fmla="*/ 94 w 178"/>
                <a:gd name="T85" fmla="*/ 56 h 164"/>
                <a:gd name="T86" fmla="*/ 76 w 178"/>
                <a:gd name="T87" fmla="*/ 56 h 164"/>
                <a:gd name="T88" fmla="*/ 74 w 178"/>
                <a:gd name="T89" fmla="*/ 62 h 164"/>
                <a:gd name="T90" fmla="*/ 72 w 178"/>
                <a:gd name="T91" fmla="*/ 50 h 164"/>
                <a:gd name="T92" fmla="*/ 76 w 178"/>
                <a:gd name="T93" fmla="*/ 40 h 164"/>
                <a:gd name="T94" fmla="*/ 90 w 178"/>
                <a:gd name="T9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 h="164">
                  <a:moveTo>
                    <a:pt x="96" y="10"/>
                  </a:moveTo>
                  <a:lnTo>
                    <a:pt x="96" y="10"/>
                  </a:lnTo>
                  <a:lnTo>
                    <a:pt x="100" y="8"/>
                  </a:lnTo>
                  <a:lnTo>
                    <a:pt x="100" y="4"/>
                  </a:lnTo>
                  <a:lnTo>
                    <a:pt x="100" y="2"/>
                  </a:lnTo>
                  <a:lnTo>
                    <a:pt x="98" y="0"/>
                  </a:lnTo>
                  <a:lnTo>
                    <a:pt x="92" y="0"/>
                  </a:lnTo>
                  <a:lnTo>
                    <a:pt x="84" y="0"/>
                  </a:lnTo>
                  <a:lnTo>
                    <a:pt x="84" y="0"/>
                  </a:lnTo>
                  <a:lnTo>
                    <a:pt x="78" y="4"/>
                  </a:lnTo>
                  <a:lnTo>
                    <a:pt x="72" y="10"/>
                  </a:lnTo>
                  <a:lnTo>
                    <a:pt x="56" y="28"/>
                  </a:lnTo>
                  <a:lnTo>
                    <a:pt x="44" y="48"/>
                  </a:lnTo>
                  <a:lnTo>
                    <a:pt x="40" y="56"/>
                  </a:lnTo>
                  <a:lnTo>
                    <a:pt x="38" y="62"/>
                  </a:lnTo>
                  <a:lnTo>
                    <a:pt x="38" y="62"/>
                  </a:lnTo>
                  <a:lnTo>
                    <a:pt x="38" y="72"/>
                  </a:lnTo>
                  <a:lnTo>
                    <a:pt x="38" y="80"/>
                  </a:lnTo>
                  <a:lnTo>
                    <a:pt x="34" y="86"/>
                  </a:lnTo>
                  <a:lnTo>
                    <a:pt x="30" y="88"/>
                  </a:lnTo>
                  <a:lnTo>
                    <a:pt x="26" y="88"/>
                  </a:lnTo>
                  <a:lnTo>
                    <a:pt x="26" y="88"/>
                  </a:lnTo>
                  <a:lnTo>
                    <a:pt x="18" y="88"/>
                  </a:lnTo>
                  <a:lnTo>
                    <a:pt x="12" y="92"/>
                  </a:lnTo>
                  <a:lnTo>
                    <a:pt x="8" y="98"/>
                  </a:lnTo>
                  <a:lnTo>
                    <a:pt x="10" y="102"/>
                  </a:lnTo>
                  <a:lnTo>
                    <a:pt x="12" y="104"/>
                  </a:lnTo>
                  <a:lnTo>
                    <a:pt x="12" y="104"/>
                  </a:lnTo>
                  <a:lnTo>
                    <a:pt x="14" y="106"/>
                  </a:lnTo>
                  <a:lnTo>
                    <a:pt x="12" y="110"/>
                  </a:lnTo>
                  <a:lnTo>
                    <a:pt x="6" y="120"/>
                  </a:lnTo>
                  <a:lnTo>
                    <a:pt x="2" y="124"/>
                  </a:lnTo>
                  <a:lnTo>
                    <a:pt x="0" y="130"/>
                  </a:lnTo>
                  <a:lnTo>
                    <a:pt x="0" y="134"/>
                  </a:lnTo>
                  <a:lnTo>
                    <a:pt x="4" y="136"/>
                  </a:lnTo>
                  <a:lnTo>
                    <a:pt x="4" y="136"/>
                  </a:lnTo>
                  <a:lnTo>
                    <a:pt x="12" y="138"/>
                  </a:lnTo>
                  <a:lnTo>
                    <a:pt x="22" y="138"/>
                  </a:lnTo>
                  <a:lnTo>
                    <a:pt x="34" y="136"/>
                  </a:lnTo>
                  <a:lnTo>
                    <a:pt x="46" y="136"/>
                  </a:lnTo>
                  <a:lnTo>
                    <a:pt x="46" y="136"/>
                  </a:lnTo>
                  <a:lnTo>
                    <a:pt x="56" y="136"/>
                  </a:lnTo>
                  <a:lnTo>
                    <a:pt x="66" y="136"/>
                  </a:lnTo>
                  <a:lnTo>
                    <a:pt x="76" y="134"/>
                  </a:lnTo>
                  <a:lnTo>
                    <a:pt x="84" y="130"/>
                  </a:lnTo>
                  <a:lnTo>
                    <a:pt x="84" y="130"/>
                  </a:lnTo>
                  <a:lnTo>
                    <a:pt x="88" y="128"/>
                  </a:lnTo>
                  <a:lnTo>
                    <a:pt x="92" y="128"/>
                  </a:lnTo>
                  <a:lnTo>
                    <a:pt x="96" y="130"/>
                  </a:lnTo>
                  <a:lnTo>
                    <a:pt x="102" y="134"/>
                  </a:lnTo>
                  <a:lnTo>
                    <a:pt x="104" y="136"/>
                  </a:lnTo>
                  <a:lnTo>
                    <a:pt x="110" y="136"/>
                  </a:lnTo>
                  <a:lnTo>
                    <a:pt x="110" y="136"/>
                  </a:lnTo>
                  <a:lnTo>
                    <a:pt x="112" y="136"/>
                  </a:lnTo>
                  <a:lnTo>
                    <a:pt x="114" y="138"/>
                  </a:lnTo>
                  <a:lnTo>
                    <a:pt x="110" y="142"/>
                  </a:lnTo>
                  <a:lnTo>
                    <a:pt x="106" y="148"/>
                  </a:lnTo>
                  <a:lnTo>
                    <a:pt x="104" y="152"/>
                  </a:lnTo>
                  <a:lnTo>
                    <a:pt x="102" y="156"/>
                  </a:lnTo>
                  <a:lnTo>
                    <a:pt x="102" y="156"/>
                  </a:lnTo>
                  <a:lnTo>
                    <a:pt x="104" y="158"/>
                  </a:lnTo>
                  <a:lnTo>
                    <a:pt x="106" y="158"/>
                  </a:lnTo>
                  <a:lnTo>
                    <a:pt x="112" y="156"/>
                  </a:lnTo>
                  <a:lnTo>
                    <a:pt x="126" y="146"/>
                  </a:lnTo>
                  <a:lnTo>
                    <a:pt x="126" y="146"/>
                  </a:lnTo>
                  <a:lnTo>
                    <a:pt x="134" y="144"/>
                  </a:lnTo>
                  <a:lnTo>
                    <a:pt x="140" y="144"/>
                  </a:lnTo>
                  <a:lnTo>
                    <a:pt x="144" y="148"/>
                  </a:lnTo>
                  <a:lnTo>
                    <a:pt x="144" y="150"/>
                  </a:lnTo>
                  <a:lnTo>
                    <a:pt x="142" y="154"/>
                  </a:lnTo>
                  <a:lnTo>
                    <a:pt x="142" y="154"/>
                  </a:lnTo>
                  <a:lnTo>
                    <a:pt x="142" y="156"/>
                  </a:lnTo>
                  <a:lnTo>
                    <a:pt x="146" y="160"/>
                  </a:lnTo>
                  <a:lnTo>
                    <a:pt x="156" y="164"/>
                  </a:lnTo>
                  <a:lnTo>
                    <a:pt x="162" y="164"/>
                  </a:lnTo>
                  <a:lnTo>
                    <a:pt x="168" y="164"/>
                  </a:lnTo>
                  <a:lnTo>
                    <a:pt x="174" y="160"/>
                  </a:lnTo>
                  <a:lnTo>
                    <a:pt x="176" y="156"/>
                  </a:lnTo>
                  <a:lnTo>
                    <a:pt x="176" y="156"/>
                  </a:lnTo>
                  <a:lnTo>
                    <a:pt x="178" y="152"/>
                  </a:lnTo>
                  <a:lnTo>
                    <a:pt x="178" y="146"/>
                  </a:lnTo>
                  <a:lnTo>
                    <a:pt x="176" y="136"/>
                  </a:lnTo>
                  <a:lnTo>
                    <a:pt x="170" y="130"/>
                  </a:lnTo>
                  <a:lnTo>
                    <a:pt x="166" y="130"/>
                  </a:lnTo>
                  <a:lnTo>
                    <a:pt x="164" y="132"/>
                  </a:lnTo>
                  <a:lnTo>
                    <a:pt x="164" y="132"/>
                  </a:lnTo>
                  <a:lnTo>
                    <a:pt x="162" y="136"/>
                  </a:lnTo>
                  <a:lnTo>
                    <a:pt x="160" y="136"/>
                  </a:lnTo>
                  <a:lnTo>
                    <a:pt x="158" y="132"/>
                  </a:lnTo>
                  <a:lnTo>
                    <a:pt x="158" y="126"/>
                  </a:lnTo>
                  <a:lnTo>
                    <a:pt x="160" y="122"/>
                  </a:lnTo>
                  <a:lnTo>
                    <a:pt x="164" y="118"/>
                  </a:lnTo>
                  <a:lnTo>
                    <a:pt x="164" y="118"/>
                  </a:lnTo>
                  <a:lnTo>
                    <a:pt x="166" y="116"/>
                  </a:lnTo>
                  <a:lnTo>
                    <a:pt x="168" y="114"/>
                  </a:lnTo>
                  <a:lnTo>
                    <a:pt x="166" y="112"/>
                  </a:lnTo>
                  <a:lnTo>
                    <a:pt x="166" y="110"/>
                  </a:lnTo>
                  <a:lnTo>
                    <a:pt x="160" y="110"/>
                  </a:lnTo>
                  <a:lnTo>
                    <a:pt x="152" y="112"/>
                  </a:lnTo>
                  <a:lnTo>
                    <a:pt x="152" y="112"/>
                  </a:lnTo>
                  <a:lnTo>
                    <a:pt x="148" y="112"/>
                  </a:lnTo>
                  <a:lnTo>
                    <a:pt x="146" y="110"/>
                  </a:lnTo>
                  <a:lnTo>
                    <a:pt x="146" y="102"/>
                  </a:lnTo>
                  <a:lnTo>
                    <a:pt x="148" y="92"/>
                  </a:lnTo>
                  <a:lnTo>
                    <a:pt x="150" y="88"/>
                  </a:lnTo>
                  <a:lnTo>
                    <a:pt x="154" y="86"/>
                  </a:lnTo>
                  <a:lnTo>
                    <a:pt x="154" y="86"/>
                  </a:lnTo>
                  <a:lnTo>
                    <a:pt x="156" y="84"/>
                  </a:lnTo>
                  <a:lnTo>
                    <a:pt x="154" y="82"/>
                  </a:lnTo>
                  <a:lnTo>
                    <a:pt x="146" y="78"/>
                  </a:lnTo>
                  <a:lnTo>
                    <a:pt x="136" y="76"/>
                  </a:lnTo>
                  <a:lnTo>
                    <a:pt x="132" y="78"/>
                  </a:lnTo>
                  <a:lnTo>
                    <a:pt x="132" y="80"/>
                  </a:lnTo>
                  <a:lnTo>
                    <a:pt x="132" y="80"/>
                  </a:lnTo>
                  <a:lnTo>
                    <a:pt x="130" y="82"/>
                  </a:lnTo>
                  <a:lnTo>
                    <a:pt x="128" y="84"/>
                  </a:lnTo>
                  <a:lnTo>
                    <a:pt x="120" y="84"/>
                  </a:lnTo>
                  <a:lnTo>
                    <a:pt x="112" y="80"/>
                  </a:lnTo>
                  <a:lnTo>
                    <a:pt x="110" y="78"/>
                  </a:lnTo>
                  <a:lnTo>
                    <a:pt x="108" y="74"/>
                  </a:lnTo>
                  <a:lnTo>
                    <a:pt x="108" y="74"/>
                  </a:lnTo>
                  <a:lnTo>
                    <a:pt x="104" y="70"/>
                  </a:lnTo>
                  <a:lnTo>
                    <a:pt x="98" y="66"/>
                  </a:lnTo>
                  <a:lnTo>
                    <a:pt x="94" y="62"/>
                  </a:lnTo>
                  <a:lnTo>
                    <a:pt x="94" y="60"/>
                  </a:lnTo>
                  <a:lnTo>
                    <a:pt x="96" y="58"/>
                  </a:lnTo>
                  <a:lnTo>
                    <a:pt x="96" y="58"/>
                  </a:lnTo>
                  <a:lnTo>
                    <a:pt x="96" y="56"/>
                  </a:lnTo>
                  <a:lnTo>
                    <a:pt x="94" y="56"/>
                  </a:lnTo>
                  <a:lnTo>
                    <a:pt x="88" y="54"/>
                  </a:lnTo>
                  <a:lnTo>
                    <a:pt x="80" y="54"/>
                  </a:lnTo>
                  <a:lnTo>
                    <a:pt x="76" y="56"/>
                  </a:lnTo>
                  <a:lnTo>
                    <a:pt x="74" y="60"/>
                  </a:lnTo>
                  <a:lnTo>
                    <a:pt x="74" y="60"/>
                  </a:lnTo>
                  <a:lnTo>
                    <a:pt x="74" y="62"/>
                  </a:lnTo>
                  <a:lnTo>
                    <a:pt x="72" y="62"/>
                  </a:lnTo>
                  <a:lnTo>
                    <a:pt x="70" y="58"/>
                  </a:lnTo>
                  <a:lnTo>
                    <a:pt x="72" y="50"/>
                  </a:lnTo>
                  <a:lnTo>
                    <a:pt x="74" y="46"/>
                  </a:lnTo>
                  <a:lnTo>
                    <a:pt x="76" y="40"/>
                  </a:lnTo>
                  <a:lnTo>
                    <a:pt x="76" y="40"/>
                  </a:lnTo>
                  <a:lnTo>
                    <a:pt x="84" y="30"/>
                  </a:lnTo>
                  <a:lnTo>
                    <a:pt x="86" y="22"/>
                  </a:lnTo>
                  <a:lnTo>
                    <a:pt x="90" y="16"/>
                  </a:lnTo>
                  <a:lnTo>
                    <a:pt x="96" y="10"/>
                  </a:lnTo>
                  <a:lnTo>
                    <a:pt x="96" y="1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1" name="Freeform 88"/>
            <p:cNvSpPr>
              <a:spLocks/>
            </p:cNvSpPr>
            <p:nvPr/>
          </p:nvSpPr>
          <p:spPr bwMode="auto">
            <a:xfrm>
              <a:off x="9156700" y="6629400"/>
              <a:ext cx="311150" cy="612775"/>
            </a:xfrm>
            <a:custGeom>
              <a:avLst/>
              <a:gdLst>
                <a:gd name="T0" fmla="*/ 168 w 196"/>
                <a:gd name="T1" fmla="*/ 4 h 386"/>
                <a:gd name="T2" fmla="*/ 162 w 196"/>
                <a:gd name="T3" fmla="*/ 2 h 386"/>
                <a:gd name="T4" fmla="*/ 158 w 196"/>
                <a:gd name="T5" fmla="*/ 12 h 386"/>
                <a:gd name="T6" fmla="*/ 154 w 196"/>
                <a:gd name="T7" fmla="*/ 22 h 386"/>
                <a:gd name="T8" fmla="*/ 154 w 196"/>
                <a:gd name="T9" fmla="*/ 32 h 386"/>
                <a:gd name="T10" fmla="*/ 148 w 196"/>
                <a:gd name="T11" fmla="*/ 40 h 386"/>
                <a:gd name="T12" fmla="*/ 138 w 196"/>
                <a:gd name="T13" fmla="*/ 44 h 386"/>
                <a:gd name="T14" fmla="*/ 132 w 196"/>
                <a:gd name="T15" fmla="*/ 44 h 386"/>
                <a:gd name="T16" fmla="*/ 124 w 196"/>
                <a:gd name="T17" fmla="*/ 50 h 386"/>
                <a:gd name="T18" fmla="*/ 124 w 196"/>
                <a:gd name="T19" fmla="*/ 56 h 386"/>
                <a:gd name="T20" fmla="*/ 122 w 196"/>
                <a:gd name="T21" fmla="*/ 64 h 386"/>
                <a:gd name="T22" fmla="*/ 122 w 196"/>
                <a:gd name="T23" fmla="*/ 70 h 386"/>
                <a:gd name="T24" fmla="*/ 124 w 196"/>
                <a:gd name="T25" fmla="*/ 74 h 386"/>
                <a:gd name="T26" fmla="*/ 118 w 196"/>
                <a:gd name="T27" fmla="*/ 82 h 386"/>
                <a:gd name="T28" fmla="*/ 102 w 196"/>
                <a:gd name="T29" fmla="*/ 88 h 386"/>
                <a:gd name="T30" fmla="*/ 98 w 196"/>
                <a:gd name="T31" fmla="*/ 88 h 386"/>
                <a:gd name="T32" fmla="*/ 84 w 196"/>
                <a:gd name="T33" fmla="*/ 98 h 386"/>
                <a:gd name="T34" fmla="*/ 70 w 196"/>
                <a:gd name="T35" fmla="*/ 106 h 386"/>
                <a:gd name="T36" fmla="*/ 64 w 196"/>
                <a:gd name="T37" fmla="*/ 108 h 386"/>
                <a:gd name="T38" fmla="*/ 46 w 196"/>
                <a:gd name="T39" fmla="*/ 110 h 386"/>
                <a:gd name="T40" fmla="*/ 30 w 196"/>
                <a:gd name="T41" fmla="*/ 114 h 386"/>
                <a:gd name="T42" fmla="*/ 26 w 196"/>
                <a:gd name="T43" fmla="*/ 114 h 386"/>
                <a:gd name="T44" fmla="*/ 24 w 196"/>
                <a:gd name="T45" fmla="*/ 126 h 386"/>
                <a:gd name="T46" fmla="*/ 22 w 196"/>
                <a:gd name="T47" fmla="*/ 144 h 386"/>
                <a:gd name="T48" fmla="*/ 18 w 196"/>
                <a:gd name="T49" fmla="*/ 150 h 386"/>
                <a:gd name="T50" fmla="*/ 14 w 196"/>
                <a:gd name="T51" fmla="*/ 174 h 386"/>
                <a:gd name="T52" fmla="*/ 22 w 196"/>
                <a:gd name="T53" fmla="*/ 198 h 386"/>
                <a:gd name="T54" fmla="*/ 26 w 196"/>
                <a:gd name="T55" fmla="*/ 212 h 386"/>
                <a:gd name="T56" fmla="*/ 28 w 196"/>
                <a:gd name="T57" fmla="*/ 232 h 386"/>
                <a:gd name="T58" fmla="*/ 22 w 196"/>
                <a:gd name="T59" fmla="*/ 246 h 386"/>
                <a:gd name="T60" fmla="*/ 16 w 196"/>
                <a:gd name="T61" fmla="*/ 254 h 386"/>
                <a:gd name="T62" fmla="*/ 4 w 196"/>
                <a:gd name="T63" fmla="*/ 272 h 386"/>
                <a:gd name="T64" fmla="*/ 0 w 196"/>
                <a:gd name="T65" fmla="*/ 290 h 386"/>
                <a:gd name="T66" fmla="*/ 6 w 196"/>
                <a:gd name="T67" fmla="*/ 320 h 386"/>
                <a:gd name="T68" fmla="*/ 10 w 196"/>
                <a:gd name="T69" fmla="*/ 334 h 386"/>
                <a:gd name="T70" fmla="*/ 16 w 196"/>
                <a:gd name="T71" fmla="*/ 360 h 386"/>
                <a:gd name="T72" fmla="*/ 22 w 196"/>
                <a:gd name="T73" fmla="*/ 372 h 386"/>
                <a:gd name="T74" fmla="*/ 34 w 196"/>
                <a:gd name="T75" fmla="*/ 380 h 386"/>
                <a:gd name="T76" fmla="*/ 62 w 196"/>
                <a:gd name="T77" fmla="*/ 386 h 386"/>
                <a:gd name="T78" fmla="*/ 72 w 196"/>
                <a:gd name="T79" fmla="*/ 384 h 386"/>
                <a:gd name="T80" fmla="*/ 74 w 196"/>
                <a:gd name="T81" fmla="*/ 382 h 386"/>
                <a:gd name="T82" fmla="*/ 84 w 196"/>
                <a:gd name="T83" fmla="*/ 380 h 386"/>
                <a:gd name="T84" fmla="*/ 96 w 196"/>
                <a:gd name="T85" fmla="*/ 376 h 386"/>
                <a:gd name="T86" fmla="*/ 100 w 196"/>
                <a:gd name="T87" fmla="*/ 374 h 386"/>
                <a:gd name="T88" fmla="*/ 108 w 196"/>
                <a:gd name="T89" fmla="*/ 356 h 386"/>
                <a:gd name="T90" fmla="*/ 138 w 196"/>
                <a:gd name="T91" fmla="*/ 258 h 386"/>
                <a:gd name="T92" fmla="*/ 160 w 196"/>
                <a:gd name="T93" fmla="*/ 194 h 386"/>
                <a:gd name="T94" fmla="*/ 168 w 196"/>
                <a:gd name="T95" fmla="*/ 152 h 386"/>
                <a:gd name="T96" fmla="*/ 170 w 196"/>
                <a:gd name="T97" fmla="*/ 144 h 386"/>
                <a:gd name="T98" fmla="*/ 174 w 196"/>
                <a:gd name="T99" fmla="*/ 130 h 386"/>
                <a:gd name="T100" fmla="*/ 174 w 196"/>
                <a:gd name="T101" fmla="*/ 122 h 386"/>
                <a:gd name="T102" fmla="*/ 172 w 196"/>
                <a:gd name="T103" fmla="*/ 112 h 386"/>
                <a:gd name="T104" fmla="*/ 174 w 196"/>
                <a:gd name="T105" fmla="*/ 102 h 386"/>
                <a:gd name="T106" fmla="*/ 178 w 196"/>
                <a:gd name="T107" fmla="*/ 102 h 386"/>
                <a:gd name="T108" fmla="*/ 180 w 196"/>
                <a:gd name="T109" fmla="*/ 104 h 386"/>
                <a:gd name="T110" fmla="*/ 190 w 196"/>
                <a:gd name="T111" fmla="*/ 112 h 386"/>
                <a:gd name="T112" fmla="*/ 196 w 196"/>
                <a:gd name="T113" fmla="*/ 102 h 386"/>
                <a:gd name="T114" fmla="*/ 196 w 196"/>
                <a:gd name="T115" fmla="*/ 90 h 386"/>
                <a:gd name="T116" fmla="*/ 188 w 196"/>
                <a:gd name="T117" fmla="*/ 64 h 386"/>
                <a:gd name="T118" fmla="*/ 186 w 196"/>
                <a:gd name="T119" fmla="*/ 50 h 386"/>
                <a:gd name="T120" fmla="*/ 184 w 196"/>
                <a:gd name="T121" fmla="*/ 36 h 386"/>
                <a:gd name="T122" fmla="*/ 170 w 196"/>
                <a:gd name="T123" fmla="*/ 12 h 386"/>
                <a:gd name="T124" fmla="*/ 168 w 196"/>
                <a:gd name="T125" fmla="*/ 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86">
                  <a:moveTo>
                    <a:pt x="168" y="4"/>
                  </a:moveTo>
                  <a:lnTo>
                    <a:pt x="168" y="4"/>
                  </a:lnTo>
                  <a:lnTo>
                    <a:pt x="164" y="0"/>
                  </a:lnTo>
                  <a:lnTo>
                    <a:pt x="162" y="2"/>
                  </a:lnTo>
                  <a:lnTo>
                    <a:pt x="158" y="12"/>
                  </a:lnTo>
                  <a:lnTo>
                    <a:pt x="158" y="12"/>
                  </a:lnTo>
                  <a:lnTo>
                    <a:pt x="156" y="16"/>
                  </a:lnTo>
                  <a:lnTo>
                    <a:pt x="154" y="22"/>
                  </a:lnTo>
                  <a:lnTo>
                    <a:pt x="154" y="32"/>
                  </a:lnTo>
                  <a:lnTo>
                    <a:pt x="154" y="32"/>
                  </a:lnTo>
                  <a:lnTo>
                    <a:pt x="152" y="36"/>
                  </a:lnTo>
                  <a:lnTo>
                    <a:pt x="148" y="40"/>
                  </a:lnTo>
                  <a:lnTo>
                    <a:pt x="142" y="44"/>
                  </a:lnTo>
                  <a:lnTo>
                    <a:pt x="138" y="44"/>
                  </a:lnTo>
                  <a:lnTo>
                    <a:pt x="138" y="44"/>
                  </a:lnTo>
                  <a:lnTo>
                    <a:pt x="132" y="44"/>
                  </a:lnTo>
                  <a:lnTo>
                    <a:pt x="126" y="46"/>
                  </a:lnTo>
                  <a:lnTo>
                    <a:pt x="124" y="50"/>
                  </a:lnTo>
                  <a:lnTo>
                    <a:pt x="124" y="56"/>
                  </a:lnTo>
                  <a:lnTo>
                    <a:pt x="124" y="56"/>
                  </a:lnTo>
                  <a:lnTo>
                    <a:pt x="124" y="62"/>
                  </a:lnTo>
                  <a:lnTo>
                    <a:pt x="122" y="64"/>
                  </a:lnTo>
                  <a:lnTo>
                    <a:pt x="122" y="66"/>
                  </a:lnTo>
                  <a:lnTo>
                    <a:pt x="122" y="70"/>
                  </a:lnTo>
                  <a:lnTo>
                    <a:pt x="122" y="70"/>
                  </a:lnTo>
                  <a:lnTo>
                    <a:pt x="124" y="74"/>
                  </a:lnTo>
                  <a:lnTo>
                    <a:pt x="122" y="76"/>
                  </a:lnTo>
                  <a:lnTo>
                    <a:pt x="118" y="82"/>
                  </a:lnTo>
                  <a:lnTo>
                    <a:pt x="112" y="86"/>
                  </a:lnTo>
                  <a:lnTo>
                    <a:pt x="102" y="88"/>
                  </a:lnTo>
                  <a:lnTo>
                    <a:pt x="102" y="88"/>
                  </a:lnTo>
                  <a:lnTo>
                    <a:pt x="98" y="88"/>
                  </a:lnTo>
                  <a:lnTo>
                    <a:pt x="94" y="92"/>
                  </a:lnTo>
                  <a:lnTo>
                    <a:pt x="84" y="98"/>
                  </a:lnTo>
                  <a:lnTo>
                    <a:pt x="74" y="104"/>
                  </a:lnTo>
                  <a:lnTo>
                    <a:pt x="70" y="106"/>
                  </a:lnTo>
                  <a:lnTo>
                    <a:pt x="64" y="108"/>
                  </a:lnTo>
                  <a:lnTo>
                    <a:pt x="64" y="108"/>
                  </a:lnTo>
                  <a:lnTo>
                    <a:pt x="56" y="108"/>
                  </a:lnTo>
                  <a:lnTo>
                    <a:pt x="46" y="110"/>
                  </a:lnTo>
                  <a:lnTo>
                    <a:pt x="38" y="114"/>
                  </a:lnTo>
                  <a:lnTo>
                    <a:pt x="30" y="114"/>
                  </a:lnTo>
                  <a:lnTo>
                    <a:pt x="30" y="114"/>
                  </a:lnTo>
                  <a:lnTo>
                    <a:pt x="26" y="114"/>
                  </a:lnTo>
                  <a:lnTo>
                    <a:pt x="24" y="116"/>
                  </a:lnTo>
                  <a:lnTo>
                    <a:pt x="24" y="126"/>
                  </a:lnTo>
                  <a:lnTo>
                    <a:pt x="22" y="138"/>
                  </a:lnTo>
                  <a:lnTo>
                    <a:pt x="22" y="144"/>
                  </a:lnTo>
                  <a:lnTo>
                    <a:pt x="18" y="150"/>
                  </a:lnTo>
                  <a:lnTo>
                    <a:pt x="18" y="150"/>
                  </a:lnTo>
                  <a:lnTo>
                    <a:pt x="14" y="162"/>
                  </a:lnTo>
                  <a:lnTo>
                    <a:pt x="14" y="174"/>
                  </a:lnTo>
                  <a:lnTo>
                    <a:pt x="18" y="186"/>
                  </a:lnTo>
                  <a:lnTo>
                    <a:pt x="22" y="198"/>
                  </a:lnTo>
                  <a:lnTo>
                    <a:pt x="22" y="198"/>
                  </a:lnTo>
                  <a:lnTo>
                    <a:pt x="26" y="212"/>
                  </a:lnTo>
                  <a:lnTo>
                    <a:pt x="28" y="224"/>
                  </a:lnTo>
                  <a:lnTo>
                    <a:pt x="28" y="232"/>
                  </a:lnTo>
                  <a:lnTo>
                    <a:pt x="26" y="238"/>
                  </a:lnTo>
                  <a:lnTo>
                    <a:pt x="22" y="246"/>
                  </a:lnTo>
                  <a:lnTo>
                    <a:pt x="16" y="254"/>
                  </a:lnTo>
                  <a:lnTo>
                    <a:pt x="16" y="254"/>
                  </a:lnTo>
                  <a:lnTo>
                    <a:pt x="10" y="264"/>
                  </a:lnTo>
                  <a:lnTo>
                    <a:pt x="4" y="272"/>
                  </a:lnTo>
                  <a:lnTo>
                    <a:pt x="2" y="282"/>
                  </a:lnTo>
                  <a:lnTo>
                    <a:pt x="0" y="290"/>
                  </a:lnTo>
                  <a:lnTo>
                    <a:pt x="0" y="306"/>
                  </a:lnTo>
                  <a:lnTo>
                    <a:pt x="6" y="320"/>
                  </a:lnTo>
                  <a:lnTo>
                    <a:pt x="6" y="320"/>
                  </a:lnTo>
                  <a:lnTo>
                    <a:pt x="10" y="334"/>
                  </a:lnTo>
                  <a:lnTo>
                    <a:pt x="12" y="348"/>
                  </a:lnTo>
                  <a:lnTo>
                    <a:pt x="16" y="360"/>
                  </a:lnTo>
                  <a:lnTo>
                    <a:pt x="20" y="366"/>
                  </a:lnTo>
                  <a:lnTo>
                    <a:pt x="22" y="372"/>
                  </a:lnTo>
                  <a:lnTo>
                    <a:pt x="22" y="372"/>
                  </a:lnTo>
                  <a:lnTo>
                    <a:pt x="34" y="380"/>
                  </a:lnTo>
                  <a:lnTo>
                    <a:pt x="48" y="386"/>
                  </a:lnTo>
                  <a:lnTo>
                    <a:pt x="62" y="386"/>
                  </a:lnTo>
                  <a:lnTo>
                    <a:pt x="66" y="386"/>
                  </a:lnTo>
                  <a:lnTo>
                    <a:pt x="72" y="384"/>
                  </a:lnTo>
                  <a:lnTo>
                    <a:pt x="72" y="384"/>
                  </a:lnTo>
                  <a:lnTo>
                    <a:pt x="74" y="382"/>
                  </a:lnTo>
                  <a:lnTo>
                    <a:pt x="78" y="380"/>
                  </a:lnTo>
                  <a:lnTo>
                    <a:pt x="84" y="380"/>
                  </a:lnTo>
                  <a:lnTo>
                    <a:pt x="92" y="378"/>
                  </a:lnTo>
                  <a:lnTo>
                    <a:pt x="96" y="376"/>
                  </a:lnTo>
                  <a:lnTo>
                    <a:pt x="100" y="374"/>
                  </a:lnTo>
                  <a:lnTo>
                    <a:pt x="100" y="374"/>
                  </a:lnTo>
                  <a:lnTo>
                    <a:pt x="104" y="366"/>
                  </a:lnTo>
                  <a:lnTo>
                    <a:pt x="108" y="356"/>
                  </a:lnTo>
                  <a:lnTo>
                    <a:pt x="118" y="328"/>
                  </a:lnTo>
                  <a:lnTo>
                    <a:pt x="138" y="258"/>
                  </a:lnTo>
                  <a:lnTo>
                    <a:pt x="138" y="258"/>
                  </a:lnTo>
                  <a:lnTo>
                    <a:pt x="160" y="194"/>
                  </a:lnTo>
                  <a:lnTo>
                    <a:pt x="166" y="168"/>
                  </a:lnTo>
                  <a:lnTo>
                    <a:pt x="168" y="152"/>
                  </a:lnTo>
                  <a:lnTo>
                    <a:pt x="168" y="152"/>
                  </a:lnTo>
                  <a:lnTo>
                    <a:pt x="170" y="144"/>
                  </a:lnTo>
                  <a:lnTo>
                    <a:pt x="172" y="138"/>
                  </a:lnTo>
                  <a:lnTo>
                    <a:pt x="174" y="130"/>
                  </a:lnTo>
                  <a:lnTo>
                    <a:pt x="174" y="126"/>
                  </a:lnTo>
                  <a:lnTo>
                    <a:pt x="174" y="122"/>
                  </a:lnTo>
                  <a:lnTo>
                    <a:pt x="174" y="122"/>
                  </a:lnTo>
                  <a:lnTo>
                    <a:pt x="172" y="112"/>
                  </a:lnTo>
                  <a:lnTo>
                    <a:pt x="174" y="104"/>
                  </a:lnTo>
                  <a:lnTo>
                    <a:pt x="174" y="102"/>
                  </a:lnTo>
                  <a:lnTo>
                    <a:pt x="176" y="102"/>
                  </a:lnTo>
                  <a:lnTo>
                    <a:pt x="178" y="102"/>
                  </a:lnTo>
                  <a:lnTo>
                    <a:pt x="180" y="104"/>
                  </a:lnTo>
                  <a:lnTo>
                    <a:pt x="180" y="104"/>
                  </a:lnTo>
                  <a:lnTo>
                    <a:pt x="186" y="110"/>
                  </a:lnTo>
                  <a:lnTo>
                    <a:pt x="190" y="112"/>
                  </a:lnTo>
                  <a:lnTo>
                    <a:pt x="194" y="108"/>
                  </a:lnTo>
                  <a:lnTo>
                    <a:pt x="196" y="102"/>
                  </a:lnTo>
                  <a:lnTo>
                    <a:pt x="196" y="102"/>
                  </a:lnTo>
                  <a:lnTo>
                    <a:pt x="196" y="90"/>
                  </a:lnTo>
                  <a:lnTo>
                    <a:pt x="192" y="78"/>
                  </a:lnTo>
                  <a:lnTo>
                    <a:pt x="188" y="64"/>
                  </a:lnTo>
                  <a:lnTo>
                    <a:pt x="186" y="50"/>
                  </a:lnTo>
                  <a:lnTo>
                    <a:pt x="186" y="50"/>
                  </a:lnTo>
                  <a:lnTo>
                    <a:pt x="186" y="44"/>
                  </a:lnTo>
                  <a:lnTo>
                    <a:pt x="184" y="36"/>
                  </a:lnTo>
                  <a:lnTo>
                    <a:pt x="178" y="24"/>
                  </a:lnTo>
                  <a:lnTo>
                    <a:pt x="170" y="12"/>
                  </a:lnTo>
                  <a:lnTo>
                    <a:pt x="168" y="4"/>
                  </a:lnTo>
                  <a:lnTo>
                    <a:pt x="168"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2" name="Freeform 89"/>
            <p:cNvSpPr>
              <a:spLocks/>
            </p:cNvSpPr>
            <p:nvPr/>
          </p:nvSpPr>
          <p:spPr bwMode="auto">
            <a:xfrm>
              <a:off x="10763250" y="5692775"/>
              <a:ext cx="88900" cy="165100"/>
            </a:xfrm>
            <a:custGeom>
              <a:avLst/>
              <a:gdLst>
                <a:gd name="T0" fmla="*/ 12 w 56"/>
                <a:gd name="T1" fmla="*/ 0 h 104"/>
                <a:gd name="T2" fmla="*/ 12 w 56"/>
                <a:gd name="T3" fmla="*/ 0 h 104"/>
                <a:gd name="T4" fmla="*/ 10 w 56"/>
                <a:gd name="T5" fmla="*/ 0 h 104"/>
                <a:gd name="T6" fmla="*/ 8 w 56"/>
                <a:gd name="T7" fmla="*/ 2 h 104"/>
                <a:gd name="T8" fmla="*/ 6 w 56"/>
                <a:gd name="T9" fmla="*/ 10 h 104"/>
                <a:gd name="T10" fmla="*/ 4 w 56"/>
                <a:gd name="T11" fmla="*/ 18 h 104"/>
                <a:gd name="T12" fmla="*/ 2 w 56"/>
                <a:gd name="T13" fmla="*/ 26 h 104"/>
                <a:gd name="T14" fmla="*/ 2 w 56"/>
                <a:gd name="T15" fmla="*/ 26 h 104"/>
                <a:gd name="T16" fmla="*/ 0 w 56"/>
                <a:gd name="T17" fmla="*/ 34 h 104"/>
                <a:gd name="T18" fmla="*/ 0 w 56"/>
                <a:gd name="T19" fmla="*/ 42 h 104"/>
                <a:gd name="T20" fmla="*/ 0 w 56"/>
                <a:gd name="T21" fmla="*/ 62 h 104"/>
                <a:gd name="T22" fmla="*/ 0 w 56"/>
                <a:gd name="T23" fmla="*/ 62 h 104"/>
                <a:gd name="T24" fmla="*/ 2 w 56"/>
                <a:gd name="T25" fmla="*/ 84 h 104"/>
                <a:gd name="T26" fmla="*/ 6 w 56"/>
                <a:gd name="T27" fmla="*/ 94 h 104"/>
                <a:gd name="T28" fmla="*/ 10 w 56"/>
                <a:gd name="T29" fmla="*/ 98 h 104"/>
                <a:gd name="T30" fmla="*/ 14 w 56"/>
                <a:gd name="T31" fmla="*/ 102 h 104"/>
                <a:gd name="T32" fmla="*/ 14 w 56"/>
                <a:gd name="T33" fmla="*/ 102 h 104"/>
                <a:gd name="T34" fmla="*/ 20 w 56"/>
                <a:gd name="T35" fmla="*/ 104 h 104"/>
                <a:gd name="T36" fmla="*/ 28 w 56"/>
                <a:gd name="T37" fmla="*/ 104 h 104"/>
                <a:gd name="T38" fmla="*/ 34 w 56"/>
                <a:gd name="T39" fmla="*/ 100 h 104"/>
                <a:gd name="T40" fmla="*/ 40 w 56"/>
                <a:gd name="T41" fmla="*/ 96 h 104"/>
                <a:gd name="T42" fmla="*/ 46 w 56"/>
                <a:gd name="T43" fmla="*/ 88 h 104"/>
                <a:gd name="T44" fmla="*/ 52 w 56"/>
                <a:gd name="T45" fmla="*/ 80 h 104"/>
                <a:gd name="T46" fmla="*/ 54 w 56"/>
                <a:gd name="T47" fmla="*/ 72 h 104"/>
                <a:gd name="T48" fmla="*/ 56 w 56"/>
                <a:gd name="T49" fmla="*/ 64 h 104"/>
                <a:gd name="T50" fmla="*/ 56 w 56"/>
                <a:gd name="T51" fmla="*/ 64 h 104"/>
                <a:gd name="T52" fmla="*/ 54 w 56"/>
                <a:gd name="T53" fmla="*/ 54 h 104"/>
                <a:gd name="T54" fmla="*/ 50 w 56"/>
                <a:gd name="T55" fmla="*/ 44 h 104"/>
                <a:gd name="T56" fmla="*/ 44 w 56"/>
                <a:gd name="T57" fmla="*/ 34 h 104"/>
                <a:gd name="T58" fmla="*/ 36 w 56"/>
                <a:gd name="T59" fmla="*/ 24 h 104"/>
                <a:gd name="T60" fmla="*/ 22 w 56"/>
                <a:gd name="T61" fmla="*/ 6 h 104"/>
                <a:gd name="T62" fmla="*/ 16 w 56"/>
                <a:gd name="T63" fmla="*/ 2 h 104"/>
                <a:gd name="T64" fmla="*/ 12 w 56"/>
                <a:gd name="T65" fmla="*/ 0 h 104"/>
                <a:gd name="T66" fmla="*/ 12 w 56"/>
                <a:gd name="T6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104">
                  <a:moveTo>
                    <a:pt x="12" y="0"/>
                  </a:moveTo>
                  <a:lnTo>
                    <a:pt x="12" y="0"/>
                  </a:lnTo>
                  <a:lnTo>
                    <a:pt x="10" y="0"/>
                  </a:lnTo>
                  <a:lnTo>
                    <a:pt x="8" y="2"/>
                  </a:lnTo>
                  <a:lnTo>
                    <a:pt x="6" y="10"/>
                  </a:lnTo>
                  <a:lnTo>
                    <a:pt x="4" y="18"/>
                  </a:lnTo>
                  <a:lnTo>
                    <a:pt x="2" y="26"/>
                  </a:lnTo>
                  <a:lnTo>
                    <a:pt x="2" y="26"/>
                  </a:lnTo>
                  <a:lnTo>
                    <a:pt x="0" y="34"/>
                  </a:lnTo>
                  <a:lnTo>
                    <a:pt x="0" y="42"/>
                  </a:lnTo>
                  <a:lnTo>
                    <a:pt x="0" y="62"/>
                  </a:lnTo>
                  <a:lnTo>
                    <a:pt x="0" y="62"/>
                  </a:lnTo>
                  <a:lnTo>
                    <a:pt x="2" y="84"/>
                  </a:lnTo>
                  <a:lnTo>
                    <a:pt x="6" y="94"/>
                  </a:lnTo>
                  <a:lnTo>
                    <a:pt x="10" y="98"/>
                  </a:lnTo>
                  <a:lnTo>
                    <a:pt x="14" y="102"/>
                  </a:lnTo>
                  <a:lnTo>
                    <a:pt x="14" y="102"/>
                  </a:lnTo>
                  <a:lnTo>
                    <a:pt x="20" y="104"/>
                  </a:lnTo>
                  <a:lnTo>
                    <a:pt x="28" y="104"/>
                  </a:lnTo>
                  <a:lnTo>
                    <a:pt x="34" y="100"/>
                  </a:lnTo>
                  <a:lnTo>
                    <a:pt x="40" y="96"/>
                  </a:lnTo>
                  <a:lnTo>
                    <a:pt x="46" y="88"/>
                  </a:lnTo>
                  <a:lnTo>
                    <a:pt x="52" y="80"/>
                  </a:lnTo>
                  <a:lnTo>
                    <a:pt x="54" y="72"/>
                  </a:lnTo>
                  <a:lnTo>
                    <a:pt x="56" y="64"/>
                  </a:lnTo>
                  <a:lnTo>
                    <a:pt x="56" y="64"/>
                  </a:lnTo>
                  <a:lnTo>
                    <a:pt x="54" y="54"/>
                  </a:lnTo>
                  <a:lnTo>
                    <a:pt x="50" y="44"/>
                  </a:lnTo>
                  <a:lnTo>
                    <a:pt x="44" y="34"/>
                  </a:lnTo>
                  <a:lnTo>
                    <a:pt x="36" y="24"/>
                  </a:lnTo>
                  <a:lnTo>
                    <a:pt x="22" y="6"/>
                  </a:lnTo>
                  <a:lnTo>
                    <a:pt x="16" y="2"/>
                  </a:lnTo>
                  <a:lnTo>
                    <a:pt x="12" y="0"/>
                  </a:lnTo>
                  <a:lnTo>
                    <a:pt x="12" y="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3" name="Freeform 90"/>
            <p:cNvSpPr>
              <a:spLocks/>
            </p:cNvSpPr>
            <p:nvPr/>
          </p:nvSpPr>
          <p:spPr bwMode="auto">
            <a:xfrm>
              <a:off x="11830050" y="6372225"/>
              <a:ext cx="438150" cy="123825"/>
            </a:xfrm>
            <a:custGeom>
              <a:avLst/>
              <a:gdLst>
                <a:gd name="T0" fmla="*/ 240 w 276"/>
                <a:gd name="T1" fmla="*/ 74 h 78"/>
                <a:gd name="T2" fmla="*/ 246 w 276"/>
                <a:gd name="T3" fmla="*/ 72 h 78"/>
                <a:gd name="T4" fmla="*/ 256 w 276"/>
                <a:gd name="T5" fmla="*/ 78 h 78"/>
                <a:gd name="T6" fmla="*/ 266 w 276"/>
                <a:gd name="T7" fmla="*/ 78 h 78"/>
                <a:gd name="T8" fmla="*/ 272 w 276"/>
                <a:gd name="T9" fmla="*/ 74 h 78"/>
                <a:gd name="T10" fmla="*/ 274 w 276"/>
                <a:gd name="T11" fmla="*/ 68 h 78"/>
                <a:gd name="T12" fmla="*/ 264 w 276"/>
                <a:gd name="T13" fmla="*/ 66 h 78"/>
                <a:gd name="T14" fmla="*/ 246 w 276"/>
                <a:gd name="T15" fmla="*/ 60 h 78"/>
                <a:gd name="T16" fmla="*/ 244 w 276"/>
                <a:gd name="T17" fmla="*/ 58 h 78"/>
                <a:gd name="T18" fmla="*/ 240 w 276"/>
                <a:gd name="T19" fmla="*/ 54 h 78"/>
                <a:gd name="T20" fmla="*/ 210 w 276"/>
                <a:gd name="T21" fmla="*/ 54 h 78"/>
                <a:gd name="T22" fmla="*/ 198 w 276"/>
                <a:gd name="T23" fmla="*/ 50 h 78"/>
                <a:gd name="T24" fmla="*/ 194 w 276"/>
                <a:gd name="T25" fmla="*/ 48 h 78"/>
                <a:gd name="T26" fmla="*/ 202 w 276"/>
                <a:gd name="T27" fmla="*/ 42 h 78"/>
                <a:gd name="T28" fmla="*/ 224 w 276"/>
                <a:gd name="T29" fmla="*/ 32 h 78"/>
                <a:gd name="T30" fmla="*/ 228 w 276"/>
                <a:gd name="T31" fmla="*/ 30 h 78"/>
                <a:gd name="T32" fmla="*/ 222 w 276"/>
                <a:gd name="T33" fmla="*/ 26 h 78"/>
                <a:gd name="T34" fmla="*/ 192 w 276"/>
                <a:gd name="T35" fmla="*/ 32 h 78"/>
                <a:gd name="T36" fmla="*/ 182 w 276"/>
                <a:gd name="T37" fmla="*/ 32 h 78"/>
                <a:gd name="T38" fmla="*/ 154 w 276"/>
                <a:gd name="T39" fmla="*/ 26 h 78"/>
                <a:gd name="T40" fmla="*/ 138 w 276"/>
                <a:gd name="T41" fmla="*/ 22 h 78"/>
                <a:gd name="T42" fmla="*/ 136 w 276"/>
                <a:gd name="T43" fmla="*/ 24 h 78"/>
                <a:gd name="T44" fmla="*/ 128 w 276"/>
                <a:gd name="T45" fmla="*/ 28 h 78"/>
                <a:gd name="T46" fmla="*/ 92 w 276"/>
                <a:gd name="T47" fmla="*/ 20 h 78"/>
                <a:gd name="T48" fmla="*/ 78 w 276"/>
                <a:gd name="T49" fmla="*/ 12 h 78"/>
                <a:gd name="T50" fmla="*/ 46 w 276"/>
                <a:gd name="T51" fmla="*/ 2 h 78"/>
                <a:gd name="T52" fmla="*/ 26 w 276"/>
                <a:gd name="T53" fmla="*/ 2 h 78"/>
                <a:gd name="T54" fmla="*/ 14 w 276"/>
                <a:gd name="T55" fmla="*/ 8 h 78"/>
                <a:gd name="T56" fmla="*/ 10 w 276"/>
                <a:gd name="T57" fmla="*/ 14 h 78"/>
                <a:gd name="T58" fmla="*/ 4 w 276"/>
                <a:gd name="T59" fmla="*/ 18 h 78"/>
                <a:gd name="T60" fmla="*/ 2 w 276"/>
                <a:gd name="T61" fmla="*/ 24 h 78"/>
                <a:gd name="T62" fmla="*/ 2 w 276"/>
                <a:gd name="T63" fmla="*/ 28 h 78"/>
                <a:gd name="T64" fmla="*/ 10 w 276"/>
                <a:gd name="T65" fmla="*/ 30 h 78"/>
                <a:gd name="T66" fmla="*/ 22 w 276"/>
                <a:gd name="T67" fmla="*/ 28 h 78"/>
                <a:gd name="T68" fmla="*/ 26 w 276"/>
                <a:gd name="T69" fmla="*/ 32 h 78"/>
                <a:gd name="T70" fmla="*/ 30 w 276"/>
                <a:gd name="T71" fmla="*/ 42 h 78"/>
                <a:gd name="T72" fmla="*/ 36 w 276"/>
                <a:gd name="T73" fmla="*/ 44 h 78"/>
                <a:gd name="T74" fmla="*/ 62 w 276"/>
                <a:gd name="T75" fmla="*/ 50 h 78"/>
                <a:gd name="T76" fmla="*/ 82 w 276"/>
                <a:gd name="T77" fmla="*/ 50 h 78"/>
                <a:gd name="T78" fmla="*/ 84 w 276"/>
                <a:gd name="T79" fmla="*/ 48 h 78"/>
                <a:gd name="T80" fmla="*/ 92 w 276"/>
                <a:gd name="T81" fmla="*/ 46 h 78"/>
                <a:gd name="T82" fmla="*/ 122 w 276"/>
                <a:gd name="T83" fmla="*/ 52 h 78"/>
                <a:gd name="T84" fmla="*/ 136 w 276"/>
                <a:gd name="T85" fmla="*/ 62 h 78"/>
                <a:gd name="T86" fmla="*/ 152 w 276"/>
                <a:gd name="T87" fmla="*/ 68 h 78"/>
                <a:gd name="T88" fmla="*/ 190 w 276"/>
                <a:gd name="T89" fmla="*/ 74 h 78"/>
                <a:gd name="T90" fmla="*/ 204 w 276"/>
                <a:gd name="T91" fmla="*/ 72 h 78"/>
                <a:gd name="T92" fmla="*/ 226 w 276"/>
                <a:gd name="T93" fmla="*/ 76 h 78"/>
                <a:gd name="T94" fmla="*/ 238 w 276"/>
                <a:gd name="T95" fmla="*/ 76 h 78"/>
                <a:gd name="T96" fmla="*/ 240 w 276"/>
                <a:gd name="T9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6" h="78">
                  <a:moveTo>
                    <a:pt x="240" y="74"/>
                  </a:moveTo>
                  <a:lnTo>
                    <a:pt x="240" y="74"/>
                  </a:lnTo>
                  <a:lnTo>
                    <a:pt x="242" y="72"/>
                  </a:lnTo>
                  <a:lnTo>
                    <a:pt x="246" y="72"/>
                  </a:lnTo>
                  <a:lnTo>
                    <a:pt x="252" y="76"/>
                  </a:lnTo>
                  <a:lnTo>
                    <a:pt x="256" y="78"/>
                  </a:lnTo>
                  <a:lnTo>
                    <a:pt x="262" y="78"/>
                  </a:lnTo>
                  <a:lnTo>
                    <a:pt x="266" y="78"/>
                  </a:lnTo>
                  <a:lnTo>
                    <a:pt x="272" y="74"/>
                  </a:lnTo>
                  <a:lnTo>
                    <a:pt x="272" y="74"/>
                  </a:lnTo>
                  <a:lnTo>
                    <a:pt x="276" y="72"/>
                  </a:lnTo>
                  <a:lnTo>
                    <a:pt x="274" y="68"/>
                  </a:lnTo>
                  <a:lnTo>
                    <a:pt x="270" y="66"/>
                  </a:lnTo>
                  <a:lnTo>
                    <a:pt x="264" y="66"/>
                  </a:lnTo>
                  <a:lnTo>
                    <a:pt x="252" y="64"/>
                  </a:lnTo>
                  <a:lnTo>
                    <a:pt x="246" y="60"/>
                  </a:lnTo>
                  <a:lnTo>
                    <a:pt x="244" y="58"/>
                  </a:lnTo>
                  <a:lnTo>
                    <a:pt x="244" y="58"/>
                  </a:lnTo>
                  <a:lnTo>
                    <a:pt x="244" y="56"/>
                  </a:lnTo>
                  <a:lnTo>
                    <a:pt x="240" y="54"/>
                  </a:lnTo>
                  <a:lnTo>
                    <a:pt x="226" y="54"/>
                  </a:lnTo>
                  <a:lnTo>
                    <a:pt x="210" y="54"/>
                  </a:lnTo>
                  <a:lnTo>
                    <a:pt x="204" y="52"/>
                  </a:lnTo>
                  <a:lnTo>
                    <a:pt x="198" y="50"/>
                  </a:lnTo>
                  <a:lnTo>
                    <a:pt x="198" y="50"/>
                  </a:lnTo>
                  <a:lnTo>
                    <a:pt x="194" y="48"/>
                  </a:lnTo>
                  <a:lnTo>
                    <a:pt x="194" y="46"/>
                  </a:lnTo>
                  <a:lnTo>
                    <a:pt x="202" y="42"/>
                  </a:lnTo>
                  <a:lnTo>
                    <a:pt x="214" y="36"/>
                  </a:lnTo>
                  <a:lnTo>
                    <a:pt x="224" y="32"/>
                  </a:lnTo>
                  <a:lnTo>
                    <a:pt x="224" y="32"/>
                  </a:lnTo>
                  <a:lnTo>
                    <a:pt x="228" y="30"/>
                  </a:lnTo>
                  <a:lnTo>
                    <a:pt x="228" y="28"/>
                  </a:lnTo>
                  <a:lnTo>
                    <a:pt x="222" y="26"/>
                  </a:lnTo>
                  <a:lnTo>
                    <a:pt x="210" y="28"/>
                  </a:lnTo>
                  <a:lnTo>
                    <a:pt x="192" y="32"/>
                  </a:lnTo>
                  <a:lnTo>
                    <a:pt x="192" y="32"/>
                  </a:lnTo>
                  <a:lnTo>
                    <a:pt x="182" y="32"/>
                  </a:lnTo>
                  <a:lnTo>
                    <a:pt x="172" y="32"/>
                  </a:lnTo>
                  <a:lnTo>
                    <a:pt x="154" y="26"/>
                  </a:lnTo>
                  <a:lnTo>
                    <a:pt x="142" y="22"/>
                  </a:lnTo>
                  <a:lnTo>
                    <a:pt x="138" y="22"/>
                  </a:lnTo>
                  <a:lnTo>
                    <a:pt x="136" y="24"/>
                  </a:lnTo>
                  <a:lnTo>
                    <a:pt x="136" y="24"/>
                  </a:lnTo>
                  <a:lnTo>
                    <a:pt x="134" y="28"/>
                  </a:lnTo>
                  <a:lnTo>
                    <a:pt x="128" y="28"/>
                  </a:lnTo>
                  <a:lnTo>
                    <a:pt x="110" y="26"/>
                  </a:lnTo>
                  <a:lnTo>
                    <a:pt x="92" y="20"/>
                  </a:lnTo>
                  <a:lnTo>
                    <a:pt x="78" y="12"/>
                  </a:lnTo>
                  <a:lnTo>
                    <a:pt x="78" y="12"/>
                  </a:lnTo>
                  <a:lnTo>
                    <a:pt x="64" y="6"/>
                  </a:lnTo>
                  <a:lnTo>
                    <a:pt x="46" y="2"/>
                  </a:lnTo>
                  <a:lnTo>
                    <a:pt x="36" y="0"/>
                  </a:lnTo>
                  <a:lnTo>
                    <a:pt x="26" y="2"/>
                  </a:lnTo>
                  <a:lnTo>
                    <a:pt x="20" y="4"/>
                  </a:lnTo>
                  <a:lnTo>
                    <a:pt x="14" y="8"/>
                  </a:lnTo>
                  <a:lnTo>
                    <a:pt x="14" y="8"/>
                  </a:lnTo>
                  <a:lnTo>
                    <a:pt x="10" y="14"/>
                  </a:lnTo>
                  <a:lnTo>
                    <a:pt x="8" y="16"/>
                  </a:lnTo>
                  <a:lnTo>
                    <a:pt x="4" y="18"/>
                  </a:lnTo>
                  <a:lnTo>
                    <a:pt x="0" y="18"/>
                  </a:lnTo>
                  <a:lnTo>
                    <a:pt x="2" y="24"/>
                  </a:lnTo>
                  <a:lnTo>
                    <a:pt x="2" y="24"/>
                  </a:lnTo>
                  <a:lnTo>
                    <a:pt x="2" y="28"/>
                  </a:lnTo>
                  <a:lnTo>
                    <a:pt x="4" y="30"/>
                  </a:lnTo>
                  <a:lnTo>
                    <a:pt x="10" y="30"/>
                  </a:lnTo>
                  <a:lnTo>
                    <a:pt x="22" y="28"/>
                  </a:lnTo>
                  <a:lnTo>
                    <a:pt x="22" y="28"/>
                  </a:lnTo>
                  <a:lnTo>
                    <a:pt x="24" y="30"/>
                  </a:lnTo>
                  <a:lnTo>
                    <a:pt x="26" y="32"/>
                  </a:lnTo>
                  <a:lnTo>
                    <a:pt x="28" y="36"/>
                  </a:lnTo>
                  <a:lnTo>
                    <a:pt x="30" y="42"/>
                  </a:lnTo>
                  <a:lnTo>
                    <a:pt x="32" y="44"/>
                  </a:lnTo>
                  <a:lnTo>
                    <a:pt x="36" y="44"/>
                  </a:lnTo>
                  <a:lnTo>
                    <a:pt x="36" y="44"/>
                  </a:lnTo>
                  <a:lnTo>
                    <a:pt x="62" y="50"/>
                  </a:lnTo>
                  <a:lnTo>
                    <a:pt x="76" y="50"/>
                  </a:lnTo>
                  <a:lnTo>
                    <a:pt x="82" y="50"/>
                  </a:lnTo>
                  <a:lnTo>
                    <a:pt x="84" y="48"/>
                  </a:lnTo>
                  <a:lnTo>
                    <a:pt x="84" y="48"/>
                  </a:lnTo>
                  <a:lnTo>
                    <a:pt x="86" y="46"/>
                  </a:lnTo>
                  <a:lnTo>
                    <a:pt x="92" y="46"/>
                  </a:lnTo>
                  <a:lnTo>
                    <a:pt x="106" y="48"/>
                  </a:lnTo>
                  <a:lnTo>
                    <a:pt x="122" y="52"/>
                  </a:lnTo>
                  <a:lnTo>
                    <a:pt x="136" y="62"/>
                  </a:lnTo>
                  <a:lnTo>
                    <a:pt x="136" y="62"/>
                  </a:lnTo>
                  <a:lnTo>
                    <a:pt x="142" y="66"/>
                  </a:lnTo>
                  <a:lnTo>
                    <a:pt x="152" y="68"/>
                  </a:lnTo>
                  <a:lnTo>
                    <a:pt x="170" y="72"/>
                  </a:lnTo>
                  <a:lnTo>
                    <a:pt x="190" y="74"/>
                  </a:lnTo>
                  <a:lnTo>
                    <a:pt x="204" y="72"/>
                  </a:lnTo>
                  <a:lnTo>
                    <a:pt x="204" y="72"/>
                  </a:lnTo>
                  <a:lnTo>
                    <a:pt x="214" y="72"/>
                  </a:lnTo>
                  <a:lnTo>
                    <a:pt x="226" y="76"/>
                  </a:lnTo>
                  <a:lnTo>
                    <a:pt x="234" y="76"/>
                  </a:lnTo>
                  <a:lnTo>
                    <a:pt x="238" y="76"/>
                  </a:lnTo>
                  <a:lnTo>
                    <a:pt x="240" y="74"/>
                  </a:lnTo>
                  <a:lnTo>
                    <a:pt x="240" y="7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4" name="Freeform 91"/>
            <p:cNvSpPr>
              <a:spLocks/>
            </p:cNvSpPr>
            <p:nvPr/>
          </p:nvSpPr>
          <p:spPr bwMode="auto">
            <a:xfrm>
              <a:off x="11391900" y="5870575"/>
              <a:ext cx="488950" cy="501650"/>
            </a:xfrm>
            <a:custGeom>
              <a:avLst/>
              <a:gdLst>
                <a:gd name="T0" fmla="*/ 288 w 308"/>
                <a:gd name="T1" fmla="*/ 266 h 316"/>
                <a:gd name="T2" fmla="*/ 292 w 308"/>
                <a:gd name="T3" fmla="*/ 246 h 316"/>
                <a:gd name="T4" fmla="*/ 298 w 308"/>
                <a:gd name="T5" fmla="*/ 240 h 316"/>
                <a:gd name="T6" fmla="*/ 304 w 308"/>
                <a:gd name="T7" fmla="*/ 240 h 316"/>
                <a:gd name="T8" fmla="*/ 306 w 308"/>
                <a:gd name="T9" fmla="*/ 226 h 316"/>
                <a:gd name="T10" fmla="*/ 300 w 308"/>
                <a:gd name="T11" fmla="*/ 220 h 316"/>
                <a:gd name="T12" fmla="*/ 286 w 308"/>
                <a:gd name="T13" fmla="*/ 202 h 316"/>
                <a:gd name="T14" fmla="*/ 274 w 308"/>
                <a:gd name="T15" fmla="*/ 204 h 316"/>
                <a:gd name="T16" fmla="*/ 272 w 308"/>
                <a:gd name="T17" fmla="*/ 212 h 316"/>
                <a:gd name="T18" fmla="*/ 282 w 308"/>
                <a:gd name="T19" fmla="*/ 216 h 316"/>
                <a:gd name="T20" fmla="*/ 288 w 308"/>
                <a:gd name="T21" fmla="*/ 226 h 316"/>
                <a:gd name="T22" fmla="*/ 282 w 308"/>
                <a:gd name="T23" fmla="*/ 226 h 316"/>
                <a:gd name="T24" fmla="*/ 270 w 308"/>
                <a:gd name="T25" fmla="*/ 222 h 316"/>
                <a:gd name="T26" fmla="*/ 264 w 308"/>
                <a:gd name="T27" fmla="*/ 216 h 316"/>
                <a:gd name="T28" fmla="*/ 254 w 308"/>
                <a:gd name="T29" fmla="*/ 208 h 316"/>
                <a:gd name="T30" fmla="*/ 246 w 308"/>
                <a:gd name="T31" fmla="*/ 204 h 316"/>
                <a:gd name="T32" fmla="*/ 234 w 308"/>
                <a:gd name="T33" fmla="*/ 184 h 316"/>
                <a:gd name="T34" fmla="*/ 222 w 308"/>
                <a:gd name="T35" fmla="*/ 182 h 316"/>
                <a:gd name="T36" fmla="*/ 220 w 308"/>
                <a:gd name="T37" fmla="*/ 170 h 316"/>
                <a:gd name="T38" fmla="*/ 226 w 308"/>
                <a:gd name="T39" fmla="*/ 160 h 316"/>
                <a:gd name="T40" fmla="*/ 214 w 308"/>
                <a:gd name="T41" fmla="*/ 146 h 316"/>
                <a:gd name="T42" fmla="*/ 210 w 308"/>
                <a:gd name="T43" fmla="*/ 138 h 316"/>
                <a:gd name="T44" fmla="*/ 204 w 308"/>
                <a:gd name="T45" fmla="*/ 132 h 316"/>
                <a:gd name="T46" fmla="*/ 196 w 308"/>
                <a:gd name="T47" fmla="*/ 126 h 316"/>
                <a:gd name="T48" fmla="*/ 192 w 308"/>
                <a:gd name="T49" fmla="*/ 120 h 316"/>
                <a:gd name="T50" fmla="*/ 182 w 308"/>
                <a:gd name="T51" fmla="*/ 112 h 316"/>
                <a:gd name="T52" fmla="*/ 170 w 308"/>
                <a:gd name="T53" fmla="*/ 108 h 316"/>
                <a:gd name="T54" fmla="*/ 160 w 308"/>
                <a:gd name="T55" fmla="*/ 100 h 316"/>
                <a:gd name="T56" fmla="*/ 144 w 308"/>
                <a:gd name="T57" fmla="*/ 96 h 316"/>
                <a:gd name="T58" fmla="*/ 138 w 308"/>
                <a:gd name="T59" fmla="*/ 96 h 316"/>
                <a:gd name="T60" fmla="*/ 120 w 308"/>
                <a:gd name="T61" fmla="*/ 72 h 316"/>
                <a:gd name="T62" fmla="*/ 112 w 308"/>
                <a:gd name="T63" fmla="*/ 64 h 316"/>
                <a:gd name="T64" fmla="*/ 78 w 308"/>
                <a:gd name="T65" fmla="*/ 36 h 316"/>
                <a:gd name="T66" fmla="*/ 70 w 308"/>
                <a:gd name="T67" fmla="*/ 22 h 316"/>
                <a:gd name="T68" fmla="*/ 36 w 308"/>
                <a:gd name="T69" fmla="*/ 12 h 316"/>
                <a:gd name="T70" fmla="*/ 22 w 308"/>
                <a:gd name="T71" fmla="*/ 10 h 316"/>
                <a:gd name="T72" fmla="*/ 2 w 308"/>
                <a:gd name="T73" fmla="*/ 0 h 316"/>
                <a:gd name="T74" fmla="*/ 0 w 308"/>
                <a:gd name="T75" fmla="*/ 8 h 316"/>
                <a:gd name="T76" fmla="*/ 12 w 308"/>
                <a:gd name="T77" fmla="*/ 30 h 316"/>
                <a:gd name="T78" fmla="*/ 38 w 308"/>
                <a:gd name="T79" fmla="*/ 54 h 316"/>
                <a:gd name="T80" fmla="*/ 54 w 308"/>
                <a:gd name="T81" fmla="*/ 76 h 316"/>
                <a:gd name="T82" fmla="*/ 74 w 308"/>
                <a:gd name="T83" fmla="*/ 94 h 316"/>
                <a:gd name="T84" fmla="*/ 84 w 308"/>
                <a:gd name="T85" fmla="*/ 102 h 316"/>
                <a:gd name="T86" fmla="*/ 100 w 308"/>
                <a:gd name="T87" fmla="*/ 146 h 316"/>
                <a:gd name="T88" fmla="*/ 110 w 308"/>
                <a:gd name="T89" fmla="*/ 150 h 316"/>
                <a:gd name="T90" fmla="*/ 140 w 308"/>
                <a:gd name="T91" fmla="*/ 192 h 316"/>
                <a:gd name="T92" fmla="*/ 146 w 308"/>
                <a:gd name="T93" fmla="*/ 212 h 316"/>
                <a:gd name="T94" fmla="*/ 164 w 308"/>
                <a:gd name="T95" fmla="*/ 236 h 316"/>
                <a:gd name="T96" fmla="*/ 186 w 308"/>
                <a:gd name="T97" fmla="*/ 258 h 316"/>
                <a:gd name="T98" fmla="*/ 196 w 308"/>
                <a:gd name="T99" fmla="*/ 270 h 316"/>
                <a:gd name="T100" fmla="*/ 234 w 308"/>
                <a:gd name="T101" fmla="*/ 300 h 316"/>
                <a:gd name="T102" fmla="*/ 246 w 308"/>
                <a:gd name="T103" fmla="*/ 316 h 316"/>
                <a:gd name="T104" fmla="*/ 248 w 308"/>
                <a:gd name="T105" fmla="*/ 314 h 316"/>
                <a:gd name="T106" fmla="*/ 262 w 308"/>
                <a:gd name="T107" fmla="*/ 312 h 316"/>
                <a:gd name="T108" fmla="*/ 280 w 308"/>
                <a:gd name="T109" fmla="*/ 314 h 316"/>
                <a:gd name="T110" fmla="*/ 286 w 308"/>
                <a:gd name="T111" fmla="*/ 28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8" h="316">
                  <a:moveTo>
                    <a:pt x="288" y="274"/>
                  </a:moveTo>
                  <a:lnTo>
                    <a:pt x="288" y="274"/>
                  </a:lnTo>
                  <a:lnTo>
                    <a:pt x="288" y="266"/>
                  </a:lnTo>
                  <a:lnTo>
                    <a:pt x="288" y="258"/>
                  </a:lnTo>
                  <a:lnTo>
                    <a:pt x="292" y="246"/>
                  </a:lnTo>
                  <a:lnTo>
                    <a:pt x="292" y="246"/>
                  </a:lnTo>
                  <a:lnTo>
                    <a:pt x="292" y="244"/>
                  </a:lnTo>
                  <a:lnTo>
                    <a:pt x="294" y="240"/>
                  </a:lnTo>
                  <a:lnTo>
                    <a:pt x="298" y="240"/>
                  </a:lnTo>
                  <a:lnTo>
                    <a:pt x="302" y="240"/>
                  </a:lnTo>
                  <a:lnTo>
                    <a:pt x="302" y="240"/>
                  </a:lnTo>
                  <a:lnTo>
                    <a:pt x="304" y="240"/>
                  </a:lnTo>
                  <a:lnTo>
                    <a:pt x="306" y="238"/>
                  </a:lnTo>
                  <a:lnTo>
                    <a:pt x="308" y="232"/>
                  </a:lnTo>
                  <a:lnTo>
                    <a:pt x="306" y="226"/>
                  </a:lnTo>
                  <a:lnTo>
                    <a:pt x="304" y="224"/>
                  </a:lnTo>
                  <a:lnTo>
                    <a:pt x="304" y="224"/>
                  </a:lnTo>
                  <a:lnTo>
                    <a:pt x="300" y="220"/>
                  </a:lnTo>
                  <a:lnTo>
                    <a:pt x="294" y="212"/>
                  </a:lnTo>
                  <a:lnTo>
                    <a:pt x="290" y="204"/>
                  </a:lnTo>
                  <a:lnTo>
                    <a:pt x="286" y="202"/>
                  </a:lnTo>
                  <a:lnTo>
                    <a:pt x="280" y="202"/>
                  </a:lnTo>
                  <a:lnTo>
                    <a:pt x="280" y="202"/>
                  </a:lnTo>
                  <a:lnTo>
                    <a:pt x="274" y="204"/>
                  </a:lnTo>
                  <a:lnTo>
                    <a:pt x="272" y="206"/>
                  </a:lnTo>
                  <a:lnTo>
                    <a:pt x="270" y="208"/>
                  </a:lnTo>
                  <a:lnTo>
                    <a:pt x="272" y="212"/>
                  </a:lnTo>
                  <a:lnTo>
                    <a:pt x="278" y="214"/>
                  </a:lnTo>
                  <a:lnTo>
                    <a:pt x="278" y="214"/>
                  </a:lnTo>
                  <a:lnTo>
                    <a:pt x="282" y="216"/>
                  </a:lnTo>
                  <a:lnTo>
                    <a:pt x="286" y="218"/>
                  </a:lnTo>
                  <a:lnTo>
                    <a:pt x="288" y="222"/>
                  </a:lnTo>
                  <a:lnTo>
                    <a:pt x="288" y="226"/>
                  </a:lnTo>
                  <a:lnTo>
                    <a:pt x="288" y="226"/>
                  </a:lnTo>
                  <a:lnTo>
                    <a:pt x="286" y="228"/>
                  </a:lnTo>
                  <a:lnTo>
                    <a:pt x="282" y="226"/>
                  </a:lnTo>
                  <a:lnTo>
                    <a:pt x="278" y="222"/>
                  </a:lnTo>
                  <a:lnTo>
                    <a:pt x="270" y="222"/>
                  </a:lnTo>
                  <a:lnTo>
                    <a:pt x="270" y="222"/>
                  </a:lnTo>
                  <a:lnTo>
                    <a:pt x="268" y="222"/>
                  </a:lnTo>
                  <a:lnTo>
                    <a:pt x="266" y="220"/>
                  </a:lnTo>
                  <a:lnTo>
                    <a:pt x="264" y="216"/>
                  </a:lnTo>
                  <a:lnTo>
                    <a:pt x="260" y="210"/>
                  </a:lnTo>
                  <a:lnTo>
                    <a:pt x="258" y="208"/>
                  </a:lnTo>
                  <a:lnTo>
                    <a:pt x="254" y="208"/>
                  </a:lnTo>
                  <a:lnTo>
                    <a:pt x="254" y="208"/>
                  </a:lnTo>
                  <a:lnTo>
                    <a:pt x="250" y="206"/>
                  </a:lnTo>
                  <a:lnTo>
                    <a:pt x="246" y="204"/>
                  </a:lnTo>
                  <a:lnTo>
                    <a:pt x="242" y="194"/>
                  </a:lnTo>
                  <a:lnTo>
                    <a:pt x="238" y="186"/>
                  </a:lnTo>
                  <a:lnTo>
                    <a:pt x="234" y="184"/>
                  </a:lnTo>
                  <a:lnTo>
                    <a:pt x="230" y="182"/>
                  </a:lnTo>
                  <a:lnTo>
                    <a:pt x="230" y="182"/>
                  </a:lnTo>
                  <a:lnTo>
                    <a:pt x="222" y="182"/>
                  </a:lnTo>
                  <a:lnTo>
                    <a:pt x="220" y="178"/>
                  </a:lnTo>
                  <a:lnTo>
                    <a:pt x="218" y="176"/>
                  </a:lnTo>
                  <a:lnTo>
                    <a:pt x="220" y="170"/>
                  </a:lnTo>
                  <a:lnTo>
                    <a:pt x="224" y="164"/>
                  </a:lnTo>
                  <a:lnTo>
                    <a:pt x="224" y="164"/>
                  </a:lnTo>
                  <a:lnTo>
                    <a:pt x="226" y="160"/>
                  </a:lnTo>
                  <a:lnTo>
                    <a:pt x="226" y="158"/>
                  </a:lnTo>
                  <a:lnTo>
                    <a:pt x="220" y="152"/>
                  </a:lnTo>
                  <a:lnTo>
                    <a:pt x="214" y="146"/>
                  </a:lnTo>
                  <a:lnTo>
                    <a:pt x="212" y="142"/>
                  </a:lnTo>
                  <a:lnTo>
                    <a:pt x="210" y="138"/>
                  </a:lnTo>
                  <a:lnTo>
                    <a:pt x="210" y="138"/>
                  </a:lnTo>
                  <a:lnTo>
                    <a:pt x="210" y="136"/>
                  </a:lnTo>
                  <a:lnTo>
                    <a:pt x="208" y="134"/>
                  </a:lnTo>
                  <a:lnTo>
                    <a:pt x="204" y="132"/>
                  </a:lnTo>
                  <a:lnTo>
                    <a:pt x="198" y="130"/>
                  </a:lnTo>
                  <a:lnTo>
                    <a:pt x="196" y="130"/>
                  </a:lnTo>
                  <a:lnTo>
                    <a:pt x="196" y="126"/>
                  </a:lnTo>
                  <a:lnTo>
                    <a:pt x="196" y="126"/>
                  </a:lnTo>
                  <a:lnTo>
                    <a:pt x="194" y="122"/>
                  </a:lnTo>
                  <a:lnTo>
                    <a:pt x="192" y="120"/>
                  </a:lnTo>
                  <a:lnTo>
                    <a:pt x="188" y="118"/>
                  </a:lnTo>
                  <a:lnTo>
                    <a:pt x="182" y="112"/>
                  </a:lnTo>
                  <a:lnTo>
                    <a:pt x="182" y="112"/>
                  </a:lnTo>
                  <a:lnTo>
                    <a:pt x="178" y="108"/>
                  </a:lnTo>
                  <a:lnTo>
                    <a:pt x="174" y="108"/>
                  </a:lnTo>
                  <a:lnTo>
                    <a:pt x="170" y="108"/>
                  </a:lnTo>
                  <a:lnTo>
                    <a:pt x="166" y="104"/>
                  </a:lnTo>
                  <a:lnTo>
                    <a:pt x="166" y="104"/>
                  </a:lnTo>
                  <a:lnTo>
                    <a:pt x="160" y="100"/>
                  </a:lnTo>
                  <a:lnTo>
                    <a:pt x="154" y="96"/>
                  </a:lnTo>
                  <a:lnTo>
                    <a:pt x="150" y="96"/>
                  </a:lnTo>
                  <a:lnTo>
                    <a:pt x="144" y="96"/>
                  </a:lnTo>
                  <a:lnTo>
                    <a:pt x="144" y="96"/>
                  </a:lnTo>
                  <a:lnTo>
                    <a:pt x="142" y="96"/>
                  </a:lnTo>
                  <a:lnTo>
                    <a:pt x="138" y="96"/>
                  </a:lnTo>
                  <a:lnTo>
                    <a:pt x="132" y="90"/>
                  </a:lnTo>
                  <a:lnTo>
                    <a:pt x="126" y="82"/>
                  </a:lnTo>
                  <a:lnTo>
                    <a:pt x="120" y="72"/>
                  </a:lnTo>
                  <a:lnTo>
                    <a:pt x="120" y="72"/>
                  </a:lnTo>
                  <a:lnTo>
                    <a:pt x="118" y="68"/>
                  </a:lnTo>
                  <a:lnTo>
                    <a:pt x="112" y="64"/>
                  </a:lnTo>
                  <a:lnTo>
                    <a:pt x="98" y="54"/>
                  </a:lnTo>
                  <a:lnTo>
                    <a:pt x="84" y="42"/>
                  </a:lnTo>
                  <a:lnTo>
                    <a:pt x="78" y="36"/>
                  </a:lnTo>
                  <a:lnTo>
                    <a:pt x="76" y="32"/>
                  </a:lnTo>
                  <a:lnTo>
                    <a:pt x="76" y="32"/>
                  </a:lnTo>
                  <a:lnTo>
                    <a:pt x="70" y="22"/>
                  </a:lnTo>
                  <a:lnTo>
                    <a:pt x="62" y="16"/>
                  </a:lnTo>
                  <a:lnTo>
                    <a:pt x="50" y="14"/>
                  </a:lnTo>
                  <a:lnTo>
                    <a:pt x="36" y="12"/>
                  </a:lnTo>
                  <a:lnTo>
                    <a:pt x="36" y="12"/>
                  </a:lnTo>
                  <a:lnTo>
                    <a:pt x="28" y="12"/>
                  </a:lnTo>
                  <a:lnTo>
                    <a:pt x="22" y="10"/>
                  </a:lnTo>
                  <a:lnTo>
                    <a:pt x="12" y="4"/>
                  </a:lnTo>
                  <a:lnTo>
                    <a:pt x="4" y="0"/>
                  </a:lnTo>
                  <a:lnTo>
                    <a:pt x="2" y="0"/>
                  </a:lnTo>
                  <a:lnTo>
                    <a:pt x="0" y="2"/>
                  </a:lnTo>
                  <a:lnTo>
                    <a:pt x="0" y="2"/>
                  </a:lnTo>
                  <a:lnTo>
                    <a:pt x="0" y="8"/>
                  </a:lnTo>
                  <a:lnTo>
                    <a:pt x="2" y="16"/>
                  </a:lnTo>
                  <a:lnTo>
                    <a:pt x="6" y="22"/>
                  </a:lnTo>
                  <a:lnTo>
                    <a:pt x="12" y="30"/>
                  </a:lnTo>
                  <a:lnTo>
                    <a:pt x="24" y="46"/>
                  </a:lnTo>
                  <a:lnTo>
                    <a:pt x="38" y="54"/>
                  </a:lnTo>
                  <a:lnTo>
                    <a:pt x="38" y="54"/>
                  </a:lnTo>
                  <a:lnTo>
                    <a:pt x="42" y="58"/>
                  </a:lnTo>
                  <a:lnTo>
                    <a:pt x="46" y="64"/>
                  </a:lnTo>
                  <a:lnTo>
                    <a:pt x="54" y="76"/>
                  </a:lnTo>
                  <a:lnTo>
                    <a:pt x="64" y="88"/>
                  </a:lnTo>
                  <a:lnTo>
                    <a:pt x="68" y="92"/>
                  </a:lnTo>
                  <a:lnTo>
                    <a:pt x="74" y="94"/>
                  </a:lnTo>
                  <a:lnTo>
                    <a:pt x="74" y="94"/>
                  </a:lnTo>
                  <a:lnTo>
                    <a:pt x="80" y="96"/>
                  </a:lnTo>
                  <a:lnTo>
                    <a:pt x="84" y="102"/>
                  </a:lnTo>
                  <a:lnTo>
                    <a:pt x="90" y="120"/>
                  </a:lnTo>
                  <a:lnTo>
                    <a:pt x="96" y="138"/>
                  </a:lnTo>
                  <a:lnTo>
                    <a:pt x="100" y="146"/>
                  </a:lnTo>
                  <a:lnTo>
                    <a:pt x="104" y="148"/>
                  </a:lnTo>
                  <a:lnTo>
                    <a:pt x="104" y="148"/>
                  </a:lnTo>
                  <a:lnTo>
                    <a:pt x="110" y="150"/>
                  </a:lnTo>
                  <a:lnTo>
                    <a:pt x="116" y="156"/>
                  </a:lnTo>
                  <a:lnTo>
                    <a:pt x="128" y="172"/>
                  </a:lnTo>
                  <a:lnTo>
                    <a:pt x="140" y="192"/>
                  </a:lnTo>
                  <a:lnTo>
                    <a:pt x="144" y="202"/>
                  </a:lnTo>
                  <a:lnTo>
                    <a:pt x="146" y="212"/>
                  </a:lnTo>
                  <a:lnTo>
                    <a:pt x="146" y="212"/>
                  </a:lnTo>
                  <a:lnTo>
                    <a:pt x="148" y="218"/>
                  </a:lnTo>
                  <a:lnTo>
                    <a:pt x="152" y="226"/>
                  </a:lnTo>
                  <a:lnTo>
                    <a:pt x="164" y="236"/>
                  </a:lnTo>
                  <a:lnTo>
                    <a:pt x="176" y="248"/>
                  </a:lnTo>
                  <a:lnTo>
                    <a:pt x="182" y="252"/>
                  </a:lnTo>
                  <a:lnTo>
                    <a:pt x="186" y="258"/>
                  </a:lnTo>
                  <a:lnTo>
                    <a:pt x="186" y="258"/>
                  </a:lnTo>
                  <a:lnTo>
                    <a:pt x="190" y="264"/>
                  </a:lnTo>
                  <a:lnTo>
                    <a:pt x="196" y="270"/>
                  </a:lnTo>
                  <a:lnTo>
                    <a:pt x="212" y="282"/>
                  </a:lnTo>
                  <a:lnTo>
                    <a:pt x="226" y="294"/>
                  </a:lnTo>
                  <a:lnTo>
                    <a:pt x="234" y="300"/>
                  </a:lnTo>
                  <a:lnTo>
                    <a:pt x="234" y="300"/>
                  </a:lnTo>
                  <a:lnTo>
                    <a:pt x="242" y="312"/>
                  </a:lnTo>
                  <a:lnTo>
                    <a:pt x="246" y="316"/>
                  </a:lnTo>
                  <a:lnTo>
                    <a:pt x="246" y="316"/>
                  </a:lnTo>
                  <a:lnTo>
                    <a:pt x="248" y="314"/>
                  </a:lnTo>
                  <a:lnTo>
                    <a:pt x="248" y="314"/>
                  </a:lnTo>
                  <a:lnTo>
                    <a:pt x="250" y="312"/>
                  </a:lnTo>
                  <a:lnTo>
                    <a:pt x="254" y="312"/>
                  </a:lnTo>
                  <a:lnTo>
                    <a:pt x="262" y="312"/>
                  </a:lnTo>
                  <a:lnTo>
                    <a:pt x="278" y="316"/>
                  </a:lnTo>
                  <a:lnTo>
                    <a:pt x="278" y="316"/>
                  </a:lnTo>
                  <a:lnTo>
                    <a:pt x="280" y="314"/>
                  </a:lnTo>
                  <a:lnTo>
                    <a:pt x="282" y="310"/>
                  </a:lnTo>
                  <a:lnTo>
                    <a:pt x="286" y="300"/>
                  </a:lnTo>
                  <a:lnTo>
                    <a:pt x="286" y="286"/>
                  </a:lnTo>
                  <a:lnTo>
                    <a:pt x="288" y="274"/>
                  </a:lnTo>
                  <a:lnTo>
                    <a:pt x="288" y="27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5" name="Freeform 92"/>
            <p:cNvSpPr>
              <a:spLocks/>
            </p:cNvSpPr>
            <p:nvPr/>
          </p:nvSpPr>
          <p:spPr bwMode="auto">
            <a:xfrm>
              <a:off x="6270625" y="2663825"/>
              <a:ext cx="457200" cy="225425"/>
            </a:xfrm>
            <a:custGeom>
              <a:avLst/>
              <a:gdLst>
                <a:gd name="T0" fmla="*/ 254 w 288"/>
                <a:gd name="T1" fmla="*/ 100 h 142"/>
                <a:gd name="T2" fmla="*/ 266 w 288"/>
                <a:gd name="T3" fmla="*/ 86 h 142"/>
                <a:gd name="T4" fmla="*/ 288 w 288"/>
                <a:gd name="T5" fmla="*/ 66 h 142"/>
                <a:gd name="T6" fmla="*/ 280 w 288"/>
                <a:gd name="T7" fmla="*/ 46 h 142"/>
                <a:gd name="T8" fmla="*/ 262 w 288"/>
                <a:gd name="T9" fmla="*/ 38 h 142"/>
                <a:gd name="T10" fmla="*/ 258 w 288"/>
                <a:gd name="T11" fmla="*/ 26 h 142"/>
                <a:gd name="T12" fmla="*/ 254 w 288"/>
                <a:gd name="T13" fmla="*/ 12 h 142"/>
                <a:gd name="T14" fmla="*/ 234 w 288"/>
                <a:gd name="T15" fmla="*/ 14 h 142"/>
                <a:gd name="T16" fmla="*/ 214 w 288"/>
                <a:gd name="T17" fmla="*/ 2 h 142"/>
                <a:gd name="T18" fmla="*/ 206 w 288"/>
                <a:gd name="T19" fmla="*/ 4 h 142"/>
                <a:gd name="T20" fmla="*/ 206 w 288"/>
                <a:gd name="T21" fmla="*/ 18 h 142"/>
                <a:gd name="T22" fmla="*/ 192 w 288"/>
                <a:gd name="T23" fmla="*/ 18 h 142"/>
                <a:gd name="T24" fmla="*/ 188 w 288"/>
                <a:gd name="T25" fmla="*/ 22 h 142"/>
                <a:gd name="T26" fmla="*/ 178 w 288"/>
                <a:gd name="T27" fmla="*/ 20 h 142"/>
                <a:gd name="T28" fmla="*/ 162 w 288"/>
                <a:gd name="T29" fmla="*/ 22 h 142"/>
                <a:gd name="T30" fmla="*/ 148 w 288"/>
                <a:gd name="T31" fmla="*/ 18 h 142"/>
                <a:gd name="T32" fmla="*/ 136 w 288"/>
                <a:gd name="T33" fmla="*/ 18 h 142"/>
                <a:gd name="T34" fmla="*/ 130 w 288"/>
                <a:gd name="T35" fmla="*/ 34 h 142"/>
                <a:gd name="T36" fmla="*/ 120 w 288"/>
                <a:gd name="T37" fmla="*/ 24 h 142"/>
                <a:gd name="T38" fmla="*/ 108 w 288"/>
                <a:gd name="T39" fmla="*/ 20 h 142"/>
                <a:gd name="T40" fmla="*/ 108 w 288"/>
                <a:gd name="T41" fmla="*/ 38 h 142"/>
                <a:gd name="T42" fmla="*/ 104 w 288"/>
                <a:gd name="T43" fmla="*/ 44 h 142"/>
                <a:gd name="T44" fmla="*/ 86 w 288"/>
                <a:gd name="T45" fmla="*/ 52 h 142"/>
                <a:gd name="T46" fmla="*/ 78 w 288"/>
                <a:gd name="T47" fmla="*/ 46 h 142"/>
                <a:gd name="T48" fmla="*/ 78 w 288"/>
                <a:gd name="T49" fmla="*/ 32 h 142"/>
                <a:gd name="T50" fmla="*/ 50 w 288"/>
                <a:gd name="T51" fmla="*/ 8 h 142"/>
                <a:gd name="T52" fmla="*/ 32 w 288"/>
                <a:gd name="T53" fmla="*/ 6 h 142"/>
                <a:gd name="T54" fmla="*/ 40 w 288"/>
                <a:gd name="T55" fmla="*/ 20 h 142"/>
                <a:gd name="T56" fmla="*/ 36 w 288"/>
                <a:gd name="T57" fmla="*/ 22 h 142"/>
                <a:gd name="T58" fmla="*/ 22 w 288"/>
                <a:gd name="T59" fmla="*/ 16 h 142"/>
                <a:gd name="T60" fmla="*/ 4 w 288"/>
                <a:gd name="T61" fmla="*/ 36 h 142"/>
                <a:gd name="T62" fmla="*/ 2 w 288"/>
                <a:gd name="T63" fmla="*/ 48 h 142"/>
                <a:gd name="T64" fmla="*/ 26 w 288"/>
                <a:gd name="T65" fmla="*/ 50 h 142"/>
                <a:gd name="T66" fmla="*/ 58 w 288"/>
                <a:gd name="T67" fmla="*/ 50 h 142"/>
                <a:gd name="T68" fmla="*/ 56 w 288"/>
                <a:gd name="T69" fmla="*/ 56 h 142"/>
                <a:gd name="T70" fmla="*/ 54 w 288"/>
                <a:gd name="T71" fmla="*/ 62 h 142"/>
                <a:gd name="T72" fmla="*/ 40 w 288"/>
                <a:gd name="T73" fmla="*/ 70 h 142"/>
                <a:gd name="T74" fmla="*/ 10 w 288"/>
                <a:gd name="T75" fmla="*/ 76 h 142"/>
                <a:gd name="T76" fmla="*/ 10 w 288"/>
                <a:gd name="T77" fmla="*/ 80 h 142"/>
                <a:gd name="T78" fmla="*/ 46 w 288"/>
                <a:gd name="T79" fmla="*/ 78 h 142"/>
                <a:gd name="T80" fmla="*/ 52 w 288"/>
                <a:gd name="T81" fmla="*/ 90 h 142"/>
                <a:gd name="T82" fmla="*/ 64 w 288"/>
                <a:gd name="T83" fmla="*/ 92 h 142"/>
                <a:gd name="T84" fmla="*/ 68 w 288"/>
                <a:gd name="T85" fmla="*/ 102 h 142"/>
                <a:gd name="T86" fmla="*/ 56 w 288"/>
                <a:gd name="T87" fmla="*/ 112 h 142"/>
                <a:gd name="T88" fmla="*/ 42 w 288"/>
                <a:gd name="T89" fmla="*/ 120 h 142"/>
                <a:gd name="T90" fmla="*/ 78 w 288"/>
                <a:gd name="T91" fmla="*/ 120 h 142"/>
                <a:gd name="T92" fmla="*/ 100 w 288"/>
                <a:gd name="T93" fmla="*/ 126 h 142"/>
                <a:gd name="T94" fmla="*/ 134 w 288"/>
                <a:gd name="T95" fmla="*/ 140 h 142"/>
                <a:gd name="T96" fmla="*/ 172 w 288"/>
                <a:gd name="T97" fmla="*/ 132 h 142"/>
                <a:gd name="T98" fmla="*/ 180 w 288"/>
                <a:gd name="T99" fmla="*/ 124 h 142"/>
                <a:gd name="T100" fmla="*/ 208 w 288"/>
                <a:gd name="T101" fmla="*/ 116 h 142"/>
                <a:gd name="T102" fmla="*/ 244 w 288"/>
                <a:gd name="T103" fmla="*/ 10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8" h="142">
                  <a:moveTo>
                    <a:pt x="244" y="102"/>
                  </a:moveTo>
                  <a:lnTo>
                    <a:pt x="244" y="102"/>
                  </a:lnTo>
                  <a:lnTo>
                    <a:pt x="250" y="102"/>
                  </a:lnTo>
                  <a:lnTo>
                    <a:pt x="254" y="100"/>
                  </a:lnTo>
                  <a:lnTo>
                    <a:pt x="258" y="94"/>
                  </a:lnTo>
                  <a:lnTo>
                    <a:pt x="262" y="88"/>
                  </a:lnTo>
                  <a:lnTo>
                    <a:pt x="264" y="86"/>
                  </a:lnTo>
                  <a:lnTo>
                    <a:pt x="266" y="86"/>
                  </a:lnTo>
                  <a:lnTo>
                    <a:pt x="266" y="86"/>
                  </a:lnTo>
                  <a:lnTo>
                    <a:pt x="272" y="84"/>
                  </a:lnTo>
                  <a:lnTo>
                    <a:pt x="278" y="78"/>
                  </a:lnTo>
                  <a:lnTo>
                    <a:pt x="288" y="66"/>
                  </a:lnTo>
                  <a:lnTo>
                    <a:pt x="288" y="66"/>
                  </a:lnTo>
                  <a:lnTo>
                    <a:pt x="288" y="58"/>
                  </a:lnTo>
                  <a:lnTo>
                    <a:pt x="286" y="52"/>
                  </a:lnTo>
                  <a:lnTo>
                    <a:pt x="280" y="46"/>
                  </a:lnTo>
                  <a:lnTo>
                    <a:pt x="272" y="42"/>
                  </a:lnTo>
                  <a:lnTo>
                    <a:pt x="272" y="42"/>
                  </a:lnTo>
                  <a:lnTo>
                    <a:pt x="266" y="42"/>
                  </a:lnTo>
                  <a:lnTo>
                    <a:pt x="262" y="38"/>
                  </a:lnTo>
                  <a:lnTo>
                    <a:pt x="258" y="34"/>
                  </a:lnTo>
                  <a:lnTo>
                    <a:pt x="258" y="30"/>
                  </a:lnTo>
                  <a:lnTo>
                    <a:pt x="258" y="30"/>
                  </a:lnTo>
                  <a:lnTo>
                    <a:pt x="258" y="26"/>
                  </a:lnTo>
                  <a:lnTo>
                    <a:pt x="256" y="20"/>
                  </a:lnTo>
                  <a:lnTo>
                    <a:pt x="254" y="16"/>
                  </a:lnTo>
                  <a:lnTo>
                    <a:pt x="254" y="12"/>
                  </a:lnTo>
                  <a:lnTo>
                    <a:pt x="254" y="12"/>
                  </a:lnTo>
                  <a:lnTo>
                    <a:pt x="252" y="10"/>
                  </a:lnTo>
                  <a:lnTo>
                    <a:pt x="246" y="12"/>
                  </a:lnTo>
                  <a:lnTo>
                    <a:pt x="234" y="14"/>
                  </a:lnTo>
                  <a:lnTo>
                    <a:pt x="234" y="14"/>
                  </a:lnTo>
                  <a:lnTo>
                    <a:pt x="232" y="14"/>
                  </a:lnTo>
                  <a:lnTo>
                    <a:pt x="228" y="12"/>
                  </a:lnTo>
                  <a:lnTo>
                    <a:pt x="222" y="6"/>
                  </a:lnTo>
                  <a:lnTo>
                    <a:pt x="214" y="2"/>
                  </a:lnTo>
                  <a:lnTo>
                    <a:pt x="212" y="0"/>
                  </a:lnTo>
                  <a:lnTo>
                    <a:pt x="208" y="2"/>
                  </a:lnTo>
                  <a:lnTo>
                    <a:pt x="208" y="2"/>
                  </a:lnTo>
                  <a:lnTo>
                    <a:pt x="206" y="4"/>
                  </a:lnTo>
                  <a:lnTo>
                    <a:pt x="206" y="8"/>
                  </a:lnTo>
                  <a:lnTo>
                    <a:pt x="206" y="14"/>
                  </a:lnTo>
                  <a:lnTo>
                    <a:pt x="206" y="18"/>
                  </a:lnTo>
                  <a:lnTo>
                    <a:pt x="206" y="18"/>
                  </a:lnTo>
                  <a:lnTo>
                    <a:pt x="204" y="20"/>
                  </a:lnTo>
                  <a:lnTo>
                    <a:pt x="202" y="20"/>
                  </a:lnTo>
                  <a:lnTo>
                    <a:pt x="196" y="18"/>
                  </a:lnTo>
                  <a:lnTo>
                    <a:pt x="192" y="18"/>
                  </a:lnTo>
                  <a:lnTo>
                    <a:pt x="190" y="18"/>
                  </a:lnTo>
                  <a:lnTo>
                    <a:pt x="190" y="20"/>
                  </a:lnTo>
                  <a:lnTo>
                    <a:pt x="190" y="20"/>
                  </a:lnTo>
                  <a:lnTo>
                    <a:pt x="188" y="22"/>
                  </a:lnTo>
                  <a:lnTo>
                    <a:pt x="186" y="24"/>
                  </a:lnTo>
                  <a:lnTo>
                    <a:pt x="182" y="22"/>
                  </a:lnTo>
                  <a:lnTo>
                    <a:pt x="178" y="20"/>
                  </a:lnTo>
                  <a:lnTo>
                    <a:pt x="178" y="20"/>
                  </a:lnTo>
                  <a:lnTo>
                    <a:pt x="174" y="16"/>
                  </a:lnTo>
                  <a:lnTo>
                    <a:pt x="168" y="16"/>
                  </a:lnTo>
                  <a:lnTo>
                    <a:pt x="164" y="18"/>
                  </a:lnTo>
                  <a:lnTo>
                    <a:pt x="162" y="22"/>
                  </a:lnTo>
                  <a:lnTo>
                    <a:pt x="162" y="22"/>
                  </a:lnTo>
                  <a:lnTo>
                    <a:pt x="162" y="24"/>
                  </a:lnTo>
                  <a:lnTo>
                    <a:pt x="160" y="24"/>
                  </a:lnTo>
                  <a:lnTo>
                    <a:pt x="148" y="18"/>
                  </a:lnTo>
                  <a:lnTo>
                    <a:pt x="148" y="18"/>
                  </a:lnTo>
                  <a:lnTo>
                    <a:pt x="144" y="16"/>
                  </a:lnTo>
                  <a:lnTo>
                    <a:pt x="142" y="16"/>
                  </a:lnTo>
                  <a:lnTo>
                    <a:pt x="136" y="18"/>
                  </a:lnTo>
                  <a:lnTo>
                    <a:pt x="132" y="24"/>
                  </a:lnTo>
                  <a:lnTo>
                    <a:pt x="130" y="30"/>
                  </a:lnTo>
                  <a:lnTo>
                    <a:pt x="130" y="30"/>
                  </a:lnTo>
                  <a:lnTo>
                    <a:pt x="130" y="34"/>
                  </a:lnTo>
                  <a:lnTo>
                    <a:pt x="128" y="34"/>
                  </a:lnTo>
                  <a:lnTo>
                    <a:pt x="124" y="32"/>
                  </a:lnTo>
                  <a:lnTo>
                    <a:pt x="120" y="24"/>
                  </a:lnTo>
                  <a:lnTo>
                    <a:pt x="120" y="24"/>
                  </a:lnTo>
                  <a:lnTo>
                    <a:pt x="116" y="20"/>
                  </a:lnTo>
                  <a:lnTo>
                    <a:pt x="114" y="18"/>
                  </a:lnTo>
                  <a:lnTo>
                    <a:pt x="112" y="18"/>
                  </a:lnTo>
                  <a:lnTo>
                    <a:pt x="108" y="20"/>
                  </a:lnTo>
                  <a:lnTo>
                    <a:pt x="106" y="26"/>
                  </a:lnTo>
                  <a:lnTo>
                    <a:pt x="106" y="32"/>
                  </a:lnTo>
                  <a:lnTo>
                    <a:pt x="106" y="32"/>
                  </a:lnTo>
                  <a:lnTo>
                    <a:pt x="108" y="38"/>
                  </a:lnTo>
                  <a:lnTo>
                    <a:pt x="108" y="42"/>
                  </a:lnTo>
                  <a:lnTo>
                    <a:pt x="106" y="46"/>
                  </a:lnTo>
                  <a:lnTo>
                    <a:pt x="104" y="44"/>
                  </a:lnTo>
                  <a:lnTo>
                    <a:pt x="104" y="44"/>
                  </a:lnTo>
                  <a:lnTo>
                    <a:pt x="98" y="44"/>
                  </a:lnTo>
                  <a:lnTo>
                    <a:pt x="94" y="46"/>
                  </a:lnTo>
                  <a:lnTo>
                    <a:pt x="90" y="48"/>
                  </a:lnTo>
                  <a:lnTo>
                    <a:pt x="86" y="52"/>
                  </a:lnTo>
                  <a:lnTo>
                    <a:pt x="86" y="52"/>
                  </a:lnTo>
                  <a:lnTo>
                    <a:pt x="84" y="54"/>
                  </a:lnTo>
                  <a:lnTo>
                    <a:pt x="82" y="52"/>
                  </a:lnTo>
                  <a:lnTo>
                    <a:pt x="78" y="46"/>
                  </a:lnTo>
                  <a:lnTo>
                    <a:pt x="76" y="38"/>
                  </a:lnTo>
                  <a:lnTo>
                    <a:pt x="76" y="34"/>
                  </a:lnTo>
                  <a:lnTo>
                    <a:pt x="78" y="32"/>
                  </a:lnTo>
                  <a:lnTo>
                    <a:pt x="78" y="32"/>
                  </a:lnTo>
                  <a:lnTo>
                    <a:pt x="80" y="28"/>
                  </a:lnTo>
                  <a:lnTo>
                    <a:pt x="78" y="24"/>
                  </a:lnTo>
                  <a:lnTo>
                    <a:pt x="66" y="16"/>
                  </a:lnTo>
                  <a:lnTo>
                    <a:pt x="50" y="8"/>
                  </a:lnTo>
                  <a:lnTo>
                    <a:pt x="42" y="4"/>
                  </a:lnTo>
                  <a:lnTo>
                    <a:pt x="36" y="4"/>
                  </a:lnTo>
                  <a:lnTo>
                    <a:pt x="36" y="4"/>
                  </a:lnTo>
                  <a:lnTo>
                    <a:pt x="32" y="6"/>
                  </a:lnTo>
                  <a:lnTo>
                    <a:pt x="30" y="6"/>
                  </a:lnTo>
                  <a:lnTo>
                    <a:pt x="32" y="8"/>
                  </a:lnTo>
                  <a:lnTo>
                    <a:pt x="36" y="14"/>
                  </a:lnTo>
                  <a:lnTo>
                    <a:pt x="40" y="20"/>
                  </a:lnTo>
                  <a:lnTo>
                    <a:pt x="40" y="20"/>
                  </a:lnTo>
                  <a:lnTo>
                    <a:pt x="44" y="22"/>
                  </a:lnTo>
                  <a:lnTo>
                    <a:pt x="40" y="24"/>
                  </a:lnTo>
                  <a:lnTo>
                    <a:pt x="36" y="22"/>
                  </a:lnTo>
                  <a:lnTo>
                    <a:pt x="30" y="18"/>
                  </a:lnTo>
                  <a:lnTo>
                    <a:pt x="30" y="18"/>
                  </a:lnTo>
                  <a:lnTo>
                    <a:pt x="26" y="16"/>
                  </a:lnTo>
                  <a:lnTo>
                    <a:pt x="22" y="16"/>
                  </a:lnTo>
                  <a:lnTo>
                    <a:pt x="18" y="20"/>
                  </a:lnTo>
                  <a:lnTo>
                    <a:pt x="14" y="26"/>
                  </a:lnTo>
                  <a:lnTo>
                    <a:pt x="14" y="26"/>
                  </a:lnTo>
                  <a:lnTo>
                    <a:pt x="4" y="36"/>
                  </a:lnTo>
                  <a:lnTo>
                    <a:pt x="2" y="40"/>
                  </a:lnTo>
                  <a:lnTo>
                    <a:pt x="0" y="44"/>
                  </a:lnTo>
                  <a:lnTo>
                    <a:pt x="0" y="44"/>
                  </a:lnTo>
                  <a:lnTo>
                    <a:pt x="2" y="48"/>
                  </a:lnTo>
                  <a:lnTo>
                    <a:pt x="8" y="50"/>
                  </a:lnTo>
                  <a:lnTo>
                    <a:pt x="16" y="52"/>
                  </a:lnTo>
                  <a:lnTo>
                    <a:pt x="26" y="50"/>
                  </a:lnTo>
                  <a:lnTo>
                    <a:pt x="26" y="50"/>
                  </a:lnTo>
                  <a:lnTo>
                    <a:pt x="36" y="46"/>
                  </a:lnTo>
                  <a:lnTo>
                    <a:pt x="44" y="46"/>
                  </a:lnTo>
                  <a:lnTo>
                    <a:pt x="52" y="46"/>
                  </a:lnTo>
                  <a:lnTo>
                    <a:pt x="58" y="50"/>
                  </a:lnTo>
                  <a:lnTo>
                    <a:pt x="58" y="50"/>
                  </a:lnTo>
                  <a:lnTo>
                    <a:pt x="60" y="52"/>
                  </a:lnTo>
                  <a:lnTo>
                    <a:pt x="60" y="54"/>
                  </a:lnTo>
                  <a:lnTo>
                    <a:pt x="56" y="56"/>
                  </a:lnTo>
                  <a:lnTo>
                    <a:pt x="52" y="60"/>
                  </a:lnTo>
                  <a:lnTo>
                    <a:pt x="52" y="62"/>
                  </a:lnTo>
                  <a:lnTo>
                    <a:pt x="54" y="62"/>
                  </a:lnTo>
                  <a:lnTo>
                    <a:pt x="54" y="62"/>
                  </a:lnTo>
                  <a:lnTo>
                    <a:pt x="56" y="66"/>
                  </a:lnTo>
                  <a:lnTo>
                    <a:pt x="54" y="70"/>
                  </a:lnTo>
                  <a:lnTo>
                    <a:pt x="48" y="70"/>
                  </a:lnTo>
                  <a:lnTo>
                    <a:pt x="40" y="70"/>
                  </a:lnTo>
                  <a:lnTo>
                    <a:pt x="40" y="70"/>
                  </a:lnTo>
                  <a:lnTo>
                    <a:pt x="28" y="70"/>
                  </a:lnTo>
                  <a:lnTo>
                    <a:pt x="16" y="72"/>
                  </a:lnTo>
                  <a:lnTo>
                    <a:pt x="10" y="76"/>
                  </a:lnTo>
                  <a:lnTo>
                    <a:pt x="8" y="78"/>
                  </a:lnTo>
                  <a:lnTo>
                    <a:pt x="8" y="80"/>
                  </a:lnTo>
                  <a:lnTo>
                    <a:pt x="8" y="80"/>
                  </a:lnTo>
                  <a:lnTo>
                    <a:pt x="10" y="80"/>
                  </a:lnTo>
                  <a:lnTo>
                    <a:pt x="16" y="80"/>
                  </a:lnTo>
                  <a:lnTo>
                    <a:pt x="28" y="80"/>
                  </a:lnTo>
                  <a:lnTo>
                    <a:pt x="42" y="78"/>
                  </a:lnTo>
                  <a:lnTo>
                    <a:pt x="46" y="78"/>
                  </a:lnTo>
                  <a:lnTo>
                    <a:pt x="48" y="80"/>
                  </a:lnTo>
                  <a:lnTo>
                    <a:pt x="48" y="80"/>
                  </a:lnTo>
                  <a:lnTo>
                    <a:pt x="50" y="88"/>
                  </a:lnTo>
                  <a:lnTo>
                    <a:pt x="52" y="90"/>
                  </a:lnTo>
                  <a:lnTo>
                    <a:pt x="58" y="90"/>
                  </a:lnTo>
                  <a:lnTo>
                    <a:pt x="58" y="90"/>
                  </a:lnTo>
                  <a:lnTo>
                    <a:pt x="62" y="90"/>
                  </a:lnTo>
                  <a:lnTo>
                    <a:pt x="64" y="92"/>
                  </a:lnTo>
                  <a:lnTo>
                    <a:pt x="64" y="96"/>
                  </a:lnTo>
                  <a:lnTo>
                    <a:pt x="66" y="100"/>
                  </a:lnTo>
                  <a:lnTo>
                    <a:pt x="66" y="100"/>
                  </a:lnTo>
                  <a:lnTo>
                    <a:pt x="68" y="102"/>
                  </a:lnTo>
                  <a:lnTo>
                    <a:pt x="68" y="106"/>
                  </a:lnTo>
                  <a:lnTo>
                    <a:pt x="64" y="110"/>
                  </a:lnTo>
                  <a:lnTo>
                    <a:pt x="56" y="112"/>
                  </a:lnTo>
                  <a:lnTo>
                    <a:pt x="56" y="112"/>
                  </a:lnTo>
                  <a:lnTo>
                    <a:pt x="48" y="112"/>
                  </a:lnTo>
                  <a:lnTo>
                    <a:pt x="42" y="114"/>
                  </a:lnTo>
                  <a:lnTo>
                    <a:pt x="40" y="118"/>
                  </a:lnTo>
                  <a:lnTo>
                    <a:pt x="42" y="120"/>
                  </a:lnTo>
                  <a:lnTo>
                    <a:pt x="42" y="120"/>
                  </a:lnTo>
                  <a:lnTo>
                    <a:pt x="48" y="124"/>
                  </a:lnTo>
                  <a:lnTo>
                    <a:pt x="58" y="124"/>
                  </a:lnTo>
                  <a:lnTo>
                    <a:pt x="78" y="120"/>
                  </a:lnTo>
                  <a:lnTo>
                    <a:pt x="78" y="120"/>
                  </a:lnTo>
                  <a:lnTo>
                    <a:pt x="82" y="120"/>
                  </a:lnTo>
                  <a:lnTo>
                    <a:pt x="88" y="120"/>
                  </a:lnTo>
                  <a:lnTo>
                    <a:pt x="100" y="126"/>
                  </a:lnTo>
                  <a:lnTo>
                    <a:pt x="114" y="132"/>
                  </a:lnTo>
                  <a:lnTo>
                    <a:pt x="126" y="140"/>
                  </a:lnTo>
                  <a:lnTo>
                    <a:pt x="126" y="140"/>
                  </a:lnTo>
                  <a:lnTo>
                    <a:pt x="134" y="140"/>
                  </a:lnTo>
                  <a:lnTo>
                    <a:pt x="140" y="142"/>
                  </a:lnTo>
                  <a:lnTo>
                    <a:pt x="156" y="140"/>
                  </a:lnTo>
                  <a:lnTo>
                    <a:pt x="168" y="134"/>
                  </a:lnTo>
                  <a:lnTo>
                    <a:pt x="172" y="132"/>
                  </a:lnTo>
                  <a:lnTo>
                    <a:pt x="174" y="128"/>
                  </a:lnTo>
                  <a:lnTo>
                    <a:pt x="174" y="128"/>
                  </a:lnTo>
                  <a:lnTo>
                    <a:pt x="176" y="126"/>
                  </a:lnTo>
                  <a:lnTo>
                    <a:pt x="180" y="124"/>
                  </a:lnTo>
                  <a:lnTo>
                    <a:pt x="188" y="122"/>
                  </a:lnTo>
                  <a:lnTo>
                    <a:pt x="200" y="120"/>
                  </a:lnTo>
                  <a:lnTo>
                    <a:pt x="208" y="116"/>
                  </a:lnTo>
                  <a:lnTo>
                    <a:pt x="208" y="116"/>
                  </a:lnTo>
                  <a:lnTo>
                    <a:pt x="224" y="108"/>
                  </a:lnTo>
                  <a:lnTo>
                    <a:pt x="234" y="104"/>
                  </a:lnTo>
                  <a:lnTo>
                    <a:pt x="244" y="102"/>
                  </a:lnTo>
                  <a:lnTo>
                    <a:pt x="244" y="10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6" name="Freeform 93"/>
            <p:cNvSpPr>
              <a:spLocks/>
            </p:cNvSpPr>
            <p:nvPr/>
          </p:nvSpPr>
          <p:spPr bwMode="auto">
            <a:xfrm>
              <a:off x="4384675" y="5289550"/>
              <a:ext cx="73025" cy="31750"/>
            </a:xfrm>
            <a:custGeom>
              <a:avLst/>
              <a:gdLst>
                <a:gd name="T0" fmla="*/ 2 w 46"/>
                <a:gd name="T1" fmla="*/ 10 h 20"/>
                <a:gd name="T2" fmla="*/ 2 w 46"/>
                <a:gd name="T3" fmla="*/ 10 h 20"/>
                <a:gd name="T4" fmla="*/ 6 w 46"/>
                <a:gd name="T5" fmla="*/ 16 h 20"/>
                <a:gd name="T6" fmla="*/ 14 w 46"/>
                <a:gd name="T7" fmla="*/ 18 h 20"/>
                <a:gd name="T8" fmla="*/ 20 w 46"/>
                <a:gd name="T9" fmla="*/ 20 h 20"/>
                <a:gd name="T10" fmla="*/ 28 w 46"/>
                <a:gd name="T11" fmla="*/ 20 h 20"/>
                <a:gd name="T12" fmla="*/ 40 w 46"/>
                <a:gd name="T13" fmla="*/ 16 h 20"/>
                <a:gd name="T14" fmla="*/ 44 w 46"/>
                <a:gd name="T15" fmla="*/ 14 h 20"/>
                <a:gd name="T16" fmla="*/ 46 w 46"/>
                <a:gd name="T17" fmla="*/ 10 h 20"/>
                <a:gd name="T18" fmla="*/ 46 w 46"/>
                <a:gd name="T19" fmla="*/ 10 h 20"/>
                <a:gd name="T20" fmla="*/ 46 w 46"/>
                <a:gd name="T21" fmla="*/ 8 h 20"/>
                <a:gd name="T22" fmla="*/ 46 w 46"/>
                <a:gd name="T23" fmla="*/ 6 h 20"/>
                <a:gd name="T24" fmla="*/ 40 w 46"/>
                <a:gd name="T25" fmla="*/ 4 h 20"/>
                <a:gd name="T26" fmla="*/ 32 w 46"/>
                <a:gd name="T27" fmla="*/ 0 h 20"/>
                <a:gd name="T28" fmla="*/ 22 w 46"/>
                <a:gd name="T29" fmla="*/ 0 h 20"/>
                <a:gd name="T30" fmla="*/ 12 w 46"/>
                <a:gd name="T31" fmla="*/ 0 h 20"/>
                <a:gd name="T32" fmla="*/ 4 w 46"/>
                <a:gd name="T33" fmla="*/ 2 h 20"/>
                <a:gd name="T34" fmla="*/ 0 w 46"/>
                <a:gd name="T35" fmla="*/ 6 h 20"/>
                <a:gd name="T36" fmla="*/ 0 w 46"/>
                <a:gd name="T37" fmla="*/ 8 h 20"/>
                <a:gd name="T38" fmla="*/ 2 w 46"/>
                <a:gd name="T39" fmla="*/ 10 h 20"/>
                <a:gd name="T40" fmla="*/ 2 w 46"/>
                <a:gd name="T4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20">
                  <a:moveTo>
                    <a:pt x="2" y="10"/>
                  </a:moveTo>
                  <a:lnTo>
                    <a:pt x="2" y="10"/>
                  </a:lnTo>
                  <a:lnTo>
                    <a:pt x="6" y="16"/>
                  </a:lnTo>
                  <a:lnTo>
                    <a:pt x="14" y="18"/>
                  </a:lnTo>
                  <a:lnTo>
                    <a:pt x="20" y="20"/>
                  </a:lnTo>
                  <a:lnTo>
                    <a:pt x="28" y="20"/>
                  </a:lnTo>
                  <a:lnTo>
                    <a:pt x="40" y="16"/>
                  </a:lnTo>
                  <a:lnTo>
                    <a:pt x="44" y="14"/>
                  </a:lnTo>
                  <a:lnTo>
                    <a:pt x="46" y="10"/>
                  </a:lnTo>
                  <a:lnTo>
                    <a:pt x="46" y="10"/>
                  </a:lnTo>
                  <a:lnTo>
                    <a:pt x="46" y="8"/>
                  </a:lnTo>
                  <a:lnTo>
                    <a:pt x="46" y="6"/>
                  </a:lnTo>
                  <a:lnTo>
                    <a:pt x="40" y="4"/>
                  </a:lnTo>
                  <a:lnTo>
                    <a:pt x="32" y="0"/>
                  </a:lnTo>
                  <a:lnTo>
                    <a:pt x="22" y="0"/>
                  </a:lnTo>
                  <a:lnTo>
                    <a:pt x="12" y="0"/>
                  </a:lnTo>
                  <a:lnTo>
                    <a:pt x="4" y="2"/>
                  </a:lnTo>
                  <a:lnTo>
                    <a:pt x="0" y="6"/>
                  </a:lnTo>
                  <a:lnTo>
                    <a:pt x="0" y="8"/>
                  </a:lnTo>
                  <a:lnTo>
                    <a:pt x="2" y="10"/>
                  </a:lnTo>
                  <a:lnTo>
                    <a:pt x="2" y="1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7" name="Freeform 94"/>
            <p:cNvSpPr>
              <a:spLocks/>
            </p:cNvSpPr>
            <p:nvPr/>
          </p:nvSpPr>
          <p:spPr bwMode="auto">
            <a:xfrm>
              <a:off x="4921250" y="2381250"/>
              <a:ext cx="130175" cy="82550"/>
            </a:xfrm>
            <a:custGeom>
              <a:avLst/>
              <a:gdLst>
                <a:gd name="T0" fmla="*/ 82 w 82"/>
                <a:gd name="T1" fmla="*/ 36 h 52"/>
                <a:gd name="T2" fmla="*/ 82 w 82"/>
                <a:gd name="T3" fmla="*/ 36 h 52"/>
                <a:gd name="T4" fmla="*/ 82 w 82"/>
                <a:gd name="T5" fmla="*/ 32 h 52"/>
                <a:gd name="T6" fmla="*/ 82 w 82"/>
                <a:gd name="T7" fmla="*/ 30 h 52"/>
                <a:gd name="T8" fmla="*/ 76 w 82"/>
                <a:gd name="T9" fmla="*/ 28 h 52"/>
                <a:gd name="T10" fmla="*/ 68 w 82"/>
                <a:gd name="T11" fmla="*/ 24 h 52"/>
                <a:gd name="T12" fmla="*/ 64 w 82"/>
                <a:gd name="T13" fmla="*/ 22 h 52"/>
                <a:gd name="T14" fmla="*/ 62 w 82"/>
                <a:gd name="T15" fmla="*/ 16 h 52"/>
                <a:gd name="T16" fmla="*/ 62 w 82"/>
                <a:gd name="T17" fmla="*/ 16 h 52"/>
                <a:gd name="T18" fmla="*/ 56 w 82"/>
                <a:gd name="T19" fmla="*/ 12 h 52"/>
                <a:gd name="T20" fmla="*/ 50 w 82"/>
                <a:gd name="T21" fmla="*/ 6 h 52"/>
                <a:gd name="T22" fmla="*/ 42 w 82"/>
                <a:gd name="T23" fmla="*/ 4 h 52"/>
                <a:gd name="T24" fmla="*/ 34 w 82"/>
                <a:gd name="T25" fmla="*/ 2 h 52"/>
                <a:gd name="T26" fmla="*/ 24 w 82"/>
                <a:gd name="T27" fmla="*/ 0 h 52"/>
                <a:gd name="T28" fmla="*/ 16 w 82"/>
                <a:gd name="T29" fmla="*/ 2 h 52"/>
                <a:gd name="T30" fmla="*/ 12 w 82"/>
                <a:gd name="T31" fmla="*/ 4 h 52"/>
                <a:gd name="T32" fmla="*/ 8 w 82"/>
                <a:gd name="T33" fmla="*/ 6 h 52"/>
                <a:gd name="T34" fmla="*/ 8 w 82"/>
                <a:gd name="T35" fmla="*/ 6 h 52"/>
                <a:gd name="T36" fmla="*/ 2 w 82"/>
                <a:gd name="T37" fmla="*/ 16 h 52"/>
                <a:gd name="T38" fmla="*/ 0 w 82"/>
                <a:gd name="T39" fmla="*/ 22 h 52"/>
                <a:gd name="T40" fmla="*/ 2 w 82"/>
                <a:gd name="T41" fmla="*/ 26 h 52"/>
                <a:gd name="T42" fmla="*/ 4 w 82"/>
                <a:gd name="T43" fmla="*/ 30 h 52"/>
                <a:gd name="T44" fmla="*/ 4 w 82"/>
                <a:gd name="T45" fmla="*/ 30 h 52"/>
                <a:gd name="T46" fmla="*/ 12 w 82"/>
                <a:gd name="T47" fmla="*/ 36 h 52"/>
                <a:gd name="T48" fmla="*/ 18 w 82"/>
                <a:gd name="T49" fmla="*/ 40 h 52"/>
                <a:gd name="T50" fmla="*/ 26 w 82"/>
                <a:gd name="T51" fmla="*/ 42 h 52"/>
                <a:gd name="T52" fmla="*/ 34 w 82"/>
                <a:gd name="T53" fmla="*/ 48 h 52"/>
                <a:gd name="T54" fmla="*/ 34 w 82"/>
                <a:gd name="T55" fmla="*/ 48 h 52"/>
                <a:gd name="T56" fmla="*/ 40 w 82"/>
                <a:gd name="T57" fmla="*/ 52 h 52"/>
                <a:gd name="T58" fmla="*/ 46 w 82"/>
                <a:gd name="T59" fmla="*/ 52 h 52"/>
                <a:gd name="T60" fmla="*/ 54 w 82"/>
                <a:gd name="T61" fmla="*/ 52 h 52"/>
                <a:gd name="T62" fmla="*/ 62 w 82"/>
                <a:gd name="T63" fmla="*/ 52 h 52"/>
                <a:gd name="T64" fmla="*/ 70 w 82"/>
                <a:gd name="T65" fmla="*/ 48 h 52"/>
                <a:gd name="T66" fmla="*/ 76 w 82"/>
                <a:gd name="T67" fmla="*/ 46 h 52"/>
                <a:gd name="T68" fmla="*/ 82 w 82"/>
                <a:gd name="T69" fmla="*/ 42 h 52"/>
                <a:gd name="T70" fmla="*/ 82 w 82"/>
                <a:gd name="T71" fmla="*/ 36 h 52"/>
                <a:gd name="T72" fmla="*/ 82 w 82"/>
                <a:gd name="T73"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 h="52">
                  <a:moveTo>
                    <a:pt x="82" y="36"/>
                  </a:moveTo>
                  <a:lnTo>
                    <a:pt x="82" y="36"/>
                  </a:lnTo>
                  <a:lnTo>
                    <a:pt x="82" y="32"/>
                  </a:lnTo>
                  <a:lnTo>
                    <a:pt x="82" y="30"/>
                  </a:lnTo>
                  <a:lnTo>
                    <a:pt x="76" y="28"/>
                  </a:lnTo>
                  <a:lnTo>
                    <a:pt x="68" y="24"/>
                  </a:lnTo>
                  <a:lnTo>
                    <a:pt x="64" y="22"/>
                  </a:lnTo>
                  <a:lnTo>
                    <a:pt x="62" y="16"/>
                  </a:lnTo>
                  <a:lnTo>
                    <a:pt x="62" y="16"/>
                  </a:lnTo>
                  <a:lnTo>
                    <a:pt x="56" y="12"/>
                  </a:lnTo>
                  <a:lnTo>
                    <a:pt x="50" y="6"/>
                  </a:lnTo>
                  <a:lnTo>
                    <a:pt x="42" y="4"/>
                  </a:lnTo>
                  <a:lnTo>
                    <a:pt x="34" y="2"/>
                  </a:lnTo>
                  <a:lnTo>
                    <a:pt x="24" y="0"/>
                  </a:lnTo>
                  <a:lnTo>
                    <a:pt x="16" y="2"/>
                  </a:lnTo>
                  <a:lnTo>
                    <a:pt x="12" y="4"/>
                  </a:lnTo>
                  <a:lnTo>
                    <a:pt x="8" y="6"/>
                  </a:lnTo>
                  <a:lnTo>
                    <a:pt x="8" y="6"/>
                  </a:lnTo>
                  <a:lnTo>
                    <a:pt x="2" y="16"/>
                  </a:lnTo>
                  <a:lnTo>
                    <a:pt x="0" y="22"/>
                  </a:lnTo>
                  <a:lnTo>
                    <a:pt x="2" y="26"/>
                  </a:lnTo>
                  <a:lnTo>
                    <a:pt x="4" y="30"/>
                  </a:lnTo>
                  <a:lnTo>
                    <a:pt x="4" y="30"/>
                  </a:lnTo>
                  <a:lnTo>
                    <a:pt x="12" y="36"/>
                  </a:lnTo>
                  <a:lnTo>
                    <a:pt x="18" y="40"/>
                  </a:lnTo>
                  <a:lnTo>
                    <a:pt x="26" y="42"/>
                  </a:lnTo>
                  <a:lnTo>
                    <a:pt x="34" y="48"/>
                  </a:lnTo>
                  <a:lnTo>
                    <a:pt x="34" y="48"/>
                  </a:lnTo>
                  <a:lnTo>
                    <a:pt x="40" y="52"/>
                  </a:lnTo>
                  <a:lnTo>
                    <a:pt x="46" y="52"/>
                  </a:lnTo>
                  <a:lnTo>
                    <a:pt x="54" y="52"/>
                  </a:lnTo>
                  <a:lnTo>
                    <a:pt x="62" y="52"/>
                  </a:lnTo>
                  <a:lnTo>
                    <a:pt x="70" y="48"/>
                  </a:lnTo>
                  <a:lnTo>
                    <a:pt x="76" y="46"/>
                  </a:lnTo>
                  <a:lnTo>
                    <a:pt x="82" y="42"/>
                  </a:lnTo>
                  <a:lnTo>
                    <a:pt x="82" y="36"/>
                  </a:lnTo>
                  <a:lnTo>
                    <a:pt x="82" y="3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8" name="Freeform 95"/>
            <p:cNvSpPr>
              <a:spLocks/>
            </p:cNvSpPr>
            <p:nvPr/>
          </p:nvSpPr>
          <p:spPr bwMode="auto">
            <a:xfrm>
              <a:off x="4146550" y="1146175"/>
              <a:ext cx="2647950" cy="1974850"/>
            </a:xfrm>
            <a:custGeom>
              <a:avLst/>
              <a:gdLst>
                <a:gd name="T0" fmla="*/ 1286 w 1668"/>
                <a:gd name="T1" fmla="*/ 764 h 1244"/>
                <a:gd name="T2" fmla="*/ 1346 w 1668"/>
                <a:gd name="T3" fmla="*/ 762 h 1244"/>
                <a:gd name="T4" fmla="*/ 1398 w 1668"/>
                <a:gd name="T5" fmla="*/ 720 h 1244"/>
                <a:gd name="T6" fmla="*/ 1400 w 1668"/>
                <a:gd name="T7" fmla="*/ 648 h 1244"/>
                <a:gd name="T8" fmla="*/ 1322 w 1668"/>
                <a:gd name="T9" fmla="*/ 628 h 1244"/>
                <a:gd name="T10" fmla="*/ 1428 w 1668"/>
                <a:gd name="T11" fmla="*/ 618 h 1244"/>
                <a:gd name="T12" fmla="*/ 1468 w 1668"/>
                <a:gd name="T13" fmla="*/ 572 h 1244"/>
                <a:gd name="T14" fmla="*/ 1422 w 1668"/>
                <a:gd name="T15" fmla="*/ 524 h 1244"/>
                <a:gd name="T16" fmla="*/ 1426 w 1668"/>
                <a:gd name="T17" fmla="*/ 462 h 1244"/>
                <a:gd name="T18" fmla="*/ 1424 w 1668"/>
                <a:gd name="T19" fmla="*/ 428 h 1244"/>
                <a:gd name="T20" fmla="*/ 1470 w 1668"/>
                <a:gd name="T21" fmla="*/ 402 h 1244"/>
                <a:gd name="T22" fmla="*/ 1460 w 1668"/>
                <a:gd name="T23" fmla="*/ 370 h 1244"/>
                <a:gd name="T24" fmla="*/ 1406 w 1668"/>
                <a:gd name="T25" fmla="*/ 360 h 1244"/>
                <a:gd name="T26" fmla="*/ 1476 w 1668"/>
                <a:gd name="T27" fmla="*/ 260 h 1244"/>
                <a:gd name="T28" fmla="*/ 1444 w 1668"/>
                <a:gd name="T29" fmla="*/ 248 h 1244"/>
                <a:gd name="T30" fmla="*/ 1500 w 1668"/>
                <a:gd name="T31" fmla="*/ 204 h 1244"/>
                <a:gd name="T32" fmla="*/ 1602 w 1668"/>
                <a:gd name="T33" fmla="*/ 168 h 1244"/>
                <a:gd name="T34" fmla="*/ 1524 w 1668"/>
                <a:gd name="T35" fmla="*/ 126 h 1244"/>
                <a:gd name="T36" fmla="*/ 1440 w 1668"/>
                <a:gd name="T37" fmla="*/ 132 h 1244"/>
                <a:gd name="T38" fmla="*/ 1386 w 1668"/>
                <a:gd name="T39" fmla="*/ 142 h 1244"/>
                <a:gd name="T40" fmla="*/ 1314 w 1668"/>
                <a:gd name="T41" fmla="*/ 132 h 1244"/>
                <a:gd name="T42" fmla="*/ 1224 w 1668"/>
                <a:gd name="T43" fmla="*/ 110 h 1244"/>
                <a:gd name="T44" fmla="*/ 1270 w 1668"/>
                <a:gd name="T45" fmla="*/ 98 h 1244"/>
                <a:gd name="T46" fmla="*/ 1342 w 1668"/>
                <a:gd name="T47" fmla="*/ 50 h 1244"/>
                <a:gd name="T48" fmla="*/ 1210 w 1668"/>
                <a:gd name="T49" fmla="*/ 10 h 1244"/>
                <a:gd name="T50" fmla="*/ 946 w 1668"/>
                <a:gd name="T51" fmla="*/ 20 h 1244"/>
                <a:gd name="T52" fmla="*/ 886 w 1668"/>
                <a:gd name="T53" fmla="*/ 24 h 1244"/>
                <a:gd name="T54" fmla="*/ 744 w 1668"/>
                <a:gd name="T55" fmla="*/ 52 h 1244"/>
                <a:gd name="T56" fmla="*/ 770 w 1668"/>
                <a:gd name="T57" fmla="*/ 118 h 1244"/>
                <a:gd name="T58" fmla="*/ 638 w 1668"/>
                <a:gd name="T59" fmla="*/ 72 h 1244"/>
                <a:gd name="T60" fmla="*/ 600 w 1668"/>
                <a:gd name="T61" fmla="*/ 112 h 1244"/>
                <a:gd name="T62" fmla="*/ 540 w 1668"/>
                <a:gd name="T63" fmla="*/ 132 h 1244"/>
                <a:gd name="T64" fmla="*/ 490 w 1668"/>
                <a:gd name="T65" fmla="*/ 82 h 1244"/>
                <a:gd name="T66" fmla="*/ 386 w 1668"/>
                <a:gd name="T67" fmla="*/ 124 h 1244"/>
                <a:gd name="T68" fmla="*/ 322 w 1668"/>
                <a:gd name="T69" fmla="*/ 164 h 1244"/>
                <a:gd name="T70" fmla="*/ 144 w 1668"/>
                <a:gd name="T71" fmla="*/ 226 h 1244"/>
                <a:gd name="T72" fmla="*/ 116 w 1668"/>
                <a:gd name="T73" fmla="*/ 296 h 1244"/>
                <a:gd name="T74" fmla="*/ 16 w 1668"/>
                <a:gd name="T75" fmla="*/ 362 h 1244"/>
                <a:gd name="T76" fmla="*/ 166 w 1668"/>
                <a:gd name="T77" fmla="*/ 380 h 1244"/>
                <a:gd name="T78" fmla="*/ 38 w 1668"/>
                <a:gd name="T79" fmla="*/ 412 h 1244"/>
                <a:gd name="T80" fmla="*/ 96 w 1668"/>
                <a:gd name="T81" fmla="*/ 458 h 1244"/>
                <a:gd name="T82" fmla="*/ 192 w 1668"/>
                <a:gd name="T83" fmla="*/ 468 h 1244"/>
                <a:gd name="T84" fmla="*/ 328 w 1668"/>
                <a:gd name="T85" fmla="*/ 472 h 1244"/>
                <a:gd name="T86" fmla="*/ 438 w 1668"/>
                <a:gd name="T87" fmla="*/ 548 h 1244"/>
                <a:gd name="T88" fmla="*/ 488 w 1668"/>
                <a:gd name="T89" fmla="*/ 646 h 1244"/>
                <a:gd name="T90" fmla="*/ 502 w 1668"/>
                <a:gd name="T91" fmla="*/ 716 h 1244"/>
                <a:gd name="T92" fmla="*/ 576 w 1668"/>
                <a:gd name="T93" fmla="*/ 742 h 1244"/>
                <a:gd name="T94" fmla="*/ 506 w 1668"/>
                <a:gd name="T95" fmla="*/ 758 h 1244"/>
                <a:gd name="T96" fmla="*/ 602 w 1668"/>
                <a:gd name="T97" fmla="*/ 824 h 1244"/>
                <a:gd name="T98" fmla="*/ 532 w 1668"/>
                <a:gd name="T99" fmla="*/ 898 h 1244"/>
                <a:gd name="T100" fmla="*/ 526 w 1668"/>
                <a:gd name="T101" fmla="*/ 966 h 1244"/>
                <a:gd name="T102" fmla="*/ 584 w 1668"/>
                <a:gd name="T103" fmla="*/ 1062 h 1244"/>
                <a:gd name="T104" fmla="*/ 618 w 1668"/>
                <a:gd name="T105" fmla="*/ 1128 h 1244"/>
                <a:gd name="T106" fmla="*/ 712 w 1668"/>
                <a:gd name="T107" fmla="*/ 1210 h 1244"/>
                <a:gd name="T108" fmla="*/ 820 w 1668"/>
                <a:gd name="T109" fmla="*/ 1222 h 1244"/>
                <a:gd name="T110" fmla="*/ 826 w 1668"/>
                <a:gd name="T111" fmla="*/ 1130 h 1244"/>
                <a:gd name="T112" fmla="*/ 874 w 1668"/>
                <a:gd name="T113" fmla="*/ 1088 h 1244"/>
                <a:gd name="T114" fmla="*/ 882 w 1668"/>
                <a:gd name="T115" fmla="*/ 1032 h 1244"/>
                <a:gd name="T116" fmla="*/ 900 w 1668"/>
                <a:gd name="T117" fmla="*/ 1010 h 1244"/>
                <a:gd name="T118" fmla="*/ 964 w 1668"/>
                <a:gd name="T119" fmla="*/ 970 h 1244"/>
                <a:gd name="T120" fmla="*/ 1058 w 1668"/>
                <a:gd name="T121" fmla="*/ 956 h 1244"/>
                <a:gd name="T122" fmla="*/ 1126 w 1668"/>
                <a:gd name="T123" fmla="*/ 876 h 1244"/>
                <a:gd name="T124" fmla="*/ 1296 w 1668"/>
                <a:gd name="T125" fmla="*/ 84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244">
                  <a:moveTo>
                    <a:pt x="1392" y="784"/>
                  </a:moveTo>
                  <a:lnTo>
                    <a:pt x="1392" y="784"/>
                  </a:lnTo>
                  <a:lnTo>
                    <a:pt x="1382" y="788"/>
                  </a:lnTo>
                  <a:lnTo>
                    <a:pt x="1370" y="790"/>
                  </a:lnTo>
                  <a:lnTo>
                    <a:pt x="1356" y="790"/>
                  </a:lnTo>
                  <a:lnTo>
                    <a:pt x="1344" y="788"/>
                  </a:lnTo>
                  <a:lnTo>
                    <a:pt x="1344" y="788"/>
                  </a:lnTo>
                  <a:lnTo>
                    <a:pt x="1314" y="778"/>
                  </a:lnTo>
                  <a:lnTo>
                    <a:pt x="1298" y="776"/>
                  </a:lnTo>
                  <a:lnTo>
                    <a:pt x="1290" y="778"/>
                  </a:lnTo>
                  <a:lnTo>
                    <a:pt x="1284" y="780"/>
                  </a:lnTo>
                  <a:lnTo>
                    <a:pt x="1284" y="780"/>
                  </a:lnTo>
                  <a:lnTo>
                    <a:pt x="1278" y="782"/>
                  </a:lnTo>
                  <a:lnTo>
                    <a:pt x="1274" y="782"/>
                  </a:lnTo>
                  <a:lnTo>
                    <a:pt x="1274" y="780"/>
                  </a:lnTo>
                  <a:lnTo>
                    <a:pt x="1274" y="776"/>
                  </a:lnTo>
                  <a:lnTo>
                    <a:pt x="1282" y="768"/>
                  </a:lnTo>
                  <a:lnTo>
                    <a:pt x="1286" y="764"/>
                  </a:lnTo>
                  <a:lnTo>
                    <a:pt x="1292" y="762"/>
                  </a:lnTo>
                  <a:lnTo>
                    <a:pt x="1292" y="762"/>
                  </a:lnTo>
                  <a:lnTo>
                    <a:pt x="1300" y="760"/>
                  </a:lnTo>
                  <a:lnTo>
                    <a:pt x="1300" y="758"/>
                  </a:lnTo>
                  <a:lnTo>
                    <a:pt x="1302" y="754"/>
                  </a:lnTo>
                  <a:lnTo>
                    <a:pt x="1300" y="748"/>
                  </a:lnTo>
                  <a:lnTo>
                    <a:pt x="1296" y="736"/>
                  </a:lnTo>
                  <a:lnTo>
                    <a:pt x="1296" y="736"/>
                  </a:lnTo>
                  <a:lnTo>
                    <a:pt x="1296" y="732"/>
                  </a:lnTo>
                  <a:lnTo>
                    <a:pt x="1298" y="730"/>
                  </a:lnTo>
                  <a:lnTo>
                    <a:pt x="1304" y="728"/>
                  </a:lnTo>
                  <a:lnTo>
                    <a:pt x="1310" y="730"/>
                  </a:lnTo>
                  <a:lnTo>
                    <a:pt x="1322" y="738"/>
                  </a:lnTo>
                  <a:lnTo>
                    <a:pt x="1330" y="742"/>
                  </a:lnTo>
                  <a:lnTo>
                    <a:pt x="1334" y="750"/>
                  </a:lnTo>
                  <a:lnTo>
                    <a:pt x="1334" y="750"/>
                  </a:lnTo>
                  <a:lnTo>
                    <a:pt x="1340" y="756"/>
                  </a:lnTo>
                  <a:lnTo>
                    <a:pt x="1346" y="762"/>
                  </a:lnTo>
                  <a:lnTo>
                    <a:pt x="1354" y="766"/>
                  </a:lnTo>
                  <a:lnTo>
                    <a:pt x="1362" y="768"/>
                  </a:lnTo>
                  <a:lnTo>
                    <a:pt x="1370" y="770"/>
                  </a:lnTo>
                  <a:lnTo>
                    <a:pt x="1378" y="772"/>
                  </a:lnTo>
                  <a:lnTo>
                    <a:pt x="1386" y="772"/>
                  </a:lnTo>
                  <a:lnTo>
                    <a:pt x="1394" y="770"/>
                  </a:lnTo>
                  <a:lnTo>
                    <a:pt x="1394" y="770"/>
                  </a:lnTo>
                  <a:lnTo>
                    <a:pt x="1400" y="766"/>
                  </a:lnTo>
                  <a:lnTo>
                    <a:pt x="1404" y="762"/>
                  </a:lnTo>
                  <a:lnTo>
                    <a:pt x="1404" y="758"/>
                  </a:lnTo>
                  <a:lnTo>
                    <a:pt x="1404" y="754"/>
                  </a:lnTo>
                  <a:lnTo>
                    <a:pt x="1402" y="744"/>
                  </a:lnTo>
                  <a:lnTo>
                    <a:pt x="1402" y="738"/>
                  </a:lnTo>
                  <a:lnTo>
                    <a:pt x="1404" y="734"/>
                  </a:lnTo>
                  <a:lnTo>
                    <a:pt x="1404" y="734"/>
                  </a:lnTo>
                  <a:lnTo>
                    <a:pt x="1404" y="730"/>
                  </a:lnTo>
                  <a:lnTo>
                    <a:pt x="1404" y="728"/>
                  </a:lnTo>
                  <a:lnTo>
                    <a:pt x="1398" y="720"/>
                  </a:lnTo>
                  <a:lnTo>
                    <a:pt x="1374" y="702"/>
                  </a:lnTo>
                  <a:lnTo>
                    <a:pt x="1348" y="684"/>
                  </a:lnTo>
                  <a:lnTo>
                    <a:pt x="1338" y="676"/>
                  </a:lnTo>
                  <a:lnTo>
                    <a:pt x="1334" y="670"/>
                  </a:lnTo>
                  <a:lnTo>
                    <a:pt x="1334" y="670"/>
                  </a:lnTo>
                  <a:lnTo>
                    <a:pt x="1334" y="666"/>
                  </a:lnTo>
                  <a:lnTo>
                    <a:pt x="1334" y="664"/>
                  </a:lnTo>
                  <a:lnTo>
                    <a:pt x="1338" y="664"/>
                  </a:lnTo>
                  <a:lnTo>
                    <a:pt x="1344" y="664"/>
                  </a:lnTo>
                  <a:lnTo>
                    <a:pt x="1358" y="668"/>
                  </a:lnTo>
                  <a:lnTo>
                    <a:pt x="1374" y="676"/>
                  </a:lnTo>
                  <a:lnTo>
                    <a:pt x="1374" y="676"/>
                  </a:lnTo>
                  <a:lnTo>
                    <a:pt x="1380" y="678"/>
                  </a:lnTo>
                  <a:lnTo>
                    <a:pt x="1386" y="676"/>
                  </a:lnTo>
                  <a:lnTo>
                    <a:pt x="1390" y="674"/>
                  </a:lnTo>
                  <a:lnTo>
                    <a:pt x="1394" y="668"/>
                  </a:lnTo>
                  <a:lnTo>
                    <a:pt x="1398" y="658"/>
                  </a:lnTo>
                  <a:lnTo>
                    <a:pt x="1400" y="648"/>
                  </a:lnTo>
                  <a:lnTo>
                    <a:pt x="1400" y="648"/>
                  </a:lnTo>
                  <a:lnTo>
                    <a:pt x="1398" y="644"/>
                  </a:lnTo>
                  <a:lnTo>
                    <a:pt x="1392" y="640"/>
                  </a:lnTo>
                  <a:lnTo>
                    <a:pt x="1384" y="638"/>
                  </a:lnTo>
                  <a:lnTo>
                    <a:pt x="1374" y="638"/>
                  </a:lnTo>
                  <a:lnTo>
                    <a:pt x="1352" y="640"/>
                  </a:lnTo>
                  <a:lnTo>
                    <a:pt x="1342" y="642"/>
                  </a:lnTo>
                  <a:lnTo>
                    <a:pt x="1334" y="646"/>
                  </a:lnTo>
                  <a:lnTo>
                    <a:pt x="1334" y="646"/>
                  </a:lnTo>
                  <a:lnTo>
                    <a:pt x="1326" y="648"/>
                  </a:lnTo>
                  <a:lnTo>
                    <a:pt x="1320" y="648"/>
                  </a:lnTo>
                  <a:lnTo>
                    <a:pt x="1314" y="646"/>
                  </a:lnTo>
                  <a:lnTo>
                    <a:pt x="1310" y="642"/>
                  </a:lnTo>
                  <a:lnTo>
                    <a:pt x="1308" y="638"/>
                  </a:lnTo>
                  <a:lnTo>
                    <a:pt x="1310" y="634"/>
                  </a:lnTo>
                  <a:lnTo>
                    <a:pt x="1314" y="630"/>
                  </a:lnTo>
                  <a:lnTo>
                    <a:pt x="1322" y="628"/>
                  </a:lnTo>
                  <a:lnTo>
                    <a:pt x="1322" y="628"/>
                  </a:lnTo>
                  <a:lnTo>
                    <a:pt x="1330" y="626"/>
                  </a:lnTo>
                  <a:lnTo>
                    <a:pt x="1334" y="624"/>
                  </a:lnTo>
                  <a:lnTo>
                    <a:pt x="1336" y="622"/>
                  </a:lnTo>
                  <a:lnTo>
                    <a:pt x="1334" y="620"/>
                  </a:lnTo>
                  <a:lnTo>
                    <a:pt x="1332" y="612"/>
                  </a:lnTo>
                  <a:lnTo>
                    <a:pt x="1330" y="610"/>
                  </a:lnTo>
                  <a:lnTo>
                    <a:pt x="1332" y="606"/>
                  </a:lnTo>
                  <a:lnTo>
                    <a:pt x="1332" y="606"/>
                  </a:lnTo>
                  <a:lnTo>
                    <a:pt x="1336" y="604"/>
                  </a:lnTo>
                  <a:lnTo>
                    <a:pt x="1342" y="606"/>
                  </a:lnTo>
                  <a:lnTo>
                    <a:pt x="1360" y="614"/>
                  </a:lnTo>
                  <a:lnTo>
                    <a:pt x="1378" y="622"/>
                  </a:lnTo>
                  <a:lnTo>
                    <a:pt x="1386" y="624"/>
                  </a:lnTo>
                  <a:lnTo>
                    <a:pt x="1392" y="624"/>
                  </a:lnTo>
                  <a:lnTo>
                    <a:pt x="1392" y="624"/>
                  </a:lnTo>
                  <a:lnTo>
                    <a:pt x="1406" y="622"/>
                  </a:lnTo>
                  <a:lnTo>
                    <a:pt x="1416" y="620"/>
                  </a:lnTo>
                  <a:lnTo>
                    <a:pt x="1428" y="618"/>
                  </a:lnTo>
                  <a:lnTo>
                    <a:pt x="1434" y="616"/>
                  </a:lnTo>
                  <a:lnTo>
                    <a:pt x="1438" y="612"/>
                  </a:lnTo>
                  <a:lnTo>
                    <a:pt x="1438" y="612"/>
                  </a:lnTo>
                  <a:lnTo>
                    <a:pt x="1442" y="608"/>
                  </a:lnTo>
                  <a:lnTo>
                    <a:pt x="1440" y="604"/>
                  </a:lnTo>
                  <a:lnTo>
                    <a:pt x="1436" y="600"/>
                  </a:lnTo>
                  <a:lnTo>
                    <a:pt x="1430" y="594"/>
                  </a:lnTo>
                  <a:lnTo>
                    <a:pt x="1414" y="586"/>
                  </a:lnTo>
                  <a:lnTo>
                    <a:pt x="1408" y="582"/>
                  </a:lnTo>
                  <a:lnTo>
                    <a:pt x="1402" y="578"/>
                  </a:lnTo>
                  <a:lnTo>
                    <a:pt x="1402" y="578"/>
                  </a:lnTo>
                  <a:lnTo>
                    <a:pt x="1402" y="576"/>
                  </a:lnTo>
                  <a:lnTo>
                    <a:pt x="1402" y="576"/>
                  </a:lnTo>
                  <a:lnTo>
                    <a:pt x="1406" y="574"/>
                  </a:lnTo>
                  <a:lnTo>
                    <a:pt x="1424" y="572"/>
                  </a:lnTo>
                  <a:lnTo>
                    <a:pt x="1464" y="572"/>
                  </a:lnTo>
                  <a:lnTo>
                    <a:pt x="1464" y="572"/>
                  </a:lnTo>
                  <a:lnTo>
                    <a:pt x="1468" y="572"/>
                  </a:lnTo>
                  <a:lnTo>
                    <a:pt x="1472" y="570"/>
                  </a:lnTo>
                  <a:lnTo>
                    <a:pt x="1476" y="566"/>
                  </a:lnTo>
                  <a:lnTo>
                    <a:pt x="1478" y="562"/>
                  </a:lnTo>
                  <a:lnTo>
                    <a:pt x="1478" y="558"/>
                  </a:lnTo>
                  <a:lnTo>
                    <a:pt x="1476" y="556"/>
                  </a:lnTo>
                  <a:lnTo>
                    <a:pt x="1474" y="554"/>
                  </a:lnTo>
                  <a:lnTo>
                    <a:pt x="1470" y="554"/>
                  </a:lnTo>
                  <a:lnTo>
                    <a:pt x="1470" y="554"/>
                  </a:lnTo>
                  <a:lnTo>
                    <a:pt x="1464" y="556"/>
                  </a:lnTo>
                  <a:lnTo>
                    <a:pt x="1456" y="554"/>
                  </a:lnTo>
                  <a:lnTo>
                    <a:pt x="1446" y="550"/>
                  </a:lnTo>
                  <a:lnTo>
                    <a:pt x="1438" y="546"/>
                  </a:lnTo>
                  <a:lnTo>
                    <a:pt x="1430" y="542"/>
                  </a:lnTo>
                  <a:lnTo>
                    <a:pt x="1422" y="536"/>
                  </a:lnTo>
                  <a:lnTo>
                    <a:pt x="1420" y="530"/>
                  </a:lnTo>
                  <a:lnTo>
                    <a:pt x="1420" y="526"/>
                  </a:lnTo>
                  <a:lnTo>
                    <a:pt x="1422" y="524"/>
                  </a:lnTo>
                  <a:lnTo>
                    <a:pt x="1422" y="524"/>
                  </a:lnTo>
                  <a:lnTo>
                    <a:pt x="1426" y="520"/>
                  </a:lnTo>
                  <a:lnTo>
                    <a:pt x="1430" y="518"/>
                  </a:lnTo>
                  <a:lnTo>
                    <a:pt x="1442" y="518"/>
                  </a:lnTo>
                  <a:lnTo>
                    <a:pt x="1454" y="520"/>
                  </a:lnTo>
                  <a:lnTo>
                    <a:pt x="1462" y="518"/>
                  </a:lnTo>
                  <a:lnTo>
                    <a:pt x="1468" y="516"/>
                  </a:lnTo>
                  <a:lnTo>
                    <a:pt x="1468" y="516"/>
                  </a:lnTo>
                  <a:lnTo>
                    <a:pt x="1474" y="510"/>
                  </a:lnTo>
                  <a:lnTo>
                    <a:pt x="1478" y="504"/>
                  </a:lnTo>
                  <a:lnTo>
                    <a:pt x="1478" y="496"/>
                  </a:lnTo>
                  <a:lnTo>
                    <a:pt x="1476" y="486"/>
                  </a:lnTo>
                  <a:lnTo>
                    <a:pt x="1472" y="478"/>
                  </a:lnTo>
                  <a:lnTo>
                    <a:pt x="1466" y="472"/>
                  </a:lnTo>
                  <a:lnTo>
                    <a:pt x="1462" y="468"/>
                  </a:lnTo>
                  <a:lnTo>
                    <a:pt x="1456" y="466"/>
                  </a:lnTo>
                  <a:lnTo>
                    <a:pt x="1456" y="466"/>
                  </a:lnTo>
                  <a:lnTo>
                    <a:pt x="1442" y="464"/>
                  </a:lnTo>
                  <a:lnTo>
                    <a:pt x="1426" y="462"/>
                  </a:lnTo>
                  <a:lnTo>
                    <a:pt x="1412" y="458"/>
                  </a:lnTo>
                  <a:lnTo>
                    <a:pt x="1408" y="456"/>
                  </a:lnTo>
                  <a:lnTo>
                    <a:pt x="1408" y="454"/>
                  </a:lnTo>
                  <a:lnTo>
                    <a:pt x="1408" y="454"/>
                  </a:lnTo>
                  <a:lnTo>
                    <a:pt x="1406" y="450"/>
                  </a:lnTo>
                  <a:lnTo>
                    <a:pt x="1404" y="448"/>
                  </a:lnTo>
                  <a:lnTo>
                    <a:pt x="1394" y="444"/>
                  </a:lnTo>
                  <a:lnTo>
                    <a:pt x="1388" y="438"/>
                  </a:lnTo>
                  <a:lnTo>
                    <a:pt x="1386" y="436"/>
                  </a:lnTo>
                  <a:lnTo>
                    <a:pt x="1388" y="432"/>
                  </a:lnTo>
                  <a:lnTo>
                    <a:pt x="1388" y="432"/>
                  </a:lnTo>
                  <a:lnTo>
                    <a:pt x="1390" y="430"/>
                  </a:lnTo>
                  <a:lnTo>
                    <a:pt x="1394" y="430"/>
                  </a:lnTo>
                  <a:lnTo>
                    <a:pt x="1402" y="432"/>
                  </a:lnTo>
                  <a:lnTo>
                    <a:pt x="1412" y="434"/>
                  </a:lnTo>
                  <a:lnTo>
                    <a:pt x="1418" y="432"/>
                  </a:lnTo>
                  <a:lnTo>
                    <a:pt x="1424" y="428"/>
                  </a:lnTo>
                  <a:lnTo>
                    <a:pt x="1424" y="428"/>
                  </a:lnTo>
                  <a:lnTo>
                    <a:pt x="1432" y="424"/>
                  </a:lnTo>
                  <a:lnTo>
                    <a:pt x="1442" y="422"/>
                  </a:lnTo>
                  <a:lnTo>
                    <a:pt x="1452" y="422"/>
                  </a:lnTo>
                  <a:lnTo>
                    <a:pt x="1462" y="424"/>
                  </a:lnTo>
                  <a:lnTo>
                    <a:pt x="1482" y="428"/>
                  </a:lnTo>
                  <a:lnTo>
                    <a:pt x="1492" y="428"/>
                  </a:lnTo>
                  <a:lnTo>
                    <a:pt x="1498" y="428"/>
                  </a:lnTo>
                  <a:lnTo>
                    <a:pt x="1498" y="428"/>
                  </a:lnTo>
                  <a:lnTo>
                    <a:pt x="1504" y="426"/>
                  </a:lnTo>
                  <a:lnTo>
                    <a:pt x="1504" y="422"/>
                  </a:lnTo>
                  <a:lnTo>
                    <a:pt x="1504" y="416"/>
                  </a:lnTo>
                  <a:lnTo>
                    <a:pt x="1500" y="410"/>
                  </a:lnTo>
                  <a:lnTo>
                    <a:pt x="1496" y="404"/>
                  </a:lnTo>
                  <a:lnTo>
                    <a:pt x="1490" y="400"/>
                  </a:lnTo>
                  <a:lnTo>
                    <a:pt x="1486" y="398"/>
                  </a:lnTo>
                  <a:lnTo>
                    <a:pt x="1482" y="398"/>
                  </a:lnTo>
                  <a:lnTo>
                    <a:pt x="1482" y="398"/>
                  </a:lnTo>
                  <a:lnTo>
                    <a:pt x="1470" y="402"/>
                  </a:lnTo>
                  <a:lnTo>
                    <a:pt x="1456" y="402"/>
                  </a:lnTo>
                  <a:lnTo>
                    <a:pt x="1450" y="402"/>
                  </a:lnTo>
                  <a:lnTo>
                    <a:pt x="1444" y="398"/>
                  </a:lnTo>
                  <a:lnTo>
                    <a:pt x="1438" y="394"/>
                  </a:lnTo>
                  <a:lnTo>
                    <a:pt x="1436" y="390"/>
                  </a:lnTo>
                  <a:lnTo>
                    <a:pt x="1436" y="390"/>
                  </a:lnTo>
                  <a:lnTo>
                    <a:pt x="1438" y="384"/>
                  </a:lnTo>
                  <a:lnTo>
                    <a:pt x="1440" y="382"/>
                  </a:lnTo>
                  <a:lnTo>
                    <a:pt x="1446" y="382"/>
                  </a:lnTo>
                  <a:lnTo>
                    <a:pt x="1452" y="382"/>
                  </a:lnTo>
                  <a:lnTo>
                    <a:pt x="1466" y="384"/>
                  </a:lnTo>
                  <a:lnTo>
                    <a:pt x="1470" y="384"/>
                  </a:lnTo>
                  <a:lnTo>
                    <a:pt x="1474" y="382"/>
                  </a:lnTo>
                  <a:lnTo>
                    <a:pt x="1474" y="382"/>
                  </a:lnTo>
                  <a:lnTo>
                    <a:pt x="1474" y="380"/>
                  </a:lnTo>
                  <a:lnTo>
                    <a:pt x="1474" y="378"/>
                  </a:lnTo>
                  <a:lnTo>
                    <a:pt x="1468" y="374"/>
                  </a:lnTo>
                  <a:lnTo>
                    <a:pt x="1460" y="370"/>
                  </a:lnTo>
                  <a:lnTo>
                    <a:pt x="1452" y="366"/>
                  </a:lnTo>
                  <a:lnTo>
                    <a:pt x="1442" y="364"/>
                  </a:lnTo>
                  <a:lnTo>
                    <a:pt x="1432" y="362"/>
                  </a:lnTo>
                  <a:lnTo>
                    <a:pt x="1424" y="364"/>
                  </a:lnTo>
                  <a:lnTo>
                    <a:pt x="1420" y="366"/>
                  </a:lnTo>
                  <a:lnTo>
                    <a:pt x="1418" y="370"/>
                  </a:lnTo>
                  <a:lnTo>
                    <a:pt x="1418" y="370"/>
                  </a:lnTo>
                  <a:lnTo>
                    <a:pt x="1414" y="374"/>
                  </a:lnTo>
                  <a:lnTo>
                    <a:pt x="1410" y="378"/>
                  </a:lnTo>
                  <a:lnTo>
                    <a:pt x="1404" y="380"/>
                  </a:lnTo>
                  <a:lnTo>
                    <a:pt x="1400" y="380"/>
                  </a:lnTo>
                  <a:lnTo>
                    <a:pt x="1396" y="378"/>
                  </a:lnTo>
                  <a:lnTo>
                    <a:pt x="1392" y="376"/>
                  </a:lnTo>
                  <a:lnTo>
                    <a:pt x="1394" y="374"/>
                  </a:lnTo>
                  <a:lnTo>
                    <a:pt x="1396" y="370"/>
                  </a:lnTo>
                  <a:lnTo>
                    <a:pt x="1396" y="370"/>
                  </a:lnTo>
                  <a:lnTo>
                    <a:pt x="1402" y="366"/>
                  </a:lnTo>
                  <a:lnTo>
                    <a:pt x="1406" y="360"/>
                  </a:lnTo>
                  <a:lnTo>
                    <a:pt x="1412" y="346"/>
                  </a:lnTo>
                  <a:lnTo>
                    <a:pt x="1414" y="332"/>
                  </a:lnTo>
                  <a:lnTo>
                    <a:pt x="1414" y="320"/>
                  </a:lnTo>
                  <a:lnTo>
                    <a:pt x="1414" y="320"/>
                  </a:lnTo>
                  <a:lnTo>
                    <a:pt x="1414" y="318"/>
                  </a:lnTo>
                  <a:lnTo>
                    <a:pt x="1416" y="316"/>
                  </a:lnTo>
                  <a:lnTo>
                    <a:pt x="1422" y="312"/>
                  </a:lnTo>
                  <a:lnTo>
                    <a:pt x="1440" y="304"/>
                  </a:lnTo>
                  <a:lnTo>
                    <a:pt x="1450" y="300"/>
                  </a:lnTo>
                  <a:lnTo>
                    <a:pt x="1458" y="296"/>
                  </a:lnTo>
                  <a:lnTo>
                    <a:pt x="1462" y="290"/>
                  </a:lnTo>
                  <a:lnTo>
                    <a:pt x="1462" y="286"/>
                  </a:lnTo>
                  <a:lnTo>
                    <a:pt x="1462" y="282"/>
                  </a:lnTo>
                  <a:lnTo>
                    <a:pt x="1462" y="282"/>
                  </a:lnTo>
                  <a:lnTo>
                    <a:pt x="1462" y="276"/>
                  </a:lnTo>
                  <a:lnTo>
                    <a:pt x="1464" y="270"/>
                  </a:lnTo>
                  <a:lnTo>
                    <a:pt x="1468" y="264"/>
                  </a:lnTo>
                  <a:lnTo>
                    <a:pt x="1476" y="260"/>
                  </a:lnTo>
                  <a:lnTo>
                    <a:pt x="1492" y="256"/>
                  </a:lnTo>
                  <a:lnTo>
                    <a:pt x="1508" y="256"/>
                  </a:lnTo>
                  <a:lnTo>
                    <a:pt x="1508" y="256"/>
                  </a:lnTo>
                  <a:lnTo>
                    <a:pt x="1512" y="254"/>
                  </a:lnTo>
                  <a:lnTo>
                    <a:pt x="1514" y="252"/>
                  </a:lnTo>
                  <a:lnTo>
                    <a:pt x="1514" y="248"/>
                  </a:lnTo>
                  <a:lnTo>
                    <a:pt x="1512" y="244"/>
                  </a:lnTo>
                  <a:lnTo>
                    <a:pt x="1508" y="240"/>
                  </a:lnTo>
                  <a:lnTo>
                    <a:pt x="1502" y="236"/>
                  </a:lnTo>
                  <a:lnTo>
                    <a:pt x="1496" y="234"/>
                  </a:lnTo>
                  <a:lnTo>
                    <a:pt x="1488" y="234"/>
                  </a:lnTo>
                  <a:lnTo>
                    <a:pt x="1488" y="234"/>
                  </a:lnTo>
                  <a:lnTo>
                    <a:pt x="1482" y="236"/>
                  </a:lnTo>
                  <a:lnTo>
                    <a:pt x="1476" y="238"/>
                  </a:lnTo>
                  <a:lnTo>
                    <a:pt x="1462" y="244"/>
                  </a:lnTo>
                  <a:lnTo>
                    <a:pt x="1452" y="250"/>
                  </a:lnTo>
                  <a:lnTo>
                    <a:pt x="1448" y="250"/>
                  </a:lnTo>
                  <a:lnTo>
                    <a:pt x="1444" y="248"/>
                  </a:lnTo>
                  <a:lnTo>
                    <a:pt x="1444" y="248"/>
                  </a:lnTo>
                  <a:lnTo>
                    <a:pt x="1442" y="244"/>
                  </a:lnTo>
                  <a:lnTo>
                    <a:pt x="1444" y="242"/>
                  </a:lnTo>
                  <a:lnTo>
                    <a:pt x="1448" y="238"/>
                  </a:lnTo>
                  <a:lnTo>
                    <a:pt x="1452" y="234"/>
                  </a:lnTo>
                  <a:lnTo>
                    <a:pt x="1466" y="228"/>
                  </a:lnTo>
                  <a:lnTo>
                    <a:pt x="1480" y="226"/>
                  </a:lnTo>
                  <a:lnTo>
                    <a:pt x="1480" y="226"/>
                  </a:lnTo>
                  <a:lnTo>
                    <a:pt x="1516" y="224"/>
                  </a:lnTo>
                  <a:lnTo>
                    <a:pt x="1536" y="220"/>
                  </a:lnTo>
                  <a:lnTo>
                    <a:pt x="1550" y="216"/>
                  </a:lnTo>
                  <a:lnTo>
                    <a:pt x="1550" y="216"/>
                  </a:lnTo>
                  <a:lnTo>
                    <a:pt x="1552" y="212"/>
                  </a:lnTo>
                  <a:lnTo>
                    <a:pt x="1550" y="210"/>
                  </a:lnTo>
                  <a:lnTo>
                    <a:pt x="1546" y="208"/>
                  </a:lnTo>
                  <a:lnTo>
                    <a:pt x="1540" y="206"/>
                  </a:lnTo>
                  <a:lnTo>
                    <a:pt x="1520" y="204"/>
                  </a:lnTo>
                  <a:lnTo>
                    <a:pt x="1500" y="204"/>
                  </a:lnTo>
                  <a:lnTo>
                    <a:pt x="1500" y="204"/>
                  </a:lnTo>
                  <a:lnTo>
                    <a:pt x="1486" y="204"/>
                  </a:lnTo>
                  <a:lnTo>
                    <a:pt x="1482" y="202"/>
                  </a:lnTo>
                  <a:lnTo>
                    <a:pt x="1482" y="200"/>
                  </a:lnTo>
                  <a:lnTo>
                    <a:pt x="1484" y="198"/>
                  </a:lnTo>
                  <a:lnTo>
                    <a:pt x="1490" y="198"/>
                  </a:lnTo>
                  <a:lnTo>
                    <a:pt x="1512" y="194"/>
                  </a:lnTo>
                  <a:lnTo>
                    <a:pt x="1512" y="194"/>
                  </a:lnTo>
                  <a:lnTo>
                    <a:pt x="1534" y="194"/>
                  </a:lnTo>
                  <a:lnTo>
                    <a:pt x="1546" y="190"/>
                  </a:lnTo>
                  <a:lnTo>
                    <a:pt x="1556" y="186"/>
                  </a:lnTo>
                  <a:lnTo>
                    <a:pt x="1572" y="182"/>
                  </a:lnTo>
                  <a:lnTo>
                    <a:pt x="1572" y="182"/>
                  </a:lnTo>
                  <a:lnTo>
                    <a:pt x="1580" y="182"/>
                  </a:lnTo>
                  <a:lnTo>
                    <a:pt x="1586" y="180"/>
                  </a:lnTo>
                  <a:lnTo>
                    <a:pt x="1594" y="174"/>
                  </a:lnTo>
                  <a:lnTo>
                    <a:pt x="1598" y="170"/>
                  </a:lnTo>
                  <a:lnTo>
                    <a:pt x="1602" y="168"/>
                  </a:lnTo>
                  <a:lnTo>
                    <a:pt x="1608" y="168"/>
                  </a:lnTo>
                  <a:lnTo>
                    <a:pt x="1608" y="168"/>
                  </a:lnTo>
                  <a:lnTo>
                    <a:pt x="1624" y="164"/>
                  </a:lnTo>
                  <a:lnTo>
                    <a:pt x="1644" y="156"/>
                  </a:lnTo>
                  <a:lnTo>
                    <a:pt x="1662" y="148"/>
                  </a:lnTo>
                  <a:lnTo>
                    <a:pt x="1666" y="144"/>
                  </a:lnTo>
                  <a:lnTo>
                    <a:pt x="1668" y="140"/>
                  </a:lnTo>
                  <a:lnTo>
                    <a:pt x="1668" y="140"/>
                  </a:lnTo>
                  <a:lnTo>
                    <a:pt x="1666" y="136"/>
                  </a:lnTo>
                  <a:lnTo>
                    <a:pt x="1658" y="132"/>
                  </a:lnTo>
                  <a:lnTo>
                    <a:pt x="1634" y="122"/>
                  </a:lnTo>
                  <a:lnTo>
                    <a:pt x="1602" y="116"/>
                  </a:lnTo>
                  <a:lnTo>
                    <a:pt x="1576" y="112"/>
                  </a:lnTo>
                  <a:lnTo>
                    <a:pt x="1576" y="112"/>
                  </a:lnTo>
                  <a:lnTo>
                    <a:pt x="1554" y="114"/>
                  </a:lnTo>
                  <a:lnTo>
                    <a:pt x="1536" y="118"/>
                  </a:lnTo>
                  <a:lnTo>
                    <a:pt x="1530" y="122"/>
                  </a:lnTo>
                  <a:lnTo>
                    <a:pt x="1524" y="126"/>
                  </a:lnTo>
                  <a:lnTo>
                    <a:pt x="1522" y="132"/>
                  </a:lnTo>
                  <a:lnTo>
                    <a:pt x="1520" y="138"/>
                  </a:lnTo>
                  <a:lnTo>
                    <a:pt x="1520" y="138"/>
                  </a:lnTo>
                  <a:lnTo>
                    <a:pt x="1518" y="144"/>
                  </a:lnTo>
                  <a:lnTo>
                    <a:pt x="1512" y="146"/>
                  </a:lnTo>
                  <a:lnTo>
                    <a:pt x="1506" y="146"/>
                  </a:lnTo>
                  <a:lnTo>
                    <a:pt x="1498" y="146"/>
                  </a:lnTo>
                  <a:lnTo>
                    <a:pt x="1480" y="142"/>
                  </a:lnTo>
                  <a:lnTo>
                    <a:pt x="1470" y="140"/>
                  </a:lnTo>
                  <a:lnTo>
                    <a:pt x="1464" y="142"/>
                  </a:lnTo>
                  <a:lnTo>
                    <a:pt x="1464" y="142"/>
                  </a:lnTo>
                  <a:lnTo>
                    <a:pt x="1458" y="144"/>
                  </a:lnTo>
                  <a:lnTo>
                    <a:pt x="1456" y="142"/>
                  </a:lnTo>
                  <a:lnTo>
                    <a:pt x="1452" y="138"/>
                  </a:lnTo>
                  <a:lnTo>
                    <a:pt x="1450" y="134"/>
                  </a:lnTo>
                  <a:lnTo>
                    <a:pt x="1448" y="132"/>
                  </a:lnTo>
                  <a:lnTo>
                    <a:pt x="1444" y="132"/>
                  </a:lnTo>
                  <a:lnTo>
                    <a:pt x="1440" y="132"/>
                  </a:lnTo>
                  <a:lnTo>
                    <a:pt x="1440" y="132"/>
                  </a:lnTo>
                  <a:lnTo>
                    <a:pt x="1428" y="140"/>
                  </a:lnTo>
                  <a:lnTo>
                    <a:pt x="1414" y="150"/>
                  </a:lnTo>
                  <a:lnTo>
                    <a:pt x="1400" y="160"/>
                  </a:lnTo>
                  <a:lnTo>
                    <a:pt x="1386" y="168"/>
                  </a:lnTo>
                  <a:lnTo>
                    <a:pt x="1386" y="168"/>
                  </a:lnTo>
                  <a:lnTo>
                    <a:pt x="1372" y="176"/>
                  </a:lnTo>
                  <a:lnTo>
                    <a:pt x="1360" y="186"/>
                  </a:lnTo>
                  <a:lnTo>
                    <a:pt x="1350" y="194"/>
                  </a:lnTo>
                  <a:lnTo>
                    <a:pt x="1346" y="196"/>
                  </a:lnTo>
                  <a:lnTo>
                    <a:pt x="1340" y="198"/>
                  </a:lnTo>
                  <a:lnTo>
                    <a:pt x="1340" y="198"/>
                  </a:lnTo>
                  <a:lnTo>
                    <a:pt x="1338" y="198"/>
                  </a:lnTo>
                  <a:lnTo>
                    <a:pt x="1338" y="198"/>
                  </a:lnTo>
                  <a:lnTo>
                    <a:pt x="1340" y="192"/>
                  </a:lnTo>
                  <a:lnTo>
                    <a:pt x="1352" y="178"/>
                  </a:lnTo>
                  <a:lnTo>
                    <a:pt x="1386" y="142"/>
                  </a:lnTo>
                  <a:lnTo>
                    <a:pt x="1386" y="142"/>
                  </a:lnTo>
                  <a:lnTo>
                    <a:pt x="1392" y="134"/>
                  </a:lnTo>
                  <a:lnTo>
                    <a:pt x="1394" y="128"/>
                  </a:lnTo>
                  <a:lnTo>
                    <a:pt x="1396" y="120"/>
                  </a:lnTo>
                  <a:lnTo>
                    <a:pt x="1394" y="114"/>
                  </a:lnTo>
                  <a:lnTo>
                    <a:pt x="1390" y="108"/>
                  </a:lnTo>
                  <a:lnTo>
                    <a:pt x="1386" y="104"/>
                  </a:lnTo>
                  <a:lnTo>
                    <a:pt x="1378" y="102"/>
                  </a:lnTo>
                  <a:lnTo>
                    <a:pt x="1368" y="102"/>
                  </a:lnTo>
                  <a:lnTo>
                    <a:pt x="1368" y="102"/>
                  </a:lnTo>
                  <a:lnTo>
                    <a:pt x="1360" y="104"/>
                  </a:lnTo>
                  <a:lnTo>
                    <a:pt x="1354" y="106"/>
                  </a:lnTo>
                  <a:lnTo>
                    <a:pt x="1350" y="110"/>
                  </a:lnTo>
                  <a:lnTo>
                    <a:pt x="1348" y="112"/>
                  </a:lnTo>
                  <a:lnTo>
                    <a:pt x="1342" y="120"/>
                  </a:lnTo>
                  <a:lnTo>
                    <a:pt x="1338" y="122"/>
                  </a:lnTo>
                  <a:lnTo>
                    <a:pt x="1334" y="124"/>
                  </a:lnTo>
                  <a:lnTo>
                    <a:pt x="1334" y="124"/>
                  </a:lnTo>
                  <a:lnTo>
                    <a:pt x="1314" y="132"/>
                  </a:lnTo>
                  <a:lnTo>
                    <a:pt x="1286" y="142"/>
                  </a:lnTo>
                  <a:lnTo>
                    <a:pt x="1260" y="152"/>
                  </a:lnTo>
                  <a:lnTo>
                    <a:pt x="1252" y="154"/>
                  </a:lnTo>
                  <a:lnTo>
                    <a:pt x="1248" y="152"/>
                  </a:lnTo>
                  <a:lnTo>
                    <a:pt x="1248" y="152"/>
                  </a:lnTo>
                  <a:lnTo>
                    <a:pt x="1248" y="152"/>
                  </a:lnTo>
                  <a:lnTo>
                    <a:pt x="1248" y="150"/>
                  </a:lnTo>
                  <a:lnTo>
                    <a:pt x="1248" y="148"/>
                  </a:lnTo>
                  <a:lnTo>
                    <a:pt x="1254" y="142"/>
                  </a:lnTo>
                  <a:lnTo>
                    <a:pt x="1274" y="132"/>
                  </a:lnTo>
                  <a:lnTo>
                    <a:pt x="1294" y="124"/>
                  </a:lnTo>
                  <a:lnTo>
                    <a:pt x="1302" y="120"/>
                  </a:lnTo>
                  <a:lnTo>
                    <a:pt x="1304" y="116"/>
                  </a:lnTo>
                  <a:lnTo>
                    <a:pt x="1304" y="116"/>
                  </a:lnTo>
                  <a:lnTo>
                    <a:pt x="1300" y="114"/>
                  </a:lnTo>
                  <a:lnTo>
                    <a:pt x="1290" y="112"/>
                  </a:lnTo>
                  <a:lnTo>
                    <a:pt x="1260" y="110"/>
                  </a:lnTo>
                  <a:lnTo>
                    <a:pt x="1224" y="110"/>
                  </a:lnTo>
                  <a:lnTo>
                    <a:pt x="1194" y="112"/>
                  </a:lnTo>
                  <a:lnTo>
                    <a:pt x="1194" y="112"/>
                  </a:lnTo>
                  <a:lnTo>
                    <a:pt x="1164" y="118"/>
                  </a:lnTo>
                  <a:lnTo>
                    <a:pt x="1134" y="126"/>
                  </a:lnTo>
                  <a:lnTo>
                    <a:pt x="1110" y="130"/>
                  </a:lnTo>
                  <a:lnTo>
                    <a:pt x="1102" y="130"/>
                  </a:lnTo>
                  <a:lnTo>
                    <a:pt x="1100" y="128"/>
                  </a:lnTo>
                  <a:lnTo>
                    <a:pt x="1098" y="128"/>
                  </a:lnTo>
                  <a:lnTo>
                    <a:pt x="1098" y="128"/>
                  </a:lnTo>
                  <a:lnTo>
                    <a:pt x="1100" y="126"/>
                  </a:lnTo>
                  <a:lnTo>
                    <a:pt x="1102" y="124"/>
                  </a:lnTo>
                  <a:lnTo>
                    <a:pt x="1110" y="120"/>
                  </a:lnTo>
                  <a:lnTo>
                    <a:pt x="1138" y="112"/>
                  </a:lnTo>
                  <a:lnTo>
                    <a:pt x="1172" y="104"/>
                  </a:lnTo>
                  <a:lnTo>
                    <a:pt x="1204" y="100"/>
                  </a:lnTo>
                  <a:lnTo>
                    <a:pt x="1204" y="100"/>
                  </a:lnTo>
                  <a:lnTo>
                    <a:pt x="1236" y="98"/>
                  </a:lnTo>
                  <a:lnTo>
                    <a:pt x="1270" y="98"/>
                  </a:lnTo>
                  <a:lnTo>
                    <a:pt x="1306" y="96"/>
                  </a:lnTo>
                  <a:lnTo>
                    <a:pt x="1320" y="94"/>
                  </a:lnTo>
                  <a:lnTo>
                    <a:pt x="1332" y="92"/>
                  </a:lnTo>
                  <a:lnTo>
                    <a:pt x="1332" y="92"/>
                  </a:lnTo>
                  <a:lnTo>
                    <a:pt x="1354" y="84"/>
                  </a:lnTo>
                  <a:lnTo>
                    <a:pt x="1378" y="80"/>
                  </a:lnTo>
                  <a:lnTo>
                    <a:pt x="1396" y="76"/>
                  </a:lnTo>
                  <a:lnTo>
                    <a:pt x="1404" y="74"/>
                  </a:lnTo>
                  <a:lnTo>
                    <a:pt x="1408" y="70"/>
                  </a:lnTo>
                  <a:lnTo>
                    <a:pt x="1408" y="70"/>
                  </a:lnTo>
                  <a:lnTo>
                    <a:pt x="1408" y="66"/>
                  </a:lnTo>
                  <a:lnTo>
                    <a:pt x="1406" y="64"/>
                  </a:lnTo>
                  <a:lnTo>
                    <a:pt x="1400" y="60"/>
                  </a:lnTo>
                  <a:lnTo>
                    <a:pt x="1392" y="56"/>
                  </a:lnTo>
                  <a:lnTo>
                    <a:pt x="1374" y="52"/>
                  </a:lnTo>
                  <a:lnTo>
                    <a:pt x="1356" y="50"/>
                  </a:lnTo>
                  <a:lnTo>
                    <a:pt x="1356" y="50"/>
                  </a:lnTo>
                  <a:lnTo>
                    <a:pt x="1342" y="50"/>
                  </a:lnTo>
                  <a:lnTo>
                    <a:pt x="1330" y="48"/>
                  </a:lnTo>
                  <a:lnTo>
                    <a:pt x="1322" y="44"/>
                  </a:lnTo>
                  <a:lnTo>
                    <a:pt x="1320" y="42"/>
                  </a:lnTo>
                  <a:lnTo>
                    <a:pt x="1320" y="38"/>
                  </a:lnTo>
                  <a:lnTo>
                    <a:pt x="1320" y="38"/>
                  </a:lnTo>
                  <a:lnTo>
                    <a:pt x="1318" y="36"/>
                  </a:lnTo>
                  <a:lnTo>
                    <a:pt x="1316" y="32"/>
                  </a:lnTo>
                  <a:lnTo>
                    <a:pt x="1304" y="28"/>
                  </a:lnTo>
                  <a:lnTo>
                    <a:pt x="1294" y="24"/>
                  </a:lnTo>
                  <a:lnTo>
                    <a:pt x="1290" y="22"/>
                  </a:lnTo>
                  <a:lnTo>
                    <a:pt x="1286" y="20"/>
                  </a:lnTo>
                  <a:lnTo>
                    <a:pt x="1286" y="20"/>
                  </a:lnTo>
                  <a:lnTo>
                    <a:pt x="1282" y="18"/>
                  </a:lnTo>
                  <a:lnTo>
                    <a:pt x="1276" y="16"/>
                  </a:lnTo>
                  <a:lnTo>
                    <a:pt x="1252" y="14"/>
                  </a:lnTo>
                  <a:lnTo>
                    <a:pt x="1226" y="14"/>
                  </a:lnTo>
                  <a:lnTo>
                    <a:pt x="1216" y="12"/>
                  </a:lnTo>
                  <a:lnTo>
                    <a:pt x="1210" y="10"/>
                  </a:lnTo>
                  <a:lnTo>
                    <a:pt x="1210" y="10"/>
                  </a:lnTo>
                  <a:lnTo>
                    <a:pt x="1196" y="4"/>
                  </a:lnTo>
                  <a:lnTo>
                    <a:pt x="1176" y="0"/>
                  </a:lnTo>
                  <a:lnTo>
                    <a:pt x="1152" y="0"/>
                  </a:lnTo>
                  <a:lnTo>
                    <a:pt x="1128" y="0"/>
                  </a:lnTo>
                  <a:lnTo>
                    <a:pt x="1128" y="0"/>
                  </a:lnTo>
                  <a:lnTo>
                    <a:pt x="1064" y="2"/>
                  </a:lnTo>
                  <a:lnTo>
                    <a:pt x="1014" y="4"/>
                  </a:lnTo>
                  <a:lnTo>
                    <a:pt x="1014" y="4"/>
                  </a:lnTo>
                  <a:lnTo>
                    <a:pt x="994" y="8"/>
                  </a:lnTo>
                  <a:lnTo>
                    <a:pt x="984" y="10"/>
                  </a:lnTo>
                  <a:lnTo>
                    <a:pt x="974" y="10"/>
                  </a:lnTo>
                  <a:lnTo>
                    <a:pt x="974" y="10"/>
                  </a:lnTo>
                  <a:lnTo>
                    <a:pt x="964" y="10"/>
                  </a:lnTo>
                  <a:lnTo>
                    <a:pt x="954" y="12"/>
                  </a:lnTo>
                  <a:lnTo>
                    <a:pt x="950" y="14"/>
                  </a:lnTo>
                  <a:lnTo>
                    <a:pt x="946" y="16"/>
                  </a:lnTo>
                  <a:lnTo>
                    <a:pt x="946" y="20"/>
                  </a:lnTo>
                  <a:lnTo>
                    <a:pt x="948" y="22"/>
                  </a:lnTo>
                  <a:lnTo>
                    <a:pt x="948" y="22"/>
                  </a:lnTo>
                  <a:lnTo>
                    <a:pt x="952" y="28"/>
                  </a:lnTo>
                  <a:lnTo>
                    <a:pt x="950" y="32"/>
                  </a:lnTo>
                  <a:lnTo>
                    <a:pt x="948" y="36"/>
                  </a:lnTo>
                  <a:lnTo>
                    <a:pt x="944" y="38"/>
                  </a:lnTo>
                  <a:lnTo>
                    <a:pt x="938" y="40"/>
                  </a:lnTo>
                  <a:lnTo>
                    <a:pt x="932" y="38"/>
                  </a:lnTo>
                  <a:lnTo>
                    <a:pt x="930" y="36"/>
                  </a:lnTo>
                  <a:lnTo>
                    <a:pt x="928" y="32"/>
                  </a:lnTo>
                  <a:lnTo>
                    <a:pt x="928" y="32"/>
                  </a:lnTo>
                  <a:lnTo>
                    <a:pt x="928" y="28"/>
                  </a:lnTo>
                  <a:lnTo>
                    <a:pt x="924" y="26"/>
                  </a:lnTo>
                  <a:lnTo>
                    <a:pt x="920" y="22"/>
                  </a:lnTo>
                  <a:lnTo>
                    <a:pt x="912" y="20"/>
                  </a:lnTo>
                  <a:lnTo>
                    <a:pt x="898" y="20"/>
                  </a:lnTo>
                  <a:lnTo>
                    <a:pt x="892" y="22"/>
                  </a:lnTo>
                  <a:lnTo>
                    <a:pt x="886" y="24"/>
                  </a:lnTo>
                  <a:lnTo>
                    <a:pt x="886" y="24"/>
                  </a:lnTo>
                  <a:lnTo>
                    <a:pt x="880" y="26"/>
                  </a:lnTo>
                  <a:lnTo>
                    <a:pt x="872" y="26"/>
                  </a:lnTo>
                  <a:lnTo>
                    <a:pt x="848" y="24"/>
                  </a:lnTo>
                  <a:lnTo>
                    <a:pt x="826" y="22"/>
                  </a:lnTo>
                  <a:lnTo>
                    <a:pt x="818" y="22"/>
                  </a:lnTo>
                  <a:lnTo>
                    <a:pt x="812" y="24"/>
                  </a:lnTo>
                  <a:lnTo>
                    <a:pt x="812" y="24"/>
                  </a:lnTo>
                  <a:lnTo>
                    <a:pt x="808" y="28"/>
                  </a:lnTo>
                  <a:lnTo>
                    <a:pt x="798" y="30"/>
                  </a:lnTo>
                  <a:lnTo>
                    <a:pt x="772" y="32"/>
                  </a:lnTo>
                  <a:lnTo>
                    <a:pt x="744" y="34"/>
                  </a:lnTo>
                  <a:lnTo>
                    <a:pt x="722" y="34"/>
                  </a:lnTo>
                  <a:lnTo>
                    <a:pt x="722" y="34"/>
                  </a:lnTo>
                  <a:lnTo>
                    <a:pt x="718" y="36"/>
                  </a:lnTo>
                  <a:lnTo>
                    <a:pt x="720" y="38"/>
                  </a:lnTo>
                  <a:lnTo>
                    <a:pt x="730" y="46"/>
                  </a:lnTo>
                  <a:lnTo>
                    <a:pt x="744" y="52"/>
                  </a:lnTo>
                  <a:lnTo>
                    <a:pt x="748" y="56"/>
                  </a:lnTo>
                  <a:lnTo>
                    <a:pt x="750" y="60"/>
                  </a:lnTo>
                  <a:lnTo>
                    <a:pt x="750" y="60"/>
                  </a:lnTo>
                  <a:lnTo>
                    <a:pt x="746" y="62"/>
                  </a:lnTo>
                  <a:lnTo>
                    <a:pt x="740" y="64"/>
                  </a:lnTo>
                  <a:lnTo>
                    <a:pt x="720" y="64"/>
                  </a:lnTo>
                  <a:lnTo>
                    <a:pt x="712" y="66"/>
                  </a:lnTo>
                  <a:lnTo>
                    <a:pt x="704" y="66"/>
                  </a:lnTo>
                  <a:lnTo>
                    <a:pt x="700" y="70"/>
                  </a:lnTo>
                  <a:lnTo>
                    <a:pt x="700" y="72"/>
                  </a:lnTo>
                  <a:lnTo>
                    <a:pt x="702" y="74"/>
                  </a:lnTo>
                  <a:lnTo>
                    <a:pt x="702" y="74"/>
                  </a:lnTo>
                  <a:lnTo>
                    <a:pt x="708" y="80"/>
                  </a:lnTo>
                  <a:lnTo>
                    <a:pt x="714" y="84"/>
                  </a:lnTo>
                  <a:lnTo>
                    <a:pt x="734" y="94"/>
                  </a:lnTo>
                  <a:lnTo>
                    <a:pt x="754" y="106"/>
                  </a:lnTo>
                  <a:lnTo>
                    <a:pt x="764" y="110"/>
                  </a:lnTo>
                  <a:lnTo>
                    <a:pt x="770" y="118"/>
                  </a:lnTo>
                  <a:lnTo>
                    <a:pt x="770" y="118"/>
                  </a:lnTo>
                  <a:lnTo>
                    <a:pt x="776" y="124"/>
                  </a:lnTo>
                  <a:lnTo>
                    <a:pt x="776" y="126"/>
                  </a:lnTo>
                  <a:lnTo>
                    <a:pt x="774" y="128"/>
                  </a:lnTo>
                  <a:lnTo>
                    <a:pt x="768" y="126"/>
                  </a:lnTo>
                  <a:lnTo>
                    <a:pt x="752" y="120"/>
                  </a:lnTo>
                  <a:lnTo>
                    <a:pt x="736" y="112"/>
                  </a:lnTo>
                  <a:lnTo>
                    <a:pt x="736" y="112"/>
                  </a:lnTo>
                  <a:lnTo>
                    <a:pt x="728" y="106"/>
                  </a:lnTo>
                  <a:lnTo>
                    <a:pt x="718" y="104"/>
                  </a:lnTo>
                  <a:lnTo>
                    <a:pt x="702" y="100"/>
                  </a:lnTo>
                  <a:lnTo>
                    <a:pt x="686" y="96"/>
                  </a:lnTo>
                  <a:lnTo>
                    <a:pt x="680" y="92"/>
                  </a:lnTo>
                  <a:lnTo>
                    <a:pt x="674" y="88"/>
                  </a:lnTo>
                  <a:lnTo>
                    <a:pt x="674" y="88"/>
                  </a:lnTo>
                  <a:lnTo>
                    <a:pt x="668" y="84"/>
                  </a:lnTo>
                  <a:lnTo>
                    <a:pt x="660" y="80"/>
                  </a:lnTo>
                  <a:lnTo>
                    <a:pt x="638" y="72"/>
                  </a:lnTo>
                  <a:lnTo>
                    <a:pt x="616" y="70"/>
                  </a:lnTo>
                  <a:lnTo>
                    <a:pt x="608" y="70"/>
                  </a:lnTo>
                  <a:lnTo>
                    <a:pt x="602" y="72"/>
                  </a:lnTo>
                  <a:lnTo>
                    <a:pt x="602" y="72"/>
                  </a:lnTo>
                  <a:lnTo>
                    <a:pt x="600" y="74"/>
                  </a:lnTo>
                  <a:lnTo>
                    <a:pt x="598" y="76"/>
                  </a:lnTo>
                  <a:lnTo>
                    <a:pt x="600" y="80"/>
                  </a:lnTo>
                  <a:lnTo>
                    <a:pt x="606" y="86"/>
                  </a:lnTo>
                  <a:lnTo>
                    <a:pt x="612" y="92"/>
                  </a:lnTo>
                  <a:lnTo>
                    <a:pt x="628" y="102"/>
                  </a:lnTo>
                  <a:lnTo>
                    <a:pt x="632" y="106"/>
                  </a:lnTo>
                  <a:lnTo>
                    <a:pt x="634" y="110"/>
                  </a:lnTo>
                  <a:lnTo>
                    <a:pt x="634" y="110"/>
                  </a:lnTo>
                  <a:lnTo>
                    <a:pt x="634" y="114"/>
                  </a:lnTo>
                  <a:lnTo>
                    <a:pt x="630" y="114"/>
                  </a:lnTo>
                  <a:lnTo>
                    <a:pt x="618" y="114"/>
                  </a:lnTo>
                  <a:lnTo>
                    <a:pt x="606" y="112"/>
                  </a:lnTo>
                  <a:lnTo>
                    <a:pt x="600" y="112"/>
                  </a:lnTo>
                  <a:lnTo>
                    <a:pt x="596" y="112"/>
                  </a:lnTo>
                  <a:lnTo>
                    <a:pt x="596" y="112"/>
                  </a:lnTo>
                  <a:lnTo>
                    <a:pt x="594" y="112"/>
                  </a:lnTo>
                  <a:lnTo>
                    <a:pt x="588" y="110"/>
                  </a:lnTo>
                  <a:lnTo>
                    <a:pt x="576" y="100"/>
                  </a:lnTo>
                  <a:lnTo>
                    <a:pt x="560" y="90"/>
                  </a:lnTo>
                  <a:lnTo>
                    <a:pt x="554" y="86"/>
                  </a:lnTo>
                  <a:lnTo>
                    <a:pt x="546" y="84"/>
                  </a:lnTo>
                  <a:lnTo>
                    <a:pt x="546" y="84"/>
                  </a:lnTo>
                  <a:lnTo>
                    <a:pt x="542" y="86"/>
                  </a:lnTo>
                  <a:lnTo>
                    <a:pt x="540" y="88"/>
                  </a:lnTo>
                  <a:lnTo>
                    <a:pt x="538" y="90"/>
                  </a:lnTo>
                  <a:lnTo>
                    <a:pt x="540" y="94"/>
                  </a:lnTo>
                  <a:lnTo>
                    <a:pt x="542" y="106"/>
                  </a:lnTo>
                  <a:lnTo>
                    <a:pt x="544" y="120"/>
                  </a:lnTo>
                  <a:lnTo>
                    <a:pt x="544" y="120"/>
                  </a:lnTo>
                  <a:lnTo>
                    <a:pt x="544" y="126"/>
                  </a:lnTo>
                  <a:lnTo>
                    <a:pt x="540" y="132"/>
                  </a:lnTo>
                  <a:lnTo>
                    <a:pt x="534" y="138"/>
                  </a:lnTo>
                  <a:lnTo>
                    <a:pt x="530" y="142"/>
                  </a:lnTo>
                  <a:lnTo>
                    <a:pt x="526" y="144"/>
                  </a:lnTo>
                  <a:lnTo>
                    <a:pt x="522" y="144"/>
                  </a:lnTo>
                  <a:lnTo>
                    <a:pt x="520" y="142"/>
                  </a:lnTo>
                  <a:lnTo>
                    <a:pt x="522" y="138"/>
                  </a:lnTo>
                  <a:lnTo>
                    <a:pt x="522" y="138"/>
                  </a:lnTo>
                  <a:lnTo>
                    <a:pt x="524" y="132"/>
                  </a:lnTo>
                  <a:lnTo>
                    <a:pt x="526" y="124"/>
                  </a:lnTo>
                  <a:lnTo>
                    <a:pt x="526" y="116"/>
                  </a:lnTo>
                  <a:lnTo>
                    <a:pt x="524" y="108"/>
                  </a:lnTo>
                  <a:lnTo>
                    <a:pt x="522" y="98"/>
                  </a:lnTo>
                  <a:lnTo>
                    <a:pt x="518" y="92"/>
                  </a:lnTo>
                  <a:lnTo>
                    <a:pt x="514" y="86"/>
                  </a:lnTo>
                  <a:lnTo>
                    <a:pt x="508" y="82"/>
                  </a:lnTo>
                  <a:lnTo>
                    <a:pt x="508" y="82"/>
                  </a:lnTo>
                  <a:lnTo>
                    <a:pt x="500" y="80"/>
                  </a:lnTo>
                  <a:lnTo>
                    <a:pt x="490" y="82"/>
                  </a:lnTo>
                  <a:lnTo>
                    <a:pt x="468" y="86"/>
                  </a:lnTo>
                  <a:lnTo>
                    <a:pt x="444" y="92"/>
                  </a:lnTo>
                  <a:lnTo>
                    <a:pt x="434" y="94"/>
                  </a:lnTo>
                  <a:lnTo>
                    <a:pt x="424" y="96"/>
                  </a:lnTo>
                  <a:lnTo>
                    <a:pt x="424" y="96"/>
                  </a:lnTo>
                  <a:lnTo>
                    <a:pt x="406" y="96"/>
                  </a:lnTo>
                  <a:lnTo>
                    <a:pt x="392" y="100"/>
                  </a:lnTo>
                  <a:lnTo>
                    <a:pt x="388" y="102"/>
                  </a:lnTo>
                  <a:lnTo>
                    <a:pt x="386" y="106"/>
                  </a:lnTo>
                  <a:lnTo>
                    <a:pt x="386" y="108"/>
                  </a:lnTo>
                  <a:lnTo>
                    <a:pt x="392" y="112"/>
                  </a:lnTo>
                  <a:lnTo>
                    <a:pt x="392" y="112"/>
                  </a:lnTo>
                  <a:lnTo>
                    <a:pt x="396" y="116"/>
                  </a:lnTo>
                  <a:lnTo>
                    <a:pt x="400" y="120"/>
                  </a:lnTo>
                  <a:lnTo>
                    <a:pt x="398" y="122"/>
                  </a:lnTo>
                  <a:lnTo>
                    <a:pt x="396" y="124"/>
                  </a:lnTo>
                  <a:lnTo>
                    <a:pt x="392" y="124"/>
                  </a:lnTo>
                  <a:lnTo>
                    <a:pt x="386" y="124"/>
                  </a:lnTo>
                  <a:lnTo>
                    <a:pt x="380" y="122"/>
                  </a:lnTo>
                  <a:lnTo>
                    <a:pt x="374" y="118"/>
                  </a:lnTo>
                  <a:lnTo>
                    <a:pt x="374" y="118"/>
                  </a:lnTo>
                  <a:lnTo>
                    <a:pt x="366" y="114"/>
                  </a:lnTo>
                  <a:lnTo>
                    <a:pt x="356" y="114"/>
                  </a:lnTo>
                  <a:lnTo>
                    <a:pt x="344" y="114"/>
                  </a:lnTo>
                  <a:lnTo>
                    <a:pt x="332" y="114"/>
                  </a:lnTo>
                  <a:lnTo>
                    <a:pt x="322" y="118"/>
                  </a:lnTo>
                  <a:lnTo>
                    <a:pt x="314" y="120"/>
                  </a:lnTo>
                  <a:lnTo>
                    <a:pt x="310" y="124"/>
                  </a:lnTo>
                  <a:lnTo>
                    <a:pt x="310" y="124"/>
                  </a:lnTo>
                  <a:lnTo>
                    <a:pt x="312" y="126"/>
                  </a:lnTo>
                  <a:lnTo>
                    <a:pt x="312" y="126"/>
                  </a:lnTo>
                  <a:lnTo>
                    <a:pt x="316" y="130"/>
                  </a:lnTo>
                  <a:lnTo>
                    <a:pt x="320" y="134"/>
                  </a:lnTo>
                  <a:lnTo>
                    <a:pt x="324" y="146"/>
                  </a:lnTo>
                  <a:lnTo>
                    <a:pt x="324" y="158"/>
                  </a:lnTo>
                  <a:lnTo>
                    <a:pt x="322" y="164"/>
                  </a:lnTo>
                  <a:lnTo>
                    <a:pt x="320" y="168"/>
                  </a:lnTo>
                  <a:lnTo>
                    <a:pt x="320" y="168"/>
                  </a:lnTo>
                  <a:lnTo>
                    <a:pt x="316" y="170"/>
                  </a:lnTo>
                  <a:lnTo>
                    <a:pt x="312" y="170"/>
                  </a:lnTo>
                  <a:lnTo>
                    <a:pt x="300" y="166"/>
                  </a:lnTo>
                  <a:lnTo>
                    <a:pt x="284" y="162"/>
                  </a:lnTo>
                  <a:lnTo>
                    <a:pt x="276" y="160"/>
                  </a:lnTo>
                  <a:lnTo>
                    <a:pt x="268" y="160"/>
                  </a:lnTo>
                  <a:lnTo>
                    <a:pt x="268" y="160"/>
                  </a:lnTo>
                  <a:lnTo>
                    <a:pt x="256" y="162"/>
                  </a:lnTo>
                  <a:lnTo>
                    <a:pt x="238" y="168"/>
                  </a:lnTo>
                  <a:lnTo>
                    <a:pt x="196" y="188"/>
                  </a:lnTo>
                  <a:lnTo>
                    <a:pt x="176" y="200"/>
                  </a:lnTo>
                  <a:lnTo>
                    <a:pt x="158" y="210"/>
                  </a:lnTo>
                  <a:lnTo>
                    <a:pt x="148" y="220"/>
                  </a:lnTo>
                  <a:lnTo>
                    <a:pt x="144" y="224"/>
                  </a:lnTo>
                  <a:lnTo>
                    <a:pt x="144" y="226"/>
                  </a:lnTo>
                  <a:lnTo>
                    <a:pt x="144" y="226"/>
                  </a:lnTo>
                  <a:lnTo>
                    <a:pt x="148" y="230"/>
                  </a:lnTo>
                  <a:lnTo>
                    <a:pt x="156" y="232"/>
                  </a:lnTo>
                  <a:lnTo>
                    <a:pt x="176" y="234"/>
                  </a:lnTo>
                  <a:lnTo>
                    <a:pt x="196" y="234"/>
                  </a:lnTo>
                  <a:lnTo>
                    <a:pt x="204" y="234"/>
                  </a:lnTo>
                  <a:lnTo>
                    <a:pt x="212" y="236"/>
                  </a:lnTo>
                  <a:lnTo>
                    <a:pt x="212" y="236"/>
                  </a:lnTo>
                  <a:lnTo>
                    <a:pt x="216" y="240"/>
                  </a:lnTo>
                  <a:lnTo>
                    <a:pt x="216" y="246"/>
                  </a:lnTo>
                  <a:lnTo>
                    <a:pt x="216" y="254"/>
                  </a:lnTo>
                  <a:lnTo>
                    <a:pt x="212" y="260"/>
                  </a:lnTo>
                  <a:lnTo>
                    <a:pt x="202" y="276"/>
                  </a:lnTo>
                  <a:lnTo>
                    <a:pt x="188" y="286"/>
                  </a:lnTo>
                  <a:lnTo>
                    <a:pt x="188" y="286"/>
                  </a:lnTo>
                  <a:lnTo>
                    <a:pt x="180" y="290"/>
                  </a:lnTo>
                  <a:lnTo>
                    <a:pt x="168" y="292"/>
                  </a:lnTo>
                  <a:lnTo>
                    <a:pt x="140" y="294"/>
                  </a:lnTo>
                  <a:lnTo>
                    <a:pt x="116" y="296"/>
                  </a:lnTo>
                  <a:lnTo>
                    <a:pt x="106" y="298"/>
                  </a:lnTo>
                  <a:lnTo>
                    <a:pt x="104" y="300"/>
                  </a:lnTo>
                  <a:lnTo>
                    <a:pt x="104" y="302"/>
                  </a:lnTo>
                  <a:lnTo>
                    <a:pt x="104" y="302"/>
                  </a:lnTo>
                  <a:lnTo>
                    <a:pt x="102" y="304"/>
                  </a:lnTo>
                  <a:lnTo>
                    <a:pt x="98" y="308"/>
                  </a:lnTo>
                  <a:lnTo>
                    <a:pt x="86" y="312"/>
                  </a:lnTo>
                  <a:lnTo>
                    <a:pt x="50" y="318"/>
                  </a:lnTo>
                  <a:lnTo>
                    <a:pt x="32" y="324"/>
                  </a:lnTo>
                  <a:lnTo>
                    <a:pt x="16" y="328"/>
                  </a:lnTo>
                  <a:lnTo>
                    <a:pt x="4" y="334"/>
                  </a:lnTo>
                  <a:lnTo>
                    <a:pt x="0" y="338"/>
                  </a:lnTo>
                  <a:lnTo>
                    <a:pt x="0" y="342"/>
                  </a:lnTo>
                  <a:lnTo>
                    <a:pt x="0" y="342"/>
                  </a:lnTo>
                  <a:lnTo>
                    <a:pt x="0" y="348"/>
                  </a:lnTo>
                  <a:lnTo>
                    <a:pt x="4" y="354"/>
                  </a:lnTo>
                  <a:lnTo>
                    <a:pt x="8" y="360"/>
                  </a:lnTo>
                  <a:lnTo>
                    <a:pt x="16" y="362"/>
                  </a:lnTo>
                  <a:lnTo>
                    <a:pt x="16" y="362"/>
                  </a:lnTo>
                  <a:lnTo>
                    <a:pt x="28" y="364"/>
                  </a:lnTo>
                  <a:lnTo>
                    <a:pt x="38" y="364"/>
                  </a:lnTo>
                  <a:lnTo>
                    <a:pt x="50" y="368"/>
                  </a:lnTo>
                  <a:lnTo>
                    <a:pt x="56" y="370"/>
                  </a:lnTo>
                  <a:lnTo>
                    <a:pt x="60" y="376"/>
                  </a:lnTo>
                  <a:lnTo>
                    <a:pt x="60" y="376"/>
                  </a:lnTo>
                  <a:lnTo>
                    <a:pt x="66" y="380"/>
                  </a:lnTo>
                  <a:lnTo>
                    <a:pt x="74" y="384"/>
                  </a:lnTo>
                  <a:lnTo>
                    <a:pt x="84" y="386"/>
                  </a:lnTo>
                  <a:lnTo>
                    <a:pt x="94" y="388"/>
                  </a:lnTo>
                  <a:lnTo>
                    <a:pt x="114" y="386"/>
                  </a:lnTo>
                  <a:lnTo>
                    <a:pt x="134" y="382"/>
                  </a:lnTo>
                  <a:lnTo>
                    <a:pt x="134" y="382"/>
                  </a:lnTo>
                  <a:lnTo>
                    <a:pt x="144" y="378"/>
                  </a:lnTo>
                  <a:lnTo>
                    <a:pt x="152" y="378"/>
                  </a:lnTo>
                  <a:lnTo>
                    <a:pt x="160" y="378"/>
                  </a:lnTo>
                  <a:lnTo>
                    <a:pt x="166" y="380"/>
                  </a:lnTo>
                  <a:lnTo>
                    <a:pt x="172" y="384"/>
                  </a:lnTo>
                  <a:lnTo>
                    <a:pt x="174" y="388"/>
                  </a:lnTo>
                  <a:lnTo>
                    <a:pt x="178" y="392"/>
                  </a:lnTo>
                  <a:lnTo>
                    <a:pt x="178" y="398"/>
                  </a:lnTo>
                  <a:lnTo>
                    <a:pt x="178" y="398"/>
                  </a:lnTo>
                  <a:lnTo>
                    <a:pt x="176" y="400"/>
                  </a:lnTo>
                  <a:lnTo>
                    <a:pt x="176" y="402"/>
                  </a:lnTo>
                  <a:lnTo>
                    <a:pt x="168" y="402"/>
                  </a:lnTo>
                  <a:lnTo>
                    <a:pt x="148" y="402"/>
                  </a:lnTo>
                  <a:lnTo>
                    <a:pt x="122" y="398"/>
                  </a:lnTo>
                  <a:lnTo>
                    <a:pt x="112" y="400"/>
                  </a:lnTo>
                  <a:lnTo>
                    <a:pt x="104" y="402"/>
                  </a:lnTo>
                  <a:lnTo>
                    <a:pt x="104" y="402"/>
                  </a:lnTo>
                  <a:lnTo>
                    <a:pt x="96" y="406"/>
                  </a:lnTo>
                  <a:lnTo>
                    <a:pt x="86" y="406"/>
                  </a:lnTo>
                  <a:lnTo>
                    <a:pt x="64" y="408"/>
                  </a:lnTo>
                  <a:lnTo>
                    <a:pt x="44" y="410"/>
                  </a:lnTo>
                  <a:lnTo>
                    <a:pt x="38" y="412"/>
                  </a:lnTo>
                  <a:lnTo>
                    <a:pt x="38" y="414"/>
                  </a:lnTo>
                  <a:lnTo>
                    <a:pt x="38" y="414"/>
                  </a:lnTo>
                  <a:lnTo>
                    <a:pt x="38" y="414"/>
                  </a:lnTo>
                  <a:lnTo>
                    <a:pt x="40" y="418"/>
                  </a:lnTo>
                  <a:lnTo>
                    <a:pt x="44" y="422"/>
                  </a:lnTo>
                  <a:lnTo>
                    <a:pt x="56" y="424"/>
                  </a:lnTo>
                  <a:lnTo>
                    <a:pt x="86" y="428"/>
                  </a:lnTo>
                  <a:lnTo>
                    <a:pt x="86" y="428"/>
                  </a:lnTo>
                  <a:lnTo>
                    <a:pt x="92" y="430"/>
                  </a:lnTo>
                  <a:lnTo>
                    <a:pt x="96" y="432"/>
                  </a:lnTo>
                  <a:lnTo>
                    <a:pt x="96" y="434"/>
                  </a:lnTo>
                  <a:lnTo>
                    <a:pt x="96" y="436"/>
                  </a:lnTo>
                  <a:lnTo>
                    <a:pt x="90" y="444"/>
                  </a:lnTo>
                  <a:lnTo>
                    <a:pt x="88" y="450"/>
                  </a:lnTo>
                  <a:lnTo>
                    <a:pt x="88" y="450"/>
                  </a:lnTo>
                  <a:lnTo>
                    <a:pt x="88" y="452"/>
                  </a:lnTo>
                  <a:lnTo>
                    <a:pt x="90" y="454"/>
                  </a:lnTo>
                  <a:lnTo>
                    <a:pt x="96" y="458"/>
                  </a:lnTo>
                  <a:lnTo>
                    <a:pt x="106" y="462"/>
                  </a:lnTo>
                  <a:lnTo>
                    <a:pt x="120" y="468"/>
                  </a:lnTo>
                  <a:lnTo>
                    <a:pt x="120" y="468"/>
                  </a:lnTo>
                  <a:lnTo>
                    <a:pt x="138" y="474"/>
                  </a:lnTo>
                  <a:lnTo>
                    <a:pt x="154" y="478"/>
                  </a:lnTo>
                  <a:lnTo>
                    <a:pt x="160" y="478"/>
                  </a:lnTo>
                  <a:lnTo>
                    <a:pt x="164" y="478"/>
                  </a:lnTo>
                  <a:lnTo>
                    <a:pt x="166" y="476"/>
                  </a:lnTo>
                  <a:lnTo>
                    <a:pt x="164" y="472"/>
                  </a:lnTo>
                  <a:lnTo>
                    <a:pt x="164" y="472"/>
                  </a:lnTo>
                  <a:lnTo>
                    <a:pt x="162" y="468"/>
                  </a:lnTo>
                  <a:lnTo>
                    <a:pt x="162" y="466"/>
                  </a:lnTo>
                  <a:lnTo>
                    <a:pt x="166" y="464"/>
                  </a:lnTo>
                  <a:lnTo>
                    <a:pt x="172" y="464"/>
                  </a:lnTo>
                  <a:lnTo>
                    <a:pt x="184" y="464"/>
                  </a:lnTo>
                  <a:lnTo>
                    <a:pt x="188" y="466"/>
                  </a:lnTo>
                  <a:lnTo>
                    <a:pt x="192" y="468"/>
                  </a:lnTo>
                  <a:lnTo>
                    <a:pt x="192" y="468"/>
                  </a:lnTo>
                  <a:lnTo>
                    <a:pt x="194" y="470"/>
                  </a:lnTo>
                  <a:lnTo>
                    <a:pt x="198" y="470"/>
                  </a:lnTo>
                  <a:lnTo>
                    <a:pt x="206" y="466"/>
                  </a:lnTo>
                  <a:lnTo>
                    <a:pt x="216" y="462"/>
                  </a:lnTo>
                  <a:lnTo>
                    <a:pt x="222" y="462"/>
                  </a:lnTo>
                  <a:lnTo>
                    <a:pt x="228" y="462"/>
                  </a:lnTo>
                  <a:lnTo>
                    <a:pt x="228" y="462"/>
                  </a:lnTo>
                  <a:lnTo>
                    <a:pt x="232" y="464"/>
                  </a:lnTo>
                  <a:lnTo>
                    <a:pt x="238" y="462"/>
                  </a:lnTo>
                  <a:lnTo>
                    <a:pt x="246" y="458"/>
                  </a:lnTo>
                  <a:lnTo>
                    <a:pt x="252" y="454"/>
                  </a:lnTo>
                  <a:lnTo>
                    <a:pt x="256" y="454"/>
                  </a:lnTo>
                  <a:lnTo>
                    <a:pt x="260" y="456"/>
                  </a:lnTo>
                  <a:lnTo>
                    <a:pt x="260" y="456"/>
                  </a:lnTo>
                  <a:lnTo>
                    <a:pt x="268" y="458"/>
                  </a:lnTo>
                  <a:lnTo>
                    <a:pt x="276" y="462"/>
                  </a:lnTo>
                  <a:lnTo>
                    <a:pt x="302" y="466"/>
                  </a:lnTo>
                  <a:lnTo>
                    <a:pt x="328" y="472"/>
                  </a:lnTo>
                  <a:lnTo>
                    <a:pt x="340" y="476"/>
                  </a:lnTo>
                  <a:lnTo>
                    <a:pt x="348" y="480"/>
                  </a:lnTo>
                  <a:lnTo>
                    <a:pt x="348" y="480"/>
                  </a:lnTo>
                  <a:lnTo>
                    <a:pt x="364" y="486"/>
                  </a:lnTo>
                  <a:lnTo>
                    <a:pt x="378" y="492"/>
                  </a:lnTo>
                  <a:lnTo>
                    <a:pt x="384" y="494"/>
                  </a:lnTo>
                  <a:lnTo>
                    <a:pt x="390" y="498"/>
                  </a:lnTo>
                  <a:lnTo>
                    <a:pt x="392" y="502"/>
                  </a:lnTo>
                  <a:lnTo>
                    <a:pt x="392" y="508"/>
                  </a:lnTo>
                  <a:lnTo>
                    <a:pt x="392" y="508"/>
                  </a:lnTo>
                  <a:lnTo>
                    <a:pt x="392" y="514"/>
                  </a:lnTo>
                  <a:lnTo>
                    <a:pt x="394" y="518"/>
                  </a:lnTo>
                  <a:lnTo>
                    <a:pt x="398" y="524"/>
                  </a:lnTo>
                  <a:lnTo>
                    <a:pt x="402" y="528"/>
                  </a:lnTo>
                  <a:lnTo>
                    <a:pt x="414" y="536"/>
                  </a:lnTo>
                  <a:lnTo>
                    <a:pt x="430" y="544"/>
                  </a:lnTo>
                  <a:lnTo>
                    <a:pt x="430" y="544"/>
                  </a:lnTo>
                  <a:lnTo>
                    <a:pt x="438" y="548"/>
                  </a:lnTo>
                  <a:lnTo>
                    <a:pt x="444" y="552"/>
                  </a:lnTo>
                  <a:lnTo>
                    <a:pt x="448" y="558"/>
                  </a:lnTo>
                  <a:lnTo>
                    <a:pt x="450" y="564"/>
                  </a:lnTo>
                  <a:lnTo>
                    <a:pt x="454" y="576"/>
                  </a:lnTo>
                  <a:lnTo>
                    <a:pt x="454" y="588"/>
                  </a:lnTo>
                  <a:lnTo>
                    <a:pt x="454" y="588"/>
                  </a:lnTo>
                  <a:lnTo>
                    <a:pt x="456" y="594"/>
                  </a:lnTo>
                  <a:lnTo>
                    <a:pt x="458" y="598"/>
                  </a:lnTo>
                  <a:lnTo>
                    <a:pt x="466" y="606"/>
                  </a:lnTo>
                  <a:lnTo>
                    <a:pt x="472" y="612"/>
                  </a:lnTo>
                  <a:lnTo>
                    <a:pt x="474" y="616"/>
                  </a:lnTo>
                  <a:lnTo>
                    <a:pt x="474" y="618"/>
                  </a:lnTo>
                  <a:lnTo>
                    <a:pt x="474" y="618"/>
                  </a:lnTo>
                  <a:lnTo>
                    <a:pt x="472" y="624"/>
                  </a:lnTo>
                  <a:lnTo>
                    <a:pt x="474" y="630"/>
                  </a:lnTo>
                  <a:lnTo>
                    <a:pt x="480" y="638"/>
                  </a:lnTo>
                  <a:lnTo>
                    <a:pt x="488" y="646"/>
                  </a:lnTo>
                  <a:lnTo>
                    <a:pt x="488" y="646"/>
                  </a:lnTo>
                  <a:lnTo>
                    <a:pt x="492" y="650"/>
                  </a:lnTo>
                  <a:lnTo>
                    <a:pt x="490" y="656"/>
                  </a:lnTo>
                  <a:lnTo>
                    <a:pt x="488" y="660"/>
                  </a:lnTo>
                  <a:lnTo>
                    <a:pt x="484" y="664"/>
                  </a:lnTo>
                  <a:lnTo>
                    <a:pt x="474" y="672"/>
                  </a:lnTo>
                  <a:lnTo>
                    <a:pt x="472" y="676"/>
                  </a:lnTo>
                  <a:lnTo>
                    <a:pt x="474" y="680"/>
                  </a:lnTo>
                  <a:lnTo>
                    <a:pt x="474" y="680"/>
                  </a:lnTo>
                  <a:lnTo>
                    <a:pt x="476" y="684"/>
                  </a:lnTo>
                  <a:lnTo>
                    <a:pt x="476" y="690"/>
                  </a:lnTo>
                  <a:lnTo>
                    <a:pt x="474" y="702"/>
                  </a:lnTo>
                  <a:lnTo>
                    <a:pt x="474" y="706"/>
                  </a:lnTo>
                  <a:lnTo>
                    <a:pt x="476" y="712"/>
                  </a:lnTo>
                  <a:lnTo>
                    <a:pt x="480" y="714"/>
                  </a:lnTo>
                  <a:lnTo>
                    <a:pt x="488" y="718"/>
                  </a:lnTo>
                  <a:lnTo>
                    <a:pt x="488" y="718"/>
                  </a:lnTo>
                  <a:lnTo>
                    <a:pt x="496" y="718"/>
                  </a:lnTo>
                  <a:lnTo>
                    <a:pt x="502" y="716"/>
                  </a:lnTo>
                  <a:lnTo>
                    <a:pt x="506" y="714"/>
                  </a:lnTo>
                  <a:lnTo>
                    <a:pt x="510" y="710"/>
                  </a:lnTo>
                  <a:lnTo>
                    <a:pt x="518" y="702"/>
                  </a:lnTo>
                  <a:lnTo>
                    <a:pt x="522" y="700"/>
                  </a:lnTo>
                  <a:lnTo>
                    <a:pt x="528" y="700"/>
                  </a:lnTo>
                  <a:lnTo>
                    <a:pt x="528" y="700"/>
                  </a:lnTo>
                  <a:lnTo>
                    <a:pt x="534" y="700"/>
                  </a:lnTo>
                  <a:lnTo>
                    <a:pt x="536" y="702"/>
                  </a:lnTo>
                  <a:lnTo>
                    <a:pt x="538" y="706"/>
                  </a:lnTo>
                  <a:lnTo>
                    <a:pt x="536" y="710"/>
                  </a:lnTo>
                  <a:lnTo>
                    <a:pt x="534" y="718"/>
                  </a:lnTo>
                  <a:lnTo>
                    <a:pt x="536" y="722"/>
                  </a:lnTo>
                  <a:lnTo>
                    <a:pt x="538" y="726"/>
                  </a:lnTo>
                  <a:lnTo>
                    <a:pt x="538" y="726"/>
                  </a:lnTo>
                  <a:lnTo>
                    <a:pt x="542" y="730"/>
                  </a:lnTo>
                  <a:lnTo>
                    <a:pt x="548" y="732"/>
                  </a:lnTo>
                  <a:lnTo>
                    <a:pt x="560" y="736"/>
                  </a:lnTo>
                  <a:lnTo>
                    <a:pt x="576" y="742"/>
                  </a:lnTo>
                  <a:lnTo>
                    <a:pt x="582" y="746"/>
                  </a:lnTo>
                  <a:lnTo>
                    <a:pt x="590" y="752"/>
                  </a:lnTo>
                  <a:lnTo>
                    <a:pt x="590" y="752"/>
                  </a:lnTo>
                  <a:lnTo>
                    <a:pt x="596" y="758"/>
                  </a:lnTo>
                  <a:lnTo>
                    <a:pt x="600" y="762"/>
                  </a:lnTo>
                  <a:lnTo>
                    <a:pt x="600" y="766"/>
                  </a:lnTo>
                  <a:lnTo>
                    <a:pt x="600" y="768"/>
                  </a:lnTo>
                  <a:lnTo>
                    <a:pt x="596" y="770"/>
                  </a:lnTo>
                  <a:lnTo>
                    <a:pt x="592" y="770"/>
                  </a:lnTo>
                  <a:lnTo>
                    <a:pt x="586" y="768"/>
                  </a:lnTo>
                  <a:lnTo>
                    <a:pt x="580" y="764"/>
                  </a:lnTo>
                  <a:lnTo>
                    <a:pt x="580" y="764"/>
                  </a:lnTo>
                  <a:lnTo>
                    <a:pt x="570" y="758"/>
                  </a:lnTo>
                  <a:lnTo>
                    <a:pt x="560" y="756"/>
                  </a:lnTo>
                  <a:lnTo>
                    <a:pt x="536" y="754"/>
                  </a:lnTo>
                  <a:lnTo>
                    <a:pt x="516" y="754"/>
                  </a:lnTo>
                  <a:lnTo>
                    <a:pt x="508" y="756"/>
                  </a:lnTo>
                  <a:lnTo>
                    <a:pt x="506" y="758"/>
                  </a:lnTo>
                  <a:lnTo>
                    <a:pt x="506" y="758"/>
                  </a:lnTo>
                  <a:lnTo>
                    <a:pt x="510" y="760"/>
                  </a:lnTo>
                  <a:lnTo>
                    <a:pt x="516" y="766"/>
                  </a:lnTo>
                  <a:lnTo>
                    <a:pt x="538" y="778"/>
                  </a:lnTo>
                  <a:lnTo>
                    <a:pt x="562" y="788"/>
                  </a:lnTo>
                  <a:lnTo>
                    <a:pt x="572" y="792"/>
                  </a:lnTo>
                  <a:lnTo>
                    <a:pt x="580" y="792"/>
                  </a:lnTo>
                  <a:lnTo>
                    <a:pt x="580" y="792"/>
                  </a:lnTo>
                  <a:lnTo>
                    <a:pt x="586" y="790"/>
                  </a:lnTo>
                  <a:lnTo>
                    <a:pt x="590" y="792"/>
                  </a:lnTo>
                  <a:lnTo>
                    <a:pt x="596" y="796"/>
                  </a:lnTo>
                  <a:lnTo>
                    <a:pt x="600" y="800"/>
                  </a:lnTo>
                  <a:lnTo>
                    <a:pt x="604" y="806"/>
                  </a:lnTo>
                  <a:lnTo>
                    <a:pt x="606" y="812"/>
                  </a:lnTo>
                  <a:lnTo>
                    <a:pt x="606" y="816"/>
                  </a:lnTo>
                  <a:lnTo>
                    <a:pt x="604" y="820"/>
                  </a:lnTo>
                  <a:lnTo>
                    <a:pt x="604" y="820"/>
                  </a:lnTo>
                  <a:lnTo>
                    <a:pt x="602" y="824"/>
                  </a:lnTo>
                  <a:lnTo>
                    <a:pt x="600" y="828"/>
                  </a:lnTo>
                  <a:lnTo>
                    <a:pt x="598" y="838"/>
                  </a:lnTo>
                  <a:lnTo>
                    <a:pt x="598" y="858"/>
                  </a:lnTo>
                  <a:lnTo>
                    <a:pt x="598" y="858"/>
                  </a:lnTo>
                  <a:lnTo>
                    <a:pt x="596" y="860"/>
                  </a:lnTo>
                  <a:lnTo>
                    <a:pt x="594" y="862"/>
                  </a:lnTo>
                  <a:lnTo>
                    <a:pt x="586" y="862"/>
                  </a:lnTo>
                  <a:lnTo>
                    <a:pt x="574" y="860"/>
                  </a:lnTo>
                  <a:lnTo>
                    <a:pt x="564" y="860"/>
                  </a:lnTo>
                  <a:lnTo>
                    <a:pt x="564" y="860"/>
                  </a:lnTo>
                  <a:lnTo>
                    <a:pt x="554" y="860"/>
                  </a:lnTo>
                  <a:lnTo>
                    <a:pt x="548" y="864"/>
                  </a:lnTo>
                  <a:lnTo>
                    <a:pt x="544" y="870"/>
                  </a:lnTo>
                  <a:lnTo>
                    <a:pt x="542" y="878"/>
                  </a:lnTo>
                  <a:lnTo>
                    <a:pt x="542" y="878"/>
                  </a:lnTo>
                  <a:lnTo>
                    <a:pt x="542" y="884"/>
                  </a:lnTo>
                  <a:lnTo>
                    <a:pt x="538" y="888"/>
                  </a:lnTo>
                  <a:lnTo>
                    <a:pt x="532" y="898"/>
                  </a:lnTo>
                  <a:lnTo>
                    <a:pt x="524" y="908"/>
                  </a:lnTo>
                  <a:lnTo>
                    <a:pt x="522" y="912"/>
                  </a:lnTo>
                  <a:lnTo>
                    <a:pt x="520" y="918"/>
                  </a:lnTo>
                  <a:lnTo>
                    <a:pt x="520" y="918"/>
                  </a:lnTo>
                  <a:lnTo>
                    <a:pt x="520" y="924"/>
                  </a:lnTo>
                  <a:lnTo>
                    <a:pt x="522" y="928"/>
                  </a:lnTo>
                  <a:lnTo>
                    <a:pt x="524" y="932"/>
                  </a:lnTo>
                  <a:lnTo>
                    <a:pt x="528" y="934"/>
                  </a:lnTo>
                  <a:lnTo>
                    <a:pt x="538" y="938"/>
                  </a:lnTo>
                  <a:lnTo>
                    <a:pt x="546" y="942"/>
                  </a:lnTo>
                  <a:lnTo>
                    <a:pt x="546" y="942"/>
                  </a:lnTo>
                  <a:lnTo>
                    <a:pt x="548" y="944"/>
                  </a:lnTo>
                  <a:lnTo>
                    <a:pt x="548" y="948"/>
                  </a:lnTo>
                  <a:lnTo>
                    <a:pt x="540" y="952"/>
                  </a:lnTo>
                  <a:lnTo>
                    <a:pt x="530" y="958"/>
                  </a:lnTo>
                  <a:lnTo>
                    <a:pt x="526" y="962"/>
                  </a:lnTo>
                  <a:lnTo>
                    <a:pt x="526" y="966"/>
                  </a:lnTo>
                  <a:lnTo>
                    <a:pt x="526" y="966"/>
                  </a:lnTo>
                  <a:lnTo>
                    <a:pt x="526" y="972"/>
                  </a:lnTo>
                  <a:lnTo>
                    <a:pt x="528" y="976"/>
                  </a:lnTo>
                  <a:lnTo>
                    <a:pt x="540" y="988"/>
                  </a:lnTo>
                  <a:lnTo>
                    <a:pt x="552" y="998"/>
                  </a:lnTo>
                  <a:lnTo>
                    <a:pt x="562" y="1006"/>
                  </a:lnTo>
                  <a:lnTo>
                    <a:pt x="562" y="1006"/>
                  </a:lnTo>
                  <a:lnTo>
                    <a:pt x="566" y="1008"/>
                  </a:lnTo>
                  <a:lnTo>
                    <a:pt x="568" y="1014"/>
                  </a:lnTo>
                  <a:lnTo>
                    <a:pt x="568" y="1026"/>
                  </a:lnTo>
                  <a:lnTo>
                    <a:pt x="566" y="1040"/>
                  </a:lnTo>
                  <a:lnTo>
                    <a:pt x="568" y="1052"/>
                  </a:lnTo>
                  <a:lnTo>
                    <a:pt x="568" y="1052"/>
                  </a:lnTo>
                  <a:lnTo>
                    <a:pt x="570" y="1056"/>
                  </a:lnTo>
                  <a:lnTo>
                    <a:pt x="572" y="1058"/>
                  </a:lnTo>
                  <a:lnTo>
                    <a:pt x="578" y="1058"/>
                  </a:lnTo>
                  <a:lnTo>
                    <a:pt x="580" y="1058"/>
                  </a:lnTo>
                  <a:lnTo>
                    <a:pt x="582" y="1060"/>
                  </a:lnTo>
                  <a:lnTo>
                    <a:pt x="584" y="1062"/>
                  </a:lnTo>
                  <a:lnTo>
                    <a:pt x="584" y="1066"/>
                  </a:lnTo>
                  <a:lnTo>
                    <a:pt x="584" y="1066"/>
                  </a:lnTo>
                  <a:lnTo>
                    <a:pt x="584" y="1072"/>
                  </a:lnTo>
                  <a:lnTo>
                    <a:pt x="586" y="1078"/>
                  </a:lnTo>
                  <a:lnTo>
                    <a:pt x="590" y="1084"/>
                  </a:lnTo>
                  <a:lnTo>
                    <a:pt x="594" y="1088"/>
                  </a:lnTo>
                  <a:lnTo>
                    <a:pt x="596" y="1090"/>
                  </a:lnTo>
                  <a:lnTo>
                    <a:pt x="598" y="1094"/>
                  </a:lnTo>
                  <a:lnTo>
                    <a:pt x="598" y="1094"/>
                  </a:lnTo>
                  <a:lnTo>
                    <a:pt x="598" y="1098"/>
                  </a:lnTo>
                  <a:lnTo>
                    <a:pt x="602" y="1100"/>
                  </a:lnTo>
                  <a:lnTo>
                    <a:pt x="610" y="1104"/>
                  </a:lnTo>
                  <a:lnTo>
                    <a:pt x="618" y="1110"/>
                  </a:lnTo>
                  <a:lnTo>
                    <a:pt x="620" y="1112"/>
                  </a:lnTo>
                  <a:lnTo>
                    <a:pt x="618" y="1118"/>
                  </a:lnTo>
                  <a:lnTo>
                    <a:pt x="618" y="1118"/>
                  </a:lnTo>
                  <a:lnTo>
                    <a:pt x="618" y="1122"/>
                  </a:lnTo>
                  <a:lnTo>
                    <a:pt x="618" y="1128"/>
                  </a:lnTo>
                  <a:lnTo>
                    <a:pt x="622" y="1136"/>
                  </a:lnTo>
                  <a:lnTo>
                    <a:pt x="632" y="1150"/>
                  </a:lnTo>
                  <a:lnTo>
                    <a:pt x="632" y="1150"/>
                  </a:lnTo>
                  <a:lnTo>
                    <a:pt x="638" y="1158"/>
                  </a:lnTo>
                  <a:lnTo>
                    <a:pt x="648" y="1166"/>
                  </a:lnTo>
                  <a:lnTo>
                    <a:pt x="656" y="1174"/>
                  </a:lnTo>
                  <a:lnTo>
                    <a:pt x="662" y="1182"/>
                  </a:lnTo>
                  <a:lnTo>
                    <a:pt x="662" y="1182"/>
                  </a:lnTo>
                  <a:lnTo>
                    <a:pt x="666" y="1192"/>
                  </a:lnTo>
                  <a:lnTo>
                    <a:pt x="674" y="1198"/>
                  </a:lnTo>
                  <a:lnTo>
                    <a:pt x="682" y="1204"/>
                  </a:lnTo>
                  <a:lnTo>
                    <a:pt x="688" y="1204"/>
                  </a:lnTo>
                  <a:lnTo>
                    <a:pt x="692" y="1204"/>
                  </a:lnTo>
                  <a:lnTo>
                    <a:pt x="692" y="1204"/>
                  </a:lnTo>
                  <a:lnTo>
                    <a:pt x="698" y="1202"/>
                  </a:lnTo>
                  <a:lnTo>
                    <a:pt x="702" y="1202"/>
                  </a:lnTo>
                  <a:lnTo>
                    <a:pt x="708" y="1206"/>
                  </a:lnTo>
                  <a:lnTo>
                    <a:pt x="712" y="1210"/>
                  </a:lnTo>
                  <a:lnTo>
                    <a:pt x="716" y="1212"/>
                  </a:lnTo>
                  <a:lnTo>
                    <a:pt x="720" y="1212"/>
                  </a:lnTo>
                  <a:lnTo>
                    <a:pt x="720" y="1212"/>
                  </a:lnTo>
                  <a:lnTo>
                    <a:pt x="728" y="1212"/>
                  </a:lnTo>
                  <a:lnTo>
                    <a:pt x="738" y="1214"/>
                  </a:lnTo>
                  <a:lnTo>
                    <a:pt x="746" y="1218"/>
                  </a:lnTo>
                  <a:lnTo>
                    <a:pt x="752" y="1224"/>
                  </a:lnTo>
                  <a:lnTo>
                    <a:pt x="752" y="1224"/>
                  </a:lnTo>
                  <a:lnTo>
                    <a:pt x="754" y="1228"/>
                  </a:lnTo>
                  <a:lnTo>
                    <a:pt x="758" y="1232"/>
                  </a:lnTo>
                  <a:lnTo>
                    <a:pt x="772" y="1236"/>
                  </a:lnTo>
                  <a:lnTo>
                    <a:pt x="800" y="1244"/>
                  </a:lnTo>
                  <a:lnTo>
                    <a:pt x="800" y="1244"/>
                  </a:lnTo>
                  <a:lnTo>
                    <a:pt x="802" y="1244"/>
                  </a:lnTo>
                  <a:lnTo>
                    <a:pt x="806" y="1242"/>
                  </a:lnTo>
                  <a:lnTo>
                    <a:pt x="810" y="1236"/>
                  </a:lnTo>
                  <a:lnTo>
                    <a:pt x="814" y="1228"/>
                  </a:lnTo>
                  <a:lnTo>
                    <a:pt x="820" y="1222"/>
                  </a:lnTo>
                  <a:lnTo>
                    <a:pt x="820" y="1222"/>
                  </a:lnTo>
                  <a:lnTo>
                    <a:pt x="822" y="1220"/>
                  </a:lnTo>
                  <a:lnTo>
                    <a:pt x="824" y="1214"/>
                  </a:lnTo>
                  <a:lnTo>
                    <a:pt x="826" y="1200"/>
                  </a:lnTo>
                  <a:lnTo>
                    <a:pt x="828" y="1186"/>
                  </a:lnTo>
                  <a:lnTo>
                    <a:pt x="830" y="1182"/>
                  </a:lnTo>
                  <a:lnTo>
                    <a:pt x="832" y="1180"/>
                  </a:lnTo>
                  <a:lnTo>
                    <a:pt x="832" y="1180"/>
                  </a:lnTo>
                  <a:lnTo>
                    <a:pt x="836" y="1178"/>
                  </a:lnTo>
                  <a:lnTo>
                    <a:pt x="838" y="1172"/>
                  </a:lnTo>
                  <a:lnTo>
                    <a:pt x="838" y="1158"/>
                  </a:lnTo>
                  <a:lnTo>
                    <a:pt x="836" y="1144"/>
                  </a:lnTo>
                  <a:lnTo>
                    <a:pt x="834" y="1140"/>
                  </a:lnTo>
                  <a:lnTo>
                    <a:pt x="830" y="1138"/>
                  </a:lnTo>
                  <a:lnTo>
                    <a:pt x="830" y="1138"/>
                  </a:lnTo>
                  <a:lnTo>
                    <a:pt x="828" y="1136"/>
                  </a:lnTo>
                  <a:lnTo>
                    <a:pt x="826" y="1134"/>
                  </a:lnTo>
                  <a:lnTo>
                    <a:pt x="826" y="1130"/>
                  </a:lnTo>
                  <a:lnTo>
                    <a:pt x="828" y="1128"/>
                  </a:lnTo>
                  <a:lnTo>
                    <a:pt x="830" y="1126"/>
                  </a:lnTo>
                  <a:lnTo>
                    <a:pt x="834" y="1124"/>
                  </a:lnTo>
                  <a:lnTo>
                    <a:pt x="838" y="1124"/>
                  </a:lnTo>
                  <a:lnTo>
                    <a:pt x="844" y="1124"/>
                  </a:lnTo>
                  <a:lnTo>
                    <a:pt x="844" y="1124"/>
                  </a:lnTo>
                  <a:lnTo>
                    <a:pt x="850" y="1124"/>
                  </a:lnTo>
                  <a:lnTo>
                    <a:pt x="854" y="1122"/>
                  </a:lnTo>
                  <a:lnTo>
                    <a:pt x="856" y="1120"/>
                  </a:lnTo>
                  <a:lnTo>
                    <a:pt x="858" y="1116"/>
                  </a:lnTo>
                  <a:lnTo>
                    <a:pt x="860" y="1110"/>
                  </a:lnTo>
                  <a:lnTo>
                    <a:pt x="862" y="1106"/>
                  </a:lnTo>
                  <a:lnTo>
                    <a:pt x="866" y="1104"/>
                  </a:lnTo>
                  <a:lnTo>
                    <a:pt x="866" y="1104"/>
                  </a:lnTo>
                  <a:lnTo>
                    <a:pt x="868" y="1104"/>
                  </a:lnTo>
                  <a:lnTo>
                    <a:pt x="870" y="1100"/>
                  </a:lnTo>
                  <a:lnTo>
                    <a:pt x="872" y="1094"/>
                  </a:lnTo>
                  <a:lnTo>
                    <a:pt x="874" y="1088"/>
                  </a:lnTo>
                  <a:lnTo>
                    <a:pt x="874" y="1086"/>
                  </a:lnTo>
                  <a:lnTo>
                    <a:pt x="876" y="1084"/>
                  </a:lnTo>
                  <a:lnTo>
                    <a:pt x="876" y="1084"/>
                  </a:lnTo>
                  <a:lnTo>
                    <a:pt x="880" y="1082"/>
                  </a:lnTo>
                  <a:lnTo>
                    <a:pt x="882" y="1076"/>
                  </a:lnTo>
                  <a:lnTo>
                    <a:pt x="880" y="1070"/>
                  </a:lnTo>
                  <a:lnTo>
                    <a:pt x="878" y="1064"/>
                  </a:lnTo>
                  <a:lnTo>
                    <a:pt x="878" y="1064"/>
                  </a:lnTo>
                  <a:lnTo>
                    <a:pt x="876" y="1060"/>
                  </a:lnTo>
                  <a:lnTo>
                    <a:pt x="878" y="1056"/>
                  </a:lnTo>
                  <a:lnTo>
                    <a:pt x="882" y="1054"/>
                  </a:lnTo>
                  <a:lnTo>
                    <a:pt x="888" y="1052"/>
                  </a:lnTo>
                  <a:lnTo>
                    <a:pt x="888" y="1052"/>
                  </a:lnTo>
                  <a:lnTo>
                    <a:pt x="890" y="1050"/>
                  </a:lnTo>
                  <a:lnTo>
                    <a:pt x="892" y="1048"/>
                  </a:lnTo>
                  <a:lnTo>
                    <a:pt x="894" y="1042"/>
                  </a:lnTo>
                  <a:lnTo>
                    <a:pt x="890" y="1036"/>
                  </a:lnTo>
                  <a:lnTo>
                    <a:pt x="882" y="1032"/>
                  </a:lnTo>
                  <a:lnTo>
                    <a:pt x="882" y="1032"/>
                  </a:lnTo>
                  <a:lnTo>
                    <a:pt x="878" y="1030"/>
                  </a:lnTo>
                  <a:lnTo>
                    <a:pt x="876" y="1026"/>
                  </a:lnTo>
                  <a:lnTo>
                    <a:pt x="874" y="1024"/>
                  </a:lnTo>
                  <a:lnTo>
                    <a:pt x="874" y="1022"/>
                  </a:lnTo>
                  <a:lnTo>
                    <a:pt x="876" y="1020"/>
                  </a:lnTo>
                  <a:lnTo>
                    <a:pt x="878" y="1018"/>
                  </a:lnTo>
                  <a:lnTo>
                    <a:pt x="882" y="1018"/>
                  </a:lnTo>
                  <a:lnTo>
                    <a:pt x="886" y="1020"/>
                  </a:lnTo>
                  <a:lnTo>
                    <a:pt x="886" y="1020"/>
                  </a:lnTo>
                  <a:lnTo>
                    <a:pt x="894" y="1024"/>
                  </a:lnTo>
                  <a:lnTo>
                    <a:pt x="902" y="1024"/>
                  </a:lnTo>
                  <a:lnTo>
                    <a:pt x="904" y="1022"/>
                  </a:lnTo>
                  <a:lnTo>
                    <a:pt x="904" y="1020"/>
                  </a:lnTo>
                  <a:lnTo>
                    <a:pt x="904" y="1018"/>
                  </a:lnTo>
                  <a:lnTo>
                    <a:pt x="902" y="1014"/>
                  </a:lnTo>
                  <a:lnTo>
                    <a:pt x="902" y="1014"/>
                  </a:lnTo>
                  <a:lnTo>
                    <a:pt x="900" y="1010"/>
                  </a:lnTo>
                  <a:lnTo>
                    <a:pt x="900" y="1008"/>
                  </a:lnTo>
                  <a:lnTo>
                    <a:pt x="902" y="1004"/>
                  </a:lnTo>
                  <a:lnTo>
                    <a:pt x="906" y="1002"/>
                  </a:lnTo>
                  <a:lnTo>
                    <a:pt x="914" y="1000"/>
                  </a:lnTo>
                  <a:lnTo>
                    <a:pt x="928" y="998"/>
                  </a:lnTo>
                  <a:lnTo>
                    <a:pt x="928" y="998"/>
                  </a:lnTo>
                  <a:lnTo>
                    <a:pt x="938" y="996"/>
                  </a:lnTo>
                  <a:lnTo>
                    <a:pt x="946" y="990"/>
                  </a:lnTo>
                  <a:lnTo>
                    <a:pt x="950" y="984"/>
                  </a:lnTo>
                  <a:lnTo>
                    <a:pt x="950" y="974"/>
                  </a:lnTo>
                  <a:lnTo>
                    <a:pt x="950" y="974"/>
                  </a:lnTo>
                  <a:lnTo>
                    <a:pt x="950" y="970"/>
                  </a:lnTo>
                  <a:lnTo>
                    <a:pt x="952" y="968"/>
                  </a:lnTo>
                  <a:lnTo>
                    <a:pt x="954" y="966"/>
                  </a:lnTo>
                  <a:lnTo>
                    <a:pt x="958" y="964"/>
                  </a:lnTo>
                  <a:lnTo>
                    <a:pt x="960" y="966"/>
                  </a:lnTo>
                  <a:lnTo>
                    <a:pt x="964" y="966"/>
                  </a:lnTo>
                  <a:lnTo>
                    <a:pt x="964" y="970"/>
                  </a:lnTo>
                  <a:lnTo>
                    <a:pt x="964" y="974"/>
                  </a:lnTo>
                  <a:lnTo>
                    <a:pt x="964" y="974"/>
                  </a:lnTo>
                  <a:lnTo>
                    <a:pt x="960" y="982"/>
                  </a:lnTo>
                  <a:lnTo>
                    <a:pt x="962" y="988"/>
                  </a:lnTo>
                  <a:lnTo>
                    <a:pt x="962" y="990"/>
                  </a:lnTo>
                  <a:lnTo>
                    <a:pt x="964" y="990"/>
                  </a:lnTo>
                  <a:lnTo>
                    <a:pt x="966" y="990"/>
                  </a:lnTo>
                  <a:lnTo>
                    <a:pt x="970" y="988"/>
                  </a:lnTo>
                  <a:lnTo>
                    <a:pt x="970" y="988"/>
                  </a:lnTo>
                  <a:lnTo>
                    <a:pt x="972" y="986"/>
                  </a:lnTo>
                  <a:lnTo>
                    <a:pt x="976" y="984"/>
                  </a:lnTo>
                  <a:lnTo>
                    <a:pt x="988" y="982"/>
                  </a:lnTo>
                  <a:lnTo>
                    <a:pt x="1002" y="982"/>
                  </a:lnTo>
                  <a:lnTo>
                    <a:pt x="1020" y="978"/>
                  </a:lnTo>
                  <a:lnTo>
                    <a:pt x="1020" y="978"/>
                  </a:lnTo>
                  <a:lnTo>
                    <a:pt x="1030" y="974"/>
                  </a:lnTo>
                  <a:lnTo>
                    <a:pt x="1040" y="968"/>
                  </a:lnTo>
                  <a:lnTo>
                    <a:pt x="1058" y="956"/>
                  </a:lnTo>
                  <a:lnTo>
                    <a:pt x="1066" y="950"/>
                  </a:lnTo>
                  <a:lnTo>
                    <a:pt x="1072" y="942"/>
                  </a:lnTo>
                  <a:lnTo>
                    <a:pt x="1076" y="934"/>
                  </a:lnTo>
                  <a:lnTo>
                    <a:pt x="1080" y="926"/>
                  </a:lnTo>
                  <a:lnTo>
                    <a:pt x="1080" y="926"/>
                  </a:lnTo>
                  <a:lnTo>
                    <a:pt x="1084" y="918"/>
                  </a:lnTo>
                  <a:lnTo>
                    <a:pt x="1088" y="912"/>
                  </a:lnTo>
                  <a:lnTo>
                    <a:pt x="1102" y="906"/>
                  </a:lnTo>
                  <a:lnTo>
                    <a:pt x="1112" y="900"/>
                  </a:lnTo>
                  <a:lnTo>
                    <a:pt x="1114" y="896"/>
                  </a:lnTo>
                  <a:lnTo>
                    <a:pt x="1114" y="892"/>
                  </a:lnTo>
                  <a:lnTo>
                    <a:pt x="1114" y="892"/>
                  </a:lnTo>
                  <a:lnTo>
                    <a:pt x="1114" y="886"/>
                  </a:lnTo>
                  <a:lnTo>
                    <a:pt x="1114" y="882"/>
                  </a:lnTo>
                  <a:lnTo>
                    <a:pt x="1116" y="880"/>
                  </a:lnTo>
                  <a:lnTo>
                    <a:pt x="1118" y="876"/>
                  </a:lnTo>
                  <a:lnTo>
                    <a:pt x="1122" y="876"/>
                  </a:lnTo>
                  <a:lnTo>
                    <a:pt x="1126" y="876"/>
                  </a:lnTo>
                  <a:lnTo>
                    <a:pt x="1140" y="880"/>
                  </a:lnTo>
                  <a:lnTo>
                    <a:pt x="1140" y="880"/>
                  </a:lnTo>
                  <a:lnTo>
                    <a:pt x="1150" y="884"/>
                  </a:lnTo>
                  <a:lnTo>
                    <a:pt x="1152" y="882"/>
                  </a:lnTo>
                  <a:lnTo>
                    <a:pt x="1152" y="882"/>
                  </a:lnTo>
                  <a:lnTo>
                    <a:pt x="1156" y="876"/>
                  </a:lnTo>
                  <a:lnTo>
                    <a:pt x="1160" y="874"/>
                  </a:lnTo>
                  <a:lnTo>
                    <a:pt x="1166" y="874"/>
                  </a:lnTo>
                  <a:lnTo>
                    <a:pt x="1166" y="874"/>
                  </a:lnTo>
                  <a:lnTo>
                    <a:pt x="1180" y="874"/>
                  </a:lnTo>
                  <a:lnTo>
                    <a:pt x="1186" y="870"/>
                  </a:lnTo>
                  <a:lnTo>
                    <a:pt x="1194" y="868"/>
                  </a:lnTo>
                  <a:lnTo>
                    <a:pt x="1206" y="866"/>
                  </a:lnTo>
                  <a:lnTo>
                    <a:pt x="1206" y="866"/>
                  </a:lnTo>
                  <a:lnTo>
                    <a:pt x="1228" y="864"/>
                  </a:lnTo>
                  <a:lnTo>
                    <a:pt x="1256" y="858"/>
                  </a:lnTo>
                  <a:lnTo>
                    <a:pt x="1284" y="850"/>
                  </a:lnTo>
                  <a:lnTo>
                    <a:pt x="1296" y="844"/>
                  </a:lnTo>
                  <a:lnTo>
                    <a:pt x="1304" y="838"/>
                  </a:lnTo>
                  <a:lnTo>
                    <a:pt x="1304" y="838"/>
                  </a:lnTo>
                  <a:lnTo>
                    <a:pt x="1322" y="828"/>
                  </a:lnTo>
                  <a:lnTo>
                    <a:pt x="1344" y="816"/>
                  </a:lnTo>
                  <a:lnTo>
                    <a:pt x="1366" y="808"/>
                  </a:lnTo>
                  <a:lnTo>
                    <a:pt x="1382" y="798"/>
                  </a:lnTo>
                  <a:lnTo>
                    <a:pt x="1382" y="798"/>
                  </a:lnTo>
                  <a:lnTo>
                    <a:pt x="1392" y="792"/>
                  </a:lnTo>
                  <a:lnTo>
                    <a:pt x="1398" y="786"/>
                  </a:lnTo>
                  <a:lnTo>
                    <a:pt x="1398" y="784"/>
                  </a:lnTo>
                  <a:lnTo>
                    <a:pt x="1398" y="784"/>
                  </a:lnTo>
                  <a:lnTo>
                    <a:pt x="1392" y="784"/>
                  </a:lnTo>
                  <a:lnTo>
                    <a:pt x="1392" y="78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09" name="Freeform 96"/>
            <p:cNvSpPr>
              <a:spLocks noEditPoints="1"/>
            </p:cNvSpPr>
            <p:nvPr/>
          </p:nvSpPr>
          <p:spPr bwMode="auto">
            <a:xfrm>
              <a:off x="3175" y="2063750"/>
              <a:ext cx="5797550" cy="6765925"/>
            </a:xfrm>
            <a:custGeom>
              <a:avLst/>
              <a:gdLst>
                <a:gd name="T0" fmla="*/ 3198 w 3652"/>
                <a:gd name="T1" fmla="*/ 2562 h 4262"/>
                <a:gd name="T2" fmla="*/ 2898 w 3652"/>
                <a:gd name="T3" fmla="*/ 2260 h 4262"/>
                <a:gd name="T4" fmla="*/ 2602 w 3652"/>
                <a:gd name="T5" fmla="*/ 2228 h 4262"/>
                <a:gd name="T6" fmla="*/ 2206 w 3652"/>
                <a:gd name="T7" fmla="*/ 2110 h 4262"/>
                <a:gd name="T8" fmla="*/ 1944 w 3652"/>
                <a:gd name="T9" fmla="*/ 1972 h 4262"/>
                <a:gd name="T10" fmla="*/ 2156 w 3652"/>
                <a:gd name="T11" fmla="*/ 1728 h 4262"/>
                <a:gd name="T12" fmla="*/ 2390 w 3652"/>
                <a:gd name="T13" fmla="*/ 1754 h 4262"/>
                <a:gd name="T14" fmla="*/ 2502 w 3652"/>
                <a:gd name="T15" fmla="*/ 1436 h 4262"/>
                <a:gd name="T16" fmla="*/ 2656 w 3652"/>
                <a:gd name="T17" fmla="*/ 1310 h 4262"/>
                <a:gd name="T18" fmla="*/ 2926 w 3652"/>
                <a:gd name="T19" fmla="*/ 1202 h 4262"/>
                <a:gd name="T20" fmla="*/ 2720 w 3652"/>
                <a:gd name="T21" fmla="*/ 1102 h 4262"/>
                <a:gd name="T22" fmla="*/ 3032 w 3652"/>
                <a:gd name="T23" fmla="*/ 908 h 4262"/>
                <a:gd name="T24" fmla="*/ 2906 w 3652"/>
                <a:gd name="T25" fmla="*/ 754 h 4262"/>
                <a:gd name="T26" fmla="*/ 2692 w 3652"/>
                <a:gd name="T27" fmla="*/ 682 h 4262"/>
                <a:gd name="T28" fmla="*/ 2470 w 3652"/>
                <a:gd name="T29" fmla="*/ 610 h 4262"/>
                <a:gd name="T30" fmla="*/ 2416 w 3652"/>
                <a:gd name="T31" fmla="*/ 1004 h 4262"/>
                <a:gd name="T32" fmla="*/ 2018 w 3652"/>
                <a:gd name="T33" fmla="*/ 710 h 4262"/>
                <a:gd name="T34" fmla="*/ 2218 w 3652"/>
                <a:gd name="T35" fmla="*/ 444 h 4262"/>
                <a:gd name="T36" fmla="*/ 2350 w 3652"/>
                <a:gd name="T37" fmla="*/ 314 h 4262"/>
                <a:gd name="T38" fmla="*/ 2226 w 3652"/>
                <a:gd name="T39" fmla="*/ 320 h 4262"/>
                <a:gd name="T40" fmla="*/ 2092 w 3652"/>
                <a:gd name="T41" fmla="*/ 208 h 4262"/>
                <a:gd name="T42" fmla="*/ 1980 w 3652"/>
                <a:gd name="T43" fmla="*/ 40 h 4262"/>
                <a:gd name="T44" fmla="*/ 1988 w 3652"/>
                <a:gd name="T45" fmla="*/ 306 h 4262"/>
                <a:gd name="T46" fmla="*/ 1880 w 3652"/>
                <a:gd name="T47" fmla="*/ 254 h 4262"/>
                <a:gd name="T48" fmla="*/ 1698 w 3652"/>
                <a:gd name="T49" fmla="*/ 290 h 4262"/>
                <a:gd name="T50" fmla="*/ 1330 w 3652"/>
                <a:gd name="T51" fmla="*/ 248 h 4262"/>
                <a:gd name="T52" fmla="*/ 970 w 3652"/>
                <a:gd name="T53" fmla="*/ 266 h 4262"/>
                <a:gd name="T54" fmla="*/ 760 w 3652"/>
                <a:gd name="T55" fmla="*/ 234 h 4262"/>
                <a:gd name="T56" fmla="*/ 220 w 3652"/>
                <a:gd name="T57" fmla="*/ 192 h 4262"/>
                <a:gd name="T58" fmla="*/ 110 w 3652"/>
                <a:gd name="T59" fmla="*/ 402 h 4262"/>
                <a:gd name="T60" fmla="*/ 118 w 3652"/>
                <a:gd name="T61" fmla="*/ 538 h 4262"/>
                <a:gd name="T62" fmla="*/ 244 w 3652"/>
                <a:gd name="T63" fmla="*/ 724 h 4262"/>
                <a:gd name="T64" fmla="*/ 316 w 3652"/>
                <a:gd name="T65" fmla="*/ 774 h 4262"/>
                <a:gd name="T66" fmla="*/ 438 w 3652"/>
                <a:gd name="T67" fmla="*/ 690 h 4262"/>
                <a:gd name="T68" fmla="*/ 720 w 3652"/>
                <a:gd name="T69" fmla="*/ 660 h 4262"/>
                <a:gd name="T70" fmla="*/ 898 w 3652"/>
                <a:gd name="T71" fmla="*/ 796 h 4262"/>
                <a:gd name="T72" fmla="*/ 968 w 3652"/>
                <a:gd name="T73" fmla="*/ 796 h 4262"/>
                <a:gd name="T74" fmla="*/ 1060 w 3652"/>
                <a:gd name="T75" fmla="*/ 920 h 4262"/>
                <a:gd name="T76" fmla="*/ 1234 w 3652"/>
                <a:gd name="T77" fmla="*/ 1114 h 4262"/>
                <a:gd name="T78" fmla="*/ 1206 w 3652"/>
                <a:gd name="T79" fmla="*/ 1202 h 4262"/>
                <a:gd name="T80" fmla="*/ 1480 w 3652"/>
                <a:gd name="T81" fmla="*/ 1766 h 4262"/>
                <a:gd name="T82" fmla="*/ 1458 w 3652"/>
                <a:gd name="T83" fmla="*/ 1642 h 4262"/>
                <a:gd name="T84" fmla="*/ 1710 w 3652"/>
                <a:gd name="T85" fmla="*/ 1980 h 4262"/>
                <a:gd name="T86" fmla="*/ 2280 w 3652"/>
                <a:gd name="T87" fmla="*/ 2282 h 4262"/>
                <a:gd name="T88" fmla="*/ 2436 w 3652"/>
                <a:gd name="T89" fmla="*/ 2502 h 4262"/>
                <a:gd name="T90" fmla="*/ 2534 w 3652"/>
                <a:gd name="T91" fmla="*/ 2968 h 4262"/>
                <a:gd name="T92" fmla="*/ 2584 w 3652"/>
                <a:gd name="T93" fmla="*/ 3648 h 4262"/>
                <a:gd name="T94" fmla="*/ 2592 w 3652"/>
                <a:gd name="T95" fmla="*/ 3890 h 4262"/>
                <a:gd name="T96" fmla="*/ 2578 w 3652"/>
                <a:gd name="T97" fmla="*/ 3974 h 4262"/>
                <a:gd name="T98" fmla="*/ 2544 w 3652"/>
                <a:gd name="T99" fmla="*/ 4088 h 4262"/>
                <a:gd name="T100" fmla="*/ 2596 w 3652"/>
                <a:gd name="T101" fmla="*/ 4168 h 4262"/>
                <a:gd name="T102" fmla="*/ 2692 w 3652"/>
                <a:gd name="T103" fmla="*/ 4176 h 4262"/>
                <a:gd name="T104" fmla="*/ 2730 w 3652"/>
                <a:gd name="T105" fmla="*/ 4258 h 4262"/>
                <a:gd name="T106" fmla="*/ 2758 w 3652"/>
                <a:gd name="T107" fmla="*/ 4006 h 4262"/>
                <a:gd name="T108" fmla="*/ 2818 w 3652"/>
                <a:gd name="T109" fmla="*/ 3734 h 4262"/>
                <a:gd name="T110" fmla="*/ 3138 w 3652"/>
                <a:gd name="T111" fmla="*/ 3512 h 4262"/>
                <a:gd name="T112" fmla="*/ 3470 w 3652"/>
                <a:gd name="T113" fmla="*/ 3168 h 4262"/>
                <a:gd name="T114" fmla="*/ 2510 w 3652"/>
                <a:gd name="T115" fmla="*/ 1250 h 4262"/>
                <a:gd name="T116" fmla="*/ 2368 w 3652"/>
                <a:gd name="T117" fmla="*/ 1222 h 4262"/>
                <a:gd name="T118" fmla="*/ 2298 w 3652"/>
                <a:gd name="T119" fmla="*/ 1180 h 4262"/>
                <a:gd name="T120" fmla="*/ 1330 w 3652"/>
                <a:gd name="T121" fmla="*/ 414 h 4262"/>
                <a:gd name="T122" fmla="*/ 1330 w 3652"/>
                <a:gd name="T123" fmla="*/ 364 h 4262"/>
                <a:gd name="T124" fmla="*/ 1596 w 3652"/>
                <a:gd name="T125" fmla="*/ 548 h 4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52" h="4262">
                  <a:moveTo>
                    <a:pt x="3618" y="2690"/>
                  </a:moveTo>
                  <a:lnTo>
                    <a:pt x="3618" y="2690"/>
                  </a:lnTo>
                  <a:lnTo>
                    <a:pt x="3608" y="2690"/>
                  </a:lnTo>
                  <a:lnTo>
                    <a:pt x="3594" y="2686"/>
                  </a:lnTo>
                  <a:lnTo>
                    <a:pt x="3584" y="2682"/>
                  </a:lnTo>
                  <a:lnTo>
                    <a:pt x="3574" y="2674"/>
                  </a:lnTo>
                  <a:lnTo>
                    <a:pt x="3564" y="2666"/>
                  </a:lnTo>
                  <a:lnTo>
                    <a:pt x="3554" y="2656"/>
                  </a:lnTo>
                  <a:lnTo>
                    <a:pt x="3554" y="2656"/>
                  </a:lnTo>
                  <a:lnTo>
                    <a:pt x="3542" y="2644"/>
                  </a:lnTo>
                  <a:lnTo>
                    <a:pt x="3532" y="2638"/>
                  </a:lnTo>
                  <a:lnTo>
                    <a:pt x="3520" y="2632"/>
                  </a:lnTo>
                  <a:lnTo>
                    <a:pt x="3510" y="2628"/>
                  </a:lnTo>
                  <a:lnTo>
                    <a:pt x="3500" y="2628"/>
                  </a:lnTo>
                  <a:lnTo>
                    <a:pt x="3490" y="2628"/>
                  </a:lnTo>
                  <a:lnTo>
                    <a:pt x="3474" y="2630"/>
                  </a:lnTo>
                  <a:lnTo>
                    <a:pt x="3474" y="2630"/>
                  </a:lnTo>
                  <a:lnTo>
                    <a:pt x="3466" y="2632"/>
                  </a:lnTo>
                  <a:lnTo>
                    <a:pt x="3458" y="2632"/>
                  </a:lnTo>
                  <a:lnTo>
                    <a:pt x="3444" y="2628"/>
                  </a:lnTo>
                  <a:lnTo>
                    <a:pt x="3432" y="2622"/>
                  </a:lnTo>
                  <a:lnTo>
                    <a:pt x="3420" y="2618"/>
                  </a:lnTo>
                  <a:lnTo>
                    <a:pt x="3420" y="2618"/>
                  </a:lnTo>
                  <a:lnTo>
                    <a:pt x="3416" y="2618"/>
                  </a:lnTo>
                  <a:lnTo>
                    <a:pt x="3410" y="2618"/>
                  </a:lnTo>
                  <a:lnTo>
                    <a:pt x="3400" y="2624"/>
                  </a:lnTo>
                  <a:lnTo>
                    <a:pt x="3392" y="2630"/>
                  </a:lnTo>
                  <a:lnTo>
                    <a:pt x="3384" y="2636"/>
                  </a:lnTo>
                  <a:lnTo>
                    <a:pt x="3384" y="2636"/>
                  </a:lnTo>
                  <a:lnTo>
                    <a:pt x="3382" y="2636"/>
                  </a:lnTo>
                  <a:lnTo>
                    <a:pt x="3382" y="2634"/>
                  </a:lnTo>
                  <a:lnTo>
                    <a:pt x="3384" y="2628"/>
                  </a:lnTo>
                  <a:lnTo>
                    <a:pt x="3388" y="2618"/>
                  </a:lnTo>
                  <a:lnTo>
                    <a:pt x="3390" y="2610"/>
                  </a:lnTo>
                  <a:lnTo>
                    <a:pt x="3390" y="2610"/>
                  </a:lnTo>
                  <a:lnTo>
                    <a:pt x="3388" y="2606"/>
                  </a:lnTo>
                  <a:lnTo>
                    <a:pt x="3384" y="2600"/>
                  </a:lnTo>
                  <a:lnTo>
                    <a:pt x="3368" y="2590"/>
                  </a:lnTo>
                  <a:lnTo>
                    <a:pt x="3348" y="2580"/>
                  </a:lnTo>
                  <a:lnTo>
                    <a:pt x="3326" y="2570"/>
                  </a:lnTo>
                  <a:lnTo>
                    <a:pt x="3326" y="2570"/>
                  </a:lnTo>
                  <a:lnTo>
                    <a:pt x="3308" y="2566"/>
                  </a:lnTo>
                  <a:lnTo>
                    <a:pt x="3300" y="2566"/>
                  </a:lnTo>
                  <a:lnTo>
                    <a:pt x="3296" y="2566"/>
                  </a:lnTo>
                  <a:lnTo>
                    <a:pt x="3292" y="2568"/>
                  </a:lnTo>
                  <a:lnTo>
                    <a:pt x="3288" y="2572"/>
                  </a:lnTo>
                  <a:lnTo>
                    <a:pt x="3286" y="2576"/>
                  </a:lnTo>
                  <a:lnTo>
                    <a:pt x="3286" y="2582"/>
                  </a:lnTo>
                  <a:lnTo>
                    <a:pt x="3286" y="2582"/>
                  </a:lnTo>
                  <a:lnTo>
                    <a:pt x="3286" y="2588"/>
                  </a:lnTo>
                  <a:lnTo>
                    <a:pt x="3284" y="2590"/>
                  </a:lnTo>
                  <a:lnTo>
                    <a:pt x="3280" y="2590"/>
                  </a:lnTo>
                  <a:lnTo>
                    <a:pt x="3276" y="2588"/>
                  </a:lnTo>
                  <a:lnTo>
                    <a:pt x="3274" y="2588"/>
                  </a:lnTo>
                  <a:lnTo>
                    <a:pt x="3270" y="2592"/>
                  </a:lnTo>
                  <a:lnTo>
                    <a:pt x="3266" y="2596"/>
                  </a:lnTo>
                  <a:lnTo>
                    <a:pt x="3266" y="2596"/>
                  </a:lnTo>
                  <a:lnTo>
                    <a:pt x="3264" y="2602"/>
                  </a:lnTo>
                  <a:lnTo>
                    <a:pt x="3260" y="2606"/>
                  </a:lnTo>
                  <a:lnTo>
                    <a:pt x="3256" y="2606"/>
                  </a:lnTo>
                  <a:lnTo>
                    <a:pt x="3252" y="2606"/>
                  </a:lnTo>
                  <a:lnTo>
                    <a:pt x="3250" y="2604"/>
                  </a:lnTo>
                  <a:lnTo>
                    <a:pt x="3250" y="2602"/>
                  </a:lnTo>
                  <a:lnTo>
                    <a:pt x="3250" y="2600"/>
                  </a:lnTo>
                  <a:lnTo>
                    <a:pt x="3252" y="2596"/>
                  </a:lnTo>
                  <a:lnTo>
                    <a:pt x="3252" y="2596"/>
                  </a:lnTo>
                  <a:lnTo>
                    <a:pt x="3260" y="2592"/>
                  </a:lnTo>
                  <a:lnTo>
                    <a:pt x="3266" y="2584"/>
                  </a:lnTo>
                  <a:lnTo>
                    <a:pt x="3272" y="2574"/>
                  </a:lnTo>
                  <a:lnTo>
                    <a:pt x="3276" y="2566"/>
                  </a:lnTo>
                  <a:lnTo>
                    <a:pt x="3276" y="2566"/>
                  </a:lnTo>
                  <a:lnTo>
                    <a:pt x="3276" y="2562"/>
                  </a:lnTo>
                  <a:lnTo>
                    <a:pt x="3272" y="2558"/>
                  </a:lnTo>
                  <a:lnTo>
                    <a:pt x="3264" y="2554"/>
                  </a:lnTo>
                  <a:lnTo>
                    <a:pt x="3256" y="2552"/>
                  </a:lnTo>
                  <a:lnTo>
                    <a:pt x="3236" y="2550"/>
                  </a:lnTo>
                  <a:lnTo>
                    <a:pt x="3228" y="2550"/>
                  </a:lnTo>
                  <a:lnTo>
                    <a:pt x="3222" y="2550"/>
                  </a:lnTo>
                  <a:lnTo>
                    <a:pt x="3222" y="2550"/>
                  </a:lnTo>
                  <a:lnTo>
                    <a:pt x="3216" y="2554"/>
                  </a:lnTo>
                  <a:lnTo>
                    <a:pt x="3214" y="2558"/>
                  </a:lnTo>
                  <a:lnTo>
                    <a:pt x="3212" y="2566"/>
                  </a:lnTo>
                  <a:lnTo>
                    <a:pt x="3210" y="2572"/>
                  </a:lnTo>
                  <a:lnTo>
                    <a:pt x="3208" y="2574"/>
                  </a:lnTo>
                  <a:lnTo>
                    <a:pt x="3204" y="2572"/>
                  </a:lnTo>
                  <a:lnTo>
                    <a:pt x="3204" y="2572"/>
                  </a:lnTo>
                  <a:lnTo>
                    <a:pt x="3200" y="2570"/>
                  </a:lnTo>
                  <a:lnTo>
                    <a:pt x="3198" y="2566"/>
                  </a:lnTo>
                  <a:lnTo>
                    <a:pt x="3198" y="2562"/>
                  </a:lnTo>
                  <a:lnTo>
                    <a:pt x="3200" y="2558"/>
                  </a:lnTo>
                  <a:lnTo>
                    <a:pt x="3204" y="2552"/>
                  </a:lnTo>
                  <a:lnTo>
                    <a:pt x="3208" y="2550"/>
                  </a:lnTo>
                  <a:lnTo>
                    <a:pt x="3210" y="2550"/>
                  </a:lnTo>
                  <a:lnTo>
                    <a:pt x="3210" y="2550"/>
                  </a:lnTo>
                  <a:lnTo>
                    <a:pt x="3214" y="2550"/>
                  </a:lnTo>
                  <a:lnTo>
                    <a:pt x="3218" y="2546"/>
                  </a:lnTo>
                  <a:lnTo>
                    <a:pt x="3226" y="2538"/>
                  </a:lnTo>
                  <a:lnTo>
                    <a:pt x="3232" y="2528"/>
                  </a:lnTo>
                  <a:lnTo>
                    <a:pt x="3238" y="2516"/>
                  </a:lnTo>
                  <a:lnTo>
                    <a:pt x="3238" y="2516"/>
                  </a:lnTo>
                  <a:lnTo>
                    <a:pt x="3240" y="2510"/>
                  </a:lnTo>
                  <a:lnTo>
                    <a:pt x="3240" y="2506"/>
                  </a:lnTo>
                  <a:lnTo>
                    <a:pt x="3236" y="2504"/>
                  </a:lnTo>
                  <a:lnTo>
                    <a:pt x="3234" y="2500"/>
                  </a:lnTo>
                  <a:lnTo>
                    <a:pt x="3224" y="2494"/>
                  </a:lnTo>
                  <a:lnTo>
                    <a:pt x="3216" y="2486"/>
                  </a:lnTo>
                  <a:lnTo>
                    <a:pt x="3216" y="2486"/>
                  </a:lnTo>
                  <a:lnTo>
                    <a:pt x="3212" y="2482"/>
                  </a:lnTo>
                  <a:lnTo>
                    <a:pt x="3210" y="2474"/>
                  </a:lnTo>
                  <a:lnTo>
                    <a:pt x="3206" y="2458"/>
                  </a:lnTo>
                  <a:lnTo>
                    <a:pt x="3202" y="2442"/>
                  </a:lnTo>
                  <a:lnTo>
                    <a:pt x="3200" y="2438"/>
                  </a:lnTo>
                  <a:lnTo>
                    <a:pt x="3196" y="2434"/>
                  </a:lnTo>
                  <a:lnTo>
                    <a:pt x="3196" y="2434"/>
                  </a:lnTo>
                  <a:lnTo>
                    <a:pt x="3186" y="2428"/>
                  </a:lnTo>
                  <a:lnTo>
                    <a:pt x="3174" y="2416"/>
                  </a:lnTo>
                  <a:lnTo>
                    <a:pt x="3162" y="2404"/>
                  </a:lnTo>
                  <a:lnTo>
                    <a:pt x="3156" y="2400"/>
                  </a:lnTo>
                  <a:lnTo>
                    <a:pt x="3150" y="2398"/>
                  </a:lnTo>
                  <a:lnTo>
                    <a:pt x="3150" y="2398"/>
                  </a:lnTo>
                  <a:lnTo>
                    <a:pt x="3136" y="2394"/>
                  </a:lnTo>
                  <a:lnTo>
                    <a:pt x="3124" y="2390"/>
                  </a:lnTo>
                  <a:lnTo>
                    <a:pt x="3110" y="2386"/>
                  </a:lnTo>
                  <a:lnTo>
                    <a:pt x="3100" y="2384"/>
                  </a:lnTo>
                  <a:lnTo>
                    <a:pt x="3100" y="2384"/>
                  </a:lnTo>
                  <a:lnTo>
                    <a:pt x="3078" y="2388"/>
                  </a:lnTo>
                  <a:lnTo>
                    <a:pt x="3070" y="2388"/>
                  </a:lnTo>
                  <a:lnTo>
                    <a:pt x="3066" y="2388"/>
                  </a:lnTo>
                  <a:lnTo>
                    <a:pt x="3064" y="2384"/>
                  </a:lnTo>
                  <a:lnTo>
                    <a:pt x="3064" y="2384"/>
                  </a:lnTo>
                  <a:lnTo>
                    <a:pt x="3060" y="2380"/>
                  </a:lnTo>
                  <a:lnTo>
                    <a:pt x="3054" y="2380"/>
                  </a:lnTo>
                  <a:lnTo>
                    <a:pt x="3050" y="2380"/>
                  </a:lnTo>
                  <a:lnTo>
                    <a:pt x="3044" y="2384"/>
                  </a:lnTo>
                  <a:lnTo>
                    <a:pt x="3044" y="2384"/>
                  </a:lnTo>
                  <a:lnTo>
                    <a:pt x="3040" y="2384"/>
                  </a:lnTo>
                  <a:lnTo>
                    <a:pt x="3038" y="2384"/>
                  </a:lnTo>
                  <a:lnTo>
                    <a:pt x="3030" y="2376"/>
                  </a:lnTo>
                  <a:lnTo>
                    <a:pt x="3022" y="2366"/>
                  </a:lnTo>
                  <a:lnTo>
                    <a:pt x="3018" y="2364"/>
                  </a:lnTo>
                  <a:lnTo>
                    <a:pt x="3016" y="2362"/>
                  </a:lnTo>
                  <a:lnTo>
                    <a:pt x="3016" y="2362"/>
                  </a:lnTo>
                  <a:lnTo>
                    <a:pt x="3010" y="2362"/>
                  </a:lnTo>
                  <a:lnTo>
                    <a:pt x="3006" y="2358"/>
                  </a:lnTo>
                  <a:lnTo>
                    <a:pt x="3002" y="2352"/>
                  </a:lnTo>
                  <a:lnTo>
                    <a:pt x="3002" y="2346"/>
                  </a:lnTo>
                  <a:lnTo>
                    <a:pt x="3002" y="2346"/>
                  </a:lnTo>
                  <a:lnTo>
                    <a:pt x="3002" y="2342"/>
                  </a:lnTo>
                  <a:lnTo>
                    <a:pt x="3000" y="2340"/>
                  </a:lnTo>
                  <a:lnTo>
                    <a:pt x="2992" y="2336"/>
                  </a:lnTo>
                  <a:lnTo>
                    <a:pt x="2984" y="2330"/>
                  </a:lnTo>
                  <a:lnTo>
                    <a:pt x="2974" y="2324"/>
                  </a:lnTo>
                  <a:lnTo>
                    <a:pt x="2974" y="2324"/>
                  </a:lnTo>
                  <a:lnTo>
                    <a:pt x="2970" y="2320"/>
                  </a:lnTo>
                  <a:lnTo>
                    <a:pt x="2964" y="2316"/>
                  </a:lnTo>
                  <a:lnTo>
                    <a:pt x="2950" y="2314"/>
                  </a:lnTo>
                  <a:lnTo>
                    <a:pt x="2936" y="2312"/>
                  </a:lnTo>
                  <a:lnTo>
                    <a:pt x="2926" y="2312"/>
                  </a:lnTo>
                  <a:lnTo>
                    <a:pt x="2926" y="2312"/>
                  </a:lnTo>
                  <a:lnTo>
                    <a:pt x="2922" y="2312"/>
                  </a:lnTo>
                  <a:lnTo>
                    <a:pt x="2922" y="2312"/>
                  </a:lnTo>
                  <a:lnTo>
                    <a:pt x="2924" y="2306"/>
                  </a:lnTo>
                  <a:lnTo>
                    <a:pt x="2930" y="2298"/>
                  </a:lnTo>
                  <a:lnTo>
                    <a:pt x="2932" y="2290"/>
                  </a:lnTo>
                  <a:lnTo>
                    <a:pt x="2932" y="2290"/>
                  </a:lnTo>
                  <a:lnTo>
                    <a:pt x="2932" y="2286"/>
                  </a:lnTo>
                  <a:lnTo>
                    <a:pt x="2928" y="2284"/>
                  </a:lnTo>
                  <a:lnTo>
                    <a:pt x="2916" y="2280"/>
                  </a:lnTo>
                  <a:lnTo>
                    <a:pt x="2892" y="2276"/>
                  </a:lnTo>
                  <a:lnTo>
                    <a:pt x="2892" y="2276"/>
                  </a:lnTo>
                  <a:lnTo>
                    <a:pt x="2888" y="2274"/>
                  </a:lnTo>
                  <a:lnTo>
                    <a:pt x="2886" y="2272"/>
                  </a:lnTo>
                  <a:lnTo>
                    <a:pt x="2884" y="2270"/>
                  </a:lnTo>
                  <a:lnTo>
                    <a:pt x="2884" y="2268"/>
                  </a:lnTo>
                  <a:lnTo>
                    <a:pt x="2888" y="2262"/>
                  </a:lnTo>
                  <a:lnTo>
                    <a:pt x="2896" y="2260"/>
                  </a:lnTo>
                  <a:lnTo>
                    <a:pt x="2896" y="2260"/>
                  </a:lnTo>
                  <a:lnTo>
                    <a:pt x="2898" y="2260"/>
                  </a:lnTo>
                  <a:lnTo>
                    <a:pt x="2900" y="2258"/>
                  </a:lnTo>
                  <a:lnTo>
                    <a:pt x="2894" y="2256"/>
                  </a:lnTo>
                  <a:lnTo>
                    <a:pt x="2884" y="2254"/>
                  </a:lnTo>
                  <a:lnTo>
                    <a:pt x="2872" y="2254"/>
                  </a:lnTo>
                  <a:lnTo>
                    <a:pt x="2872" y="2254"/>
                  </a:lnTo>
                  <a:lnTo>
                    <a:pt x="2860" y="2256"/>
                  </a:lnTo>
                  <a:lnTo>
                    <a:pt x="2846" y="2262"/>
                  </a:lnTo>
                  <a:lnTo>
                    <a:pt x="2820" y="2272"/>
                  </a:lnTo>
                  <a:lnTo>
                    <a:pt x="2820" y="2272"/>
                  </a:lnTo>
                  <a:lnTo>
                    <a:pt x="2814" y="2274"/>
                  </a:lnTo>
                  <a:lnTo>
                    <a:pt x="2808" y="2272"/>
                  </a:lnTo>
                  <a:lnTo>
                    <a:pt x="2794" y="2266"/>
                  </a:lnTo>
                  <a:lnTo>
                    <a:pt x="2782" y="2258"/>
                  </a:lnTo>
                  <a:lnTo>
                    <a:pt x="2774" y="2256"/>
                  </a:lnTo>
                  <a:lnTo>
                    <a:pt x="2768" y="2258"/>
                  </a:lnTo>
                  <a:lnTo>
                    <a:pt x="2768" y="2258"/>
                  </a:lnTo>
                  <a:lnTo>
                    <a:pt x="2756" y="2260"/>
                  </a:lnTo>
                  <a:lnTo>
                    <a:pt x="2744" y="2260"/>
                  </a:lnTo>
                  <a:lnTo>
                    <a:pt x="2740" y="2260"/>
                  </a:lnTo>
                  <a:lnTo>
                    <a:pt x="2736" y="2258"/>
                  </a:lnTo>
                  <a:lnTo>
                    <a:pt x="2734" y="2256"/>
                  </a:lnTo>
                  <a:lnTo>
                    <a:pt x="2732" y="2252"/>
                  </a:lnTo>
                  <a:lnTo>
                    <a:pt x="2732" y="2252"/>
                  </a:lnTo>
                  <a:lnTo>
                    <a:pt x="2732" y="2242"/>
                  </a:lnTo>
                  <a:lnTo>
                    <a:pt x="2728" y="2236"/>
                  </a:lnTo>
                  <a:lnTo>
                    <a:pt x="2722" y="2232"/>
                  </a:lnTo>
                  <a:lnTo>
                    <a:pt x="2712" y="2230"/>
                  </a:lnTo>
                  <a:lnTo>
                    <a:pt x="2712" y="2230"/>
                  </a:lnTo>
                  <a:lnTo>
                    <a:pt x="2706" y="2230"/>
                  </a:lnTo>
                  <a:lnTo>
                    <a:pt x="2704" y="2228"/>
                  </a:lnTo>
                  <a:lnTo>
                    <a:pt x="2698" y="2222"/>
                  </a:lnTo>
                  <a:lnTo>
                    <a:pt x="2696" y="2218"/>
                  </a:lnTo>
                  <a:lnTo>
                    <a:pt x="2692" y="2216"/>
                  </a:lnTo>
                  <a:lnTo>
                    <a:pt x="2688" y="2214"/>
                  </a:lnTo>
                  <a:lnTo>
                    <a:pt x="2688" y="2214"/>
                  </a:lnTo>
                  <a:lnTo>
                    <a:pt x="2686" y="2216"/>
                  </a:lnTo>
                  <a:lnTo>
                    <a:pt x="2684" y="2218"/>
                  </a:lnTo>
                  <a:lnTo>
                    <a:pt x="2684" y="2222"/>
                  </a:lnTo>
                  <a:lnTo>
                    <a:pt x="2684" y="2228"/>
                  </a:lnTo>
                  <a:lnTo>
                    <a:pt x="2684" y="2230"/>
                  </a:lnTo>
                  <a:lnTo>
                    <a:pt x="2680" y="2232"/>
                  </a:lnTo>
                  <a:lnTo>
                    <a:pt x="2680" y="2232"/>
                  </a:lnTo>
                  <a:lnTo>
                    <a:pt x="2660" y="2240"/>
                  </a:lnTo>
                  <a:lnTo>
                    <a:pt x="2650" y="2246"/>
                  </a:lnTo>
                  <a:lnTo>
                    <a:pt x="2646" y="2250"/>
                  </a:lnTo>
                  <a:lnTo>
                    <a:pt x="2644" y="2254"/>
                  </a:lnTo>
                  <a:lnTo>
                    <a:pt x="2644" y="2254"/>
                  </a:lnTo>
                  <a:lnTo>
                    <a:pt x="2644" y="2258"/>
                  </a:lnTo>
                  <a:lnTo>
                    <a:pt x="2646" y="2262"/>
                  </a:lnTo>
                  <a:lnTo>
                    <a:pt x="2650" y="2274"/>
                  </a:lnTo>
                  <a:lnTo>
                    <a:pt x="2654" y="2284"/>
                  </a:lnTo>
                  <a:lnTo>
                    <a:pt x="2654" y="2290"/>
                  </a:lnTo>
                  <a:lnTo>
                    <a:pt x="2654" y="2294"/>
                  </a:lnTo>
                  <a:lnTo>
                    <a:pt x="2654" y="2294"/>
                  </a:lnTo>
                  <a:lnTo>
                    <a:pt x="2650" y="2296"/>
                  </a:lnTo>
                  <a:lnTo>
                    <a:pt x="2648" y="2298"/>
                  </a:lnTo>
                  <a:lnTo>
                    <a:pt x="2642" y="2298"/>
                  </a:lnTo>
                  <a:lnTo>
                    <a:pt x="2638" y="2298"/>
                  </a:lnTo>
                  <a:lnTo>
                    <a:pt x="2630" y="2292"/>
                  </a:lnTo>
                  <a:lnTo>
                    <a:pt x="2624" y="2284"/>
                  </a:lnTo>
                  <a:lnTo>
                    <a:pt x="2624" y="2284"/>
                  </a:lnTo>
                  <a:lnTo>
                    <a:pt x="2624" y="2280"/>
                  </a:lnTo>
                  <a:lnTo>
                    <a:pt x="2624" y="2274"/>
                  </a:lnTo>
                  <a:lnTo>
                    <a:pt x="2630" y="2264"/>
                  </a:lnTo>
                  <a:lnTo>
                    <a:pt x="2636" y="2254"/>
                  </a:lnTo>
                  <a:lnTo>
                    <a:pt x="2636" y="2252"/>
                  </a:lnTo>
                  <a:lnTo>
                    <a:pt x="2636" y="2248"/>
                  </a:lnTo>
                  <a:lnTo>
                    <a:pt x="2636" y="2248"/>
                  </a:lnTo>
                  <a:lnTo>
                    <a:pt x="2634" y="2242"/>
                  </a:lnTo>
                  <a:lnTo>
                    <a:pt x="2632" y="2234"/>
                  </a:lnTo>
                  <a:lnTo>
                    <a:pt x="2634" y="2228"/>
                  </a:lnTo>
                  <a:lnTo>
                    <a:pt x="2636" y="2226"/>
                  </a:lnTo>
                  <a:lnTo>
                    <a:pt x="2640" y="2224"/>
                  </a:lnTo>
                  <a:lnTo>
                    <a:pt x="2640" y="2224"/>
                  </a:lnTo>
                  <a:lnTo>
                    <a:pt x="2646" y="2222"/>
                  </a:lnTo>
                  <a:lnTo>
                    <a:pt x="2652" y="2218"/>
                  </a:lnTo>
                  <a:lnTo>
                    <a:pt x="2652" y="2214"/>
                  </a:lnTo>
                  <a:lnTo>
                    <a:pt x="2652" y="2212"/>
                  </a:lnTo>
                  <a:lnTo>
                    <a:pt x="2646" y="2208"/>
                  </a:lnTo>
                  <a:lnTo>
                    <a:pt x="2646" y="2208"/>
                  </a:lnTo>
                  <a:lnTo>
                    <a:pt x="2642" y="2206"/>
                  </a:lnTo>
                  <a:lnTo>
                    <a:pt x="2638" y="2206"/>
                  </a:lnTo>
                  <a:lnTo>
                    <a:pt x="2630" y="2212"/>
                  </a:lnTo>
                  <a:lnTo>
                    <a:pt x="2624" y="2218"/>
                  </a:lnTo>
                  <a:lnTo>
                    <a:pt x="2620" y="2220"/>
                  </a:lnTo>
                  <a:lnTo>
                    <a:pt x="2616" y="2222"/>
                  </a:lnTo>
                  <a:lnTo>
                    <a:pt x="2616" y="2222"/>
                  </a:lnTo>
                  <a:lnTo>
                    <a:pt x="2608" y="2224"/>
                  </a:lnTo>
                  <a:lnTo>
                    <a:pt x="2602" y="2228"/>
                  </a:lnTo>
                  <a:lnTo>
                    <a:pt x="2596" y="2232"/>
                  </a:lnTo>
                  <a:lnTo>
                    <a:pt x="2592" y="2236"/>
                  </a:lnTo>
                  <a:lnTo>
                    <a:pt x="2592" y="2236"/>
                  </a:lnTo>
                  <a:lnTo>
                    <a:pt x="2584" y="2238"/>
                  </a:lnTo>
                  <a:lnTo>
                    <a:pt x="2576" y="2238"/>
                  </a:lnTo>
                  <a:lnTo>
                    <a:pt x="2570" y="2240"/>
                  </a:lnTo>
                  <a:lnTo>
                    <a:pt x="2568" y="2242"/>
                  </a:lnTo>
                  <a:lnTo>
                    <a:pt x="2566" y="2244"/>
                  </a:lnTo>
                  <a:lnTo>
                    <a:pt x="2566" y="2244"/>
                  </a:lnTo>
                  <a:lnTo>
                    <a:pt x="2566" y="2246"/>
                  </a:lnTo>
                  <a:lnTo>
                    <a:pt x="2562" y="2246"/>
                  </a:lnTo>
                  <a:lnTo>
                    <a:pt x="2558" y="2244"/>
                  </a:lnTo>
                  <a:lnTo>
                    <a:pt x="2554" y="2242"/>
                  </a:lnTo>
                  <a:lnTo>
                    <a:pt x="2554" y="2242"/>
                  </a:lnTo>
                  <a:lnTo>
                    <a:pt x="2550" y="2242"/>
                  </a:lnTo>
                  <a:lnTo>
                    <a:pt x="2546" y="2244"/>
                  </a:lnTo>
                  <a:lnTo>
                    <a:pt x="2538" y="2250"/>
                  </a:lnTo>
                  <a:lnTo>
                    <a:pt x="2532" y="2258"/>
                  </a:lnTo>
                  <a:lnTo>
                    <a:pt x="2530" y="2262"/>
                  </a:lnTo>
                  <a:lnTo>
                    <a:pt x="2528" y="2266"/>
                  </a:lnTo>
                  <a:lnTo>
                    <a:pt x="2528" y="2266"/>
                  </a:lnTo>
                  <a:lnTo>
                    <a:pt x="2530" y="2272"/>
                  </a:lnTo>
                  <a:lnTo>
                    <a:pt x="2528" y="2278"/>
                  </a:lnTo>
                  <a:lnTo>
                    <a:pt x="2526" y="2284"/>
                  </a:lnTo>
                  <a:lnTo>
                    <a:pt x="2518" y="2292"/>
                  </a:lnTo>
                  <a:lnTo>
                    <a:pt x="2518" y="2292"/>
                  </a:lnTo>
                  <a:lnTo>
                    <a:pt x="2510" y="2298"/>
                  </a:lnTo>
                  <a:lnTo>
                    <a:pt x="2502" y="2308"/>
                  </a:lnTo>
                  <a:lnTo>
                    <a:pt x="2492" y="2322"/>
                  </a:lnTo>
                  <a:lnTo>
                    <a:pt x="2492" y="2322"/>
                  </a:lnTo>
                  <a:lnTo>
                    <a:pt x="2490" y="2324"/>
                  </a:lnTo>
                  <a:lnTo>
                    <a:pt x="2486" y="2324"/>
                  </a:lnTo>
                  <a:lnTo>
                    <a:pt x="2482" y="2320"/>
                  </a:lnTo>
                  <a:lnTo>
                    <a:pt x="2468" y="2302"/>
                  </a:lnTo>
                  <a:lnTo>
                    <a:pt x="2468" y="2302"/>
                  </a:lnTo>
                  <a:lnTo>
                    <a:pt x="2464" y="2298"/>
                  </a:lnTo>
                  <a:lnTo>
                    <a:pt x="2460" y="2294"/>
                  </a:lnTo>
                  <a:lnTo>
                    <a:pt x="2450" y="2290"/>
                  </a:lnTo>
                  <a:lnTo>
                    <a:pt x="2440" y="2288"/>
                  </a:lnTo>
                  <a:lnTo>
                    <a:pt x="2430" y="2284"/>
                  </a:lnTo>
                  <a:lnTo>
                    <a:pt x="2430" y="2284"/>
                  </a:lnTo>
                  <a:lnTo>
                    <a:pt x="2422" y="2282"/>
                  </a:lnTo>
                  <a:lnTo>
                    <a:pt x="2412" y="2286"/>
                  </a:lnTo>
                  <a:lnTo>
                    <a:pt x="2402" y="2290"/>
                  </a:lnTo>
                  <a:lnTo>
                    <a:pt x="2392" y="2298"/>
                  </a:lnTo>
                  <a:lnTo>
                    <a:pt x="2392" y="2298"/>
                  </a:lnTo>
                  <a:lnTo>
                    <a:pt x="2386" y="2302"/>
                  </a:lnTo>
                  <a:lnTo>
                    <a:pt x="2382" y="2306"/>
                  </a:lnTo>
                  <a:lnTo>
                    <a:pt x="2376" y="2306"/>
                  </a:lnTo>
                  <a:lnTo>
                    <a:pt x="2370" y="2306"/>
                  </a:lnTo>
                  <a:lnTo>
                    <a:pt x="2358" y="2302"/>
                  </a:lnTo>
                  <a:lnTo>
                    <a:pt x="2348" y="2298"/>
                  </a:lnTo>
                  <a:lnTo>
                    <a:pt x="2348" y="2298"/>
                  </a:lnTo>
                  <a:lnTo>
                    <a:pt x="2338" y="2288"/>
                  </a:lnTo>
                  <a:lnTo>
                    <a:pt x="2324" y="2272"/>
                  </a:lnTo>
                  <a:lnTo>
                    <a:pt x="2304" y="2246"/>
                  </a:lnTo>
                  <a:lnTo>
                    <a:pt x="2304" y="2246"/>
                  </a:lnTo>
                  <a:lnTo>
                    <a:pt x="2302" y="2238"/>
                  </a:lnTo>
                  <a:lnTo>
                    <a:pt x="2304" y="2230"/>
                  </a:lnTo>
                  <a:lnTo>
                    <a:pt x="2310" y="2210"/>
                  </a:lnTo>
                  <a:lnTo>
                    <a:pt x="2310" y="2210"/>
                  </a:lnTo>
                  <a:lnTo>
                    <a:pt x="2312" y="2200"/>
                  </a:lnTo>
                  <a:lnTo>
                    <a:pt x="2312" y="2186"/>
                  </a:lnTo>
                  <a:lnTo>
                    <a:pt x="2312" y="2172"/>
                  </a:lnTo>
                  <a:lnTo>
                    <a:pt x="2312" y="2168"/>
                  </a:lnTo>
                  <a:lnTo>
                    <a:pt x="2314" y="2164"/>
                  </a:lnTo>
                  <a:lnTo>
                    <a:pt x="2314" y="2164"/>
                  </a:lnTo>
                  <a:lnTo>
                    <a:pt x="2318" y="2160"/>
                  </a:lnTo>
                  <a:lnTo>
                    <a:pt x="2318" y="2154"/>
                  </a:lnTo>
                  <a:lnTo>
                    <a:pt x="2320" y="2136"/>
                  </a:lnTo>
                  <a:lnTo>
                    <a:pt x="2320" y="2136"/>
                  </a:lnTo>
                  <a:lnTo>
                    <a:pt x="2320" y="2130"/>
                  </a:lnTo>
                  <a:lnTo>
                    <a:pt x="2318" y="2126"/>
                  </a:lnTo>
                  <a:lnTo>
                    <a:pt x="2316" y="2124"/>
                  </a:lnTo>
                  <a:lnTo>
                    <a:pt x="2312" y="2122"/>
                  </a:lnTo>
                  <a:lnTo>
                    <a:pt x="2300" y="2118"/>
                  </a:lnTo>
                  <a:lnTo>
                    <a:pt x="2296" y="2116"/>
                  </a:lnTo>
                  <a:lnTo>
                    <a:pt x="2290" y="2112"/>
                  </a:lnTo>
                  <a:lnTo>
                    <a:pt x="2290" y="2112"/>
                  </a:lnTo>
                  <a:lnTo>
                    <a:pt x="2284" y="2108"/>
                  </a:lnTo>
                  <a:lnTo>
                    <a:pt x="2278" y="2104"/>
                  </a:lnTo>
                  <a:lnTo>
                    <a:pt x="2270" y="2104"/>
                  </a:lnTo>
                  <a:lnTo>
                    <a:pt x="2262" y="2104"/>
                  </a:lnTo>
                  <a:lnTo>
                    <a:pt x="2246" y="2106"/>
                  </a:lnTo>
                  <a:lnTo>
                    <a:pt x="2232" y="2110"/>
                  </a:lnTo>
                  <a:lnTo>
                    <a:pt x="2232" y="2110"/>
                  </a:lnTo>
                  <a:lnTo>
                    <a:pt x="2226" y="2112"/>
                  </a:lnTo>
                  <a:lnTo>
                    <a:pt x="2220" y="2112"/>
                  </a:lnTo>
                  <a:lnTo>
                    <a:pt x="2206" y="2110"/>
                  </a:lnTo>
                  <a:lnTo>
                    <a:pt x="2194" y="2110"/>
                  </a:lnTo>
                  <a:lnTo>
                    <a:pt x="2188" y="2110"/>
                  </a:lnTo>
                  <a:lnTo>
                    <a:pt x="2182" y="2114"/>
                  </a:lnTo>
                  <a:lnTo>
                    <a:pt x="2182" y="2114"/>
                  </a:lnTo>
                  <a:lnTo>
                    <a:pt x="2176" y="2116"/>
                  </a:lnTo>
                  <a:lnTo>
                    <a:pt x="2172" y="2116"/>
                  </a:lnTo>
                  <a:lnTo>
                    <a:pt x="2170" y="2114"/>
                  </a:lnTo>
                  <a:lnTo>
                    <a:pt x="2170" y="2110"/>
                  </a:lnTo>
                  <a:lnTo>
                    <a:pt x="2172" y="2102"/>
                  </a:lnTo>
                  <a:lnTo>
                    <a:pt x="2178" y="2094"/>
                  </a:lnTo>
                  <a:lnTo>
                    <a:pt x="2178" y="2094"/>
                  </a:lnTo>
                  <a:lnTo>
                    <a:pt x="2180" y="2090"/>
                  </a:lnTo>
                  <a:lnTo>
                    <a:pt x="2182" y="2084"/>
                  </a:lnTo>
                  <a:lnTo>
                    <a:pt x="2182" y="2068"/>
                  </a:lnTo>
                  <a:lnTo>
                    <a:pt x="2180" y="2056"/>
                  </a:lnTo>
                  <a:lnTo>
                    <a:pt x="2182" y="2050"/>
                  </a:lnTo>
                  <a:lnTo>
                    <a:pt x="2186" y="2048"/>
                  </a:lnTo>
                  <a:lnTo>
                    <a:pt x="2186" y="2048"/>
                  </a:lnTo>
                  <a:lnTo>
                    <a:pt x="2190" y="2046"/>
                  </a:lnTo>
                  <a:lnTo>
                    <a:pt x="2194" y="2042"/>
                  </a:lnTo>
                  <a:lnTo>
                    <a:pt x="2198" y="2032"/>
                  </a:lnTo>
                  <a:lnTo>
                    <a:pt x="2202" y="2020"/>
                  </a:lnTo>
                  <a:lnTo>
                    <a:pt x="2204" y="2008"/>
                  </a:lnTo>
                  <a:lnTo>
                    <a:pt x="2204" y="2008"/>
                  </a:lnTo>
                  <a:lnTo>
                    <a:pt x="2204" y="1998"/>
                  </a:lnTo>
                  <a:lnTo>
                    <a:pt x="2204" y="1990"/>
                  </a:lnTo>
                  <a:lnTo>
                    <a:pt x="2204" y="1984"/>
                  </a:lnTo>
                  <a:lnTo>
                    <a:pt x="2208" y="1976"/>
                  </a:lnTo>
                  <a:lnTo>
                    <a:pt x="2208" y="1976"/>
                  </a:lnTo>
                  <a:lnTo>
                    <a:pt x="2220" y="1966"/>
                  </a:lnTo>
                  <a:lnTo>
                    <a:pt x="2224" y="1962"/>
                  </a:lnTo>
                  <a:lnTo>
                    <a:pt x="2224" y="1954"/>
                  </a:lnTo>
                  <a:lnTo>
                    <a:pt x="2224" y="1954"/>
                  </a:lnTo>
                  <a:lnTo>
                    <a:pt x="2222" y="1950"/>
                  </a:lnTo>
                  <a:lnTo>
                    <a:pt x="2220" y="1948"/>
                  </a:lnTo>
                  <a:lnTo>
                    <a:pt x="2214" y="1948"/>
                  </a:lnTo>
                  <a:lnTo>
                    <a:pt x="2208" y="1950"/>
                  </a:lnTo>
                  <a:lnTo>
                    <a:pt x="2204" y="1950"/>
                  </a:lnTo>
                  <a:lnTo>
                    <a:pt x="2200" y="1948"/>
                  </a:lnTo>
                  <a:lnTo>
                    <a:pt x="2200" y="1948"/>
                  </a:lnTo>
                  <a:lnTo>
                    <a:pt x="2192" y="1946"/>
                  </a:lnTo>
                  <a:lnTo>
                    <a:pt x="2184" y="1946"/>
                  </a:lnTo>
                  <a:lnTo>
                    <a:pt x="2156" y="1950"/>
                  </a:lnTo>
                  <a:lnTo>
                    <a:pt x="2156" y="1950"/>
                  </a:lnTo>
                  <a:lnTo>
                    <a:pt x="2140" y="1954"/>
                  </a:lnTo>
                  <a:lnTo>
                    <a:pt x="2130" y="1960"/>
                  </a:lnTo>
                  <a:lnTo>
                    <a:pt x="2126" y="1964"/>
                  </a:lnTo>
                  <a:lnTo>
                    <a:pt x="2124" y="1970"/>
                  </a:lnTo>
                  <a:lnTo>
                    <a:pt x="2122" y="1976"/>
                  </a:lnTo>
                  <a:lnTo>
                    <a:pt x="2122" y="1982"/>
                  </a:lnTo>
                  <a:lnTo>
                    <a:pt x="2122" y="1982"/>
                  </a:lnTo>
                  <a:lnTo>
                    <a:pt x="2122" y="1990"/>
                  </a:lnTo>
                  <a:lnTo>
                    <a:pt x="2118" y="1994"/>
                  </a:lnTo>
                  <a:lnTo>
                    <a:pt x="2116" y="1998"/>
                  </a:lnTo>
                  <a:lnTo>
                    <a:pt x="2114" y="2006"/>
                  </a:lnTo>
                  <a:lnTo>
                    <a:pt x="2114" y="2006"/>
                  </a:lnTo>
                  <a:lnTo>
                    <a:pt x="2114" y="2012"/>
                  </a:lnTo>
                  <a:lnTo>
                    <a:pt x="2112" y="2016"/>
                  </a:lnTo>
                  <a:lnTo>
                    <a:pt x="2104" y="2022"/>
                  </a:lnTo>
                  <a:lnTo>
                    <a:pt x="2098" y="2026"/>
                  </a:lnTo>
                  <a:lnTo>
                    <a:pt x="2096" y="2028"/>
                  </a:lnTo>
                  <a:lnTo>
                    <a:pt x="2096" y="2032"/>
                  </a:lnTo>
                  <a:lnTo>
                    <a:pt x="2096" y="2032"/>
                  </a:lnTo>
                  <a:lnTo>
                    <a:pt x="2096" y="2034"/>
                  </a:lnTo>
                  <a:lnTo>
                    <a:pt x="2094" y="2034"/>
                  </a:lnTo>
                  <a:lnTo>
                    <a:pt x="2088" y="2034"/>
                  </a:lnTo>
                  <a:lnTo>
                    <a:pt x="2076" y="2028"/>
                  </a:lnTo>
                  <a:lnTo>
                    <a:pt x="2076" y="2028"/>
                  </a:lnTo>
                  <a:lnTo>
                    <a:pt x="2072" y="2028"/>
                  </a:lnTo>
                  <a:lnTo>
                    <a:pt x="2064" y="2028"/>
                  </a:lnTo>
                  <a:lnTo>
                    <a:pt x="2044" y="2034"/>
                  </a:lnTo>
                  <a:lnTo>
                    <a:pt x="2012" y="2042"/>
                  </a:lnTo>
                  <a:lnTo>
                    <a:pt x="2012" y="2042"/>
                  </a:lnTo>
                  <a:lnTo>
                    <a:pt x="2004" y="2040"/>
                  </a:lnTo>
                  <a:lnTo>
                    <a:pt x="1996" y="2036"/>
                  </a:lnTo>
                  <a:lnTo>
                    <a:pt x="1988" y="2030"/>
                  </a:lnTo>
                  <a:lnTo>
                    <a:pt x="1984" y="2028"/>
                  </a:lnTo>
                  <a:lnTo>
                    <a:pt x="1980" y="2028"/>
                  </a:lnTo>
                  <a:lnTo>
                    <a:pt x="1980" y="2028"/>
                  </a:lnTo>
                  <a:lnTo>
                    <a:pt x="1976" y="2028"/>
                  </a:lnTo>
                  <a:lnTo>
                    <a:pt x="1974" y="2026"/>
                  </a:lnTo>
                  <a:lnTo>
                    <a:pt x="1970" y="2018"/>
                  </a:lnTo>
                  <a:lnTo>
                    <a:pt x="1966" y="2010"/>
                  </a:lnTo>
                  <a:lnTo>
                    <a:pt x="1964" y="2000"/>
                  </a:lnTo>
                  <a:lnTo>
                    <a:pt x="1964" y="2000"/>
                  </a:lnTo>
                  <a:lnTo>
                    <a:pt x="1964" y="1996"/>
                  </a:lnTo>
                  <a:lnTo>
                    <a:pt x="1960" y="1990"/>
                  </a:lnTo>
                  <a:lnTo>
                    <a:pt x="1952" y="1982"/>
                  </a:lnTo>
                  <a:lnTo>
                    <a:pt x="1944" y="1972"/>
                  </a:lnTo>
                  <a:lnTo>
                    <a:pt x="1936" y="1964"/>
                  </a:lnTo>
                  <a:lnTo>
                    <a:pt x="1936" y="1964"/>
                  </a:lnTo>
                  <a:lnTo>
                    <a:pt x="1930" y="1954"/>
                  </a:lnTo>
                  <a:lnTo>
                    <a:pt x="1928" y="1940"/>
                  </a:lnTo>
                  <a:lnTo>
                    <a:pt x="1926" y="1910"/>
                  </a:lnTo>
                  <a:lnTo>
                    <a:pt x="1926" y="1910"/>
                  </a:lnTo>
                  <a:lnTo>
                    <a:pt x="1924" y="1896"/>
                  </a:lnTo>
                  <a:lnTo>
                    <a:pt x="1926" y="1878"/>
                  </a:lnTo>
                  <a:lnTo>
                    <a:pt x="1928" y="1858"/>
                  </a:lnTo>
                  <a:lnTo>
                    <a:pt x="1934" y="1834"/>
                  </a:lnTo>
                  <a:lnTo>
                    <a:pt x="1934" y="1834"/>
                  </a:lnTo>
                  <a:lnTo>
                    <a:pt x="1936" y="1824"/>
                  </a:lnTo>
                  <a:lnTo>
                    <a:pt x="1936" y="1816"/>
                  </a:lnTo>
                  <a:lnTo>
                    <a:pt x="1934" y="1808"/>
                  </a:lnTo>
                  <a:lnTo>
                    <a:pt x="1930" y="1804"/>
                  </a:lnTo>
                  <a:lnTo>
                    <a:pt x="1926" y="1796"/>
                  </a:lnTo>
                  <a:lnTo>
                    <a:pt x="1926" y="1792"/>
                  </a:lnTo>
                  <a:lnTo>
                    <a:pt x="1930" y="1788"/>
                  </a:lnTo>
                  <a:lnTo>
                    <a:pt x="1930" y="1788"/>
                  </a:lnTo>
                  <a:lnTo>
                    <a:pt x="1934" y="1784"/>
                  </a:lnTo>
                  <a:lnTo>
                    <a:pt x="1936" y="1780"/>
                  </a:lnTo>
                  <a:lnTo>
                    <a:pt x="1936" y="1776"/>
                  </a:lnTo>
                  <a:lnTo>
                    <a:pt x="1936" y="1772"/>
                  </a:lnTo>
                  <a:lnTo>
                    <a:pt x="1934" y="1766"/>
                  </a:lnTo>
                  <a:lnTo>
                    <a:pt x="1934" y="1764"/>
                  </a:lnTo>
                  <a:lnTo>
                    <a:pt x="1936" y="1762"/>
                  </a:lnTo>
                  <a:lnTo>
                    <a:pt x="1936" y="1762"/>
                  </a:lnTo>
                  <a:lnTo>
                    <a:pt x="1948" y="1754"/>
                  </a:lnTo>
                  <a:lnTo>
                    <a:pt x="1954" y="1750"/>
                  </a:lnTo>
                  <a:lnTo>
                    <a:pt x="1956" y="1746"/>
                  </a:lnTo>
                  <a:lnTo>
                    <a:pt x="1956" y="1746"/>
                  </a:lnTo>
                  <a:lnTo>
                    <a:pt x="1956" y="1742"/>
                  </a:lnTo>
                  <a:lnTo>
                    <a:pt x="1960" y="1740"/>
                  </a:lnTo>
                  <a:lnTo>
                    <a:pt x="1972" y="1740"/>
                  </a:lnTo>
                  <a:lnTo>
                    <a:pt x="1972" y="1740"/>
                  </a:lnTo>
                  <a:lnTo>
                    <a:pt x="1976" y="1738"/>
                  </a:lnTo>
                  <a:lnTo>
                    <a:pt x="1980" y="1738"/>
                  </a:lnTo>
                  <a:lnTo>
                    <a:pt x="1990" y="1732"/>
                  </a:lnTo>
                  <a:lnTo>
                    <a:pt x="1996" y="1724"/>
                  </a:lnTo>
                  <a:lnTo>
                    <a:pt x="1998" y="1720"/>
                  </a:lnTo>
                  <a:lnTo>
                    <a:pt x="1998" y="1716"/>
                  </a:lnTo>
                  <a:lnTo>
                    <a:pt x="1998" y="1716"/>
                  </a:lnTo>
                  <a:lnTo>
                    <a:pt x="1998" y="1712"/>
                  </a:lnTo>
                  <a:lnTo>
                    <a:pt x="2000" y="1710"/>
                  </a:lnTo>
                  <a:lnTo>
                    <a:pt x="2004" y="1710"/>
                  </a:lnTo>
                  <a:lnTo>
                    <a:pt x="2012" y="1712"/>
                  </a:lnTo>
                  <a:lnTo>
                    <a:pt x="2012" y="1712"/>
                  </a:lnTo>
                  <a:lnTo>
                    <a:pt x="2016" y="1712"/>
                  </a:lnTo>
                  <a:lnTo>
                    <a:pt x="2018" y="1710"/>
                  </a:lnTo>
                  <a:lnTo>
                    <a:pt x="2022" y="1706"/>
                  </a:lnTo>
                  <a:lnTo>
                    <a:pt x="2024" y="1702"/>
                  </a:lnTo>
                  <a:lnTo>
                    <a:pt x="2026" y="1700"/>
                  </a:lnTo>
                  <a:lnTo>
                    <a:pt x="2028" y="1700"/>
                  </a:lnTo>
                  <a:lnTo>
                    <a:pt x="2028" y="1700"/>
                  </a:lnTo>
                  <a:lnTo>
                    <a:pt x="2038" y="1704"/>
                  </a:lnTo>
                  <a:lnTo>
                    <a:pt x="2042" y="1704"/>
                  </a:lnTo>
                  <a:lnTo>
                    <a:pt x="2042" y="1702"/>
                  </a:lnTo>
                  <a:lnTo>
                    <a:pt x="2042" y="1702"/>
                  </a:lnTo>
                  <a:lnTo>
                    <a:pt x="2044" y="1698"/>
                  </a:lnTo>
                  <a:lnTo>
                    <a:pt x="2048" y="1698"/>
                  </a:lnTo>
                  <a:lnTo>
                    <a:pt x="2052" y="1700"/>
                  </a:lnTo>
                  <a:lnTo>
                    <a:pt x="2056" y="1704"/>
                  </a:lnTo>
                  <a:lnTo>
                    <a:pt x="2056" y="1704"/>
                  </a:lnTo>
                  <a:lnTo>
                    <a:pt x="2062" y="1710"/>
                  </a:lnTo>
                  <a:lnTo>
                    <a:pt x="2068" y="1710"/>
                  </a:lnTo>
                  <a:lnTo>
                    <a:pt x="2076" y="1710"/>
                  </a:lnTo>
                  <a:lnTo>
                    <a:pt x="2078" y="1708"/>
                  </a:lnTo>
                  <a:lnTo>
                    <a:pt x="2078" y="1706"/>
                  </a:lnTo>
                  <a:lnTo>
                    <a:pt x="2078" y="1706"/>
                  </a:lnTo>
                  <a:lnTo>
                    <a:pt x="2080" y="1702"/>
                  </a:lnTo>
                  <a:lnTo>
                    <a:pt x="2080" y="1702"/>
                  </a:lnTo>
                  <a:lnTo>
                    <a:pt x="2084" y="1704"/>
                  </a:lnTo>
                  <a:lnTo>
                    <a:pt x="2096" y="1714"/>
                  </a:lnTo>
                  <a:lnTo>
                    <a:pt x="2096" y="1714"/>
                  </a:lnTo>
                  <a:lnTo>
                    <a:pt x="2102" y="1718"/>
                  </a:lnTo>
                  <a:lnTo>
                    <a:pt x="2106" y="1720"/>
                  </a:lnTo>
                  <a:lnTo>
                    <a:pt x="2120" y="1720"/>
                  </a:lnTo>
                  <a:lnTo>
                    <a:pt x="2120" y="1720"/>
                  </a:lnTo>
                  <a:lnTo>
                    <a:pt x="2126" y="1720"/>
                  </a:lnTo>
                  <a:lnTo>
                    <a:pt x="2130" y="1718"/>
                  </a:lnTo>
                  <a:lnTo>
                    <a:pt x="2130" y="1716"/>
                  </a:lnTo>
                  <a:lnTo>
                    <a:pt x="2132" y="1710"/>
                  </a:lnTo>
                  <a:lnTo>
                    <a:pt x="2132" y="1710"/>
                  </a:lnTo>
                  <a:lnTo>
                    <a:pt x="2132" y="1710"/>
                  </a:lnTo>
                  <a:lnTo>
                    <a:pt x="2134" y="1710"/>
                  </a:lnTo>
                  <a:lnTo>
                    <a:pt x="2140" y="1716"/>
                  </a:lnTo>
                  <a:lnTo>
                    <a:pt x="2148" y="1724"/>
                  </a:lnTo>
                  <a:lnTo>
                    <a:pt x="2152" y="1726"/>
                  </a:lnTo>
                  <a:lnTo>
                    <a:pt x="2156" y="1728"/>
                  </a:lnTo>
                  <a:lnTo>
                    <a:pt x="2156" y="1728"/>
                  </a:lnTo>
                  <a:lnTo>
                    <a:pt x="2160" y="1728"/>
                  </a:lnTo>
                  <a:lnTo>
                    <a:pt x="2160" y="1724"/>
                  </a:lnTo>
                  <a:lnTo>
                    <a:pt x="2150" y="1714"/>
                  </a:lnTo>
                  <a:lnTo>
                    <a:pt x="2150" y="1714"/>
                  </a:lnTo>
                  <a:lnTo>
                    <a:pt x="2146" y="1710"/>
                  </a:lnTo>
                  <a:lnTo>
                    <a:pt x="2146" y="1706"/>
                  </a:lnTo>
                  <a:lnTo>
                    <a:pt x="2146" y="1702"/>
                  </a:lnTo>
                  <a:lnTo>
                    <a:pt x="2144" y="1698"/>
                  </a:lnTo>
                  <a:lnTo>
                    <a:pt x="2144" y="1698"/>
                  </a:lnTo>
                  <a:lnTo>
                    <a:pt x="2142" y="1696"/>
                  </a:lnTo>
                  <a:lnTo>
                    <a:pt x="2142" y="1694"/>
                  </a:lnTo>
                  <a:lnTo>
                    <a:pt x="2148" y="1690"/>
                  </a:lnTo>
                  <a:lnTo>
                    <a:pt x="2156" y="1688"/>
                  </a:lnTo>
                  <a:lnTo>
                    <a:pt x="2168" y="1686"/>
                  </a:lnTo>
                  <a:lnTo>
                    <a:pt x="2168" y="1686"/>
                  </a:lnTo>
                  <a:lnTo>
                    <a:pt x="2180" y="1688"/>
                  </a:lnTo>
                  <a:lnTo>
                    <a:pt x="2184" y="1686"/>
                  </a:lnTo>
                  <a:lnTo>
                    <a:pt x="2188" y="1682"/>
                  </a:lnTo>
                  <a:lnTo>
                    <a:pt x="2188" y="1682"/>
                  </a:lnTo>
                  <a:lnTo>
                    <a:pt x="2192" y="1678"/>
                  </a:lnTo>
                  <a:lnTo>
                    <a:pt x="2194" y="1680"/>
                  </a:lnTo>
                  <a:lnTo>
                    <a:pt x="2198" y="1684"/>
                  </a:lnTo>
                  <a:lnTo>
                    <a:pt x="2198" y="1690"/>
                  </a:lnTo>
                  <a:lnTo>
                    <a:pt x="2198" y="1690"/>
                  </a:lnTo>
                  <a:lnTo>
                    <a:pt x="2200" y="1692"/>
                  </a:lnTo>
                  <a:lnTo>
                    <a:pt x="2202" y="1692"/>
                  </a:lnTo>
                  <a:lnTo>
                    <a:pt x="2212" y="1690"/>
                  </a:lnTo>
                  <a:lnTo>
                    <a:pt x="2224" y="1688"/>
                  </a:lnTo>
                  <a:lnTo>
                    <a:pt x="2234" y="1686"/>
                  </a:lnTo>
                  <a:lnTo>
                    <a:pt x="2234" y="1686"/>
                  </a:lnTo>
                  <a:lnTo>
                    <a:pt x="2244" y="1688"/>
                  </a:lnTo>
                  <a:lnTo>
                    <a:pt x="2252" y="1692"/>
                  </a:lnTo>
                  <a:lnTo>
                    <a:pt x="2256" y="1698"/>
                  </a:lnTo>
                  <a:lnTo>
                    <a:pt x="2260" y="1704"/>
                  </a:lnTo>
                  <a:lnTo>
                    <a:pt x="2260" y="1704"/>
                  </a:lnTo>
                  <a:lnTo>
                    <a:pt x="2262" y="1708"/>
                  </a:lnTo>
                  <a:lnTo>
                    <a:pt x="2266" y="1710"/>
                  </a:lnTo>
                  <a:lnTo>
                    <a:pt x="2272" y="1710"/>
                  </a:lnTo>
                  <a:lnTo>
                    <a:pt x="2278" y="1706"/>
                  </a:lnTo>
                  <a:lnTo>
                    <a:pt x="2278" y="1706"/>
                  </a:lnTo>
                  <a:lnTo>
                    <a:pt x="2284" y="1700"/>
                  </a:lnTo>
                  <a:lnTo>
                    <a:pt x="2292" y="1696"/>
                  </a:lnTo>
                  <a:lnTo>
                    <a:pt x="2298" y="1694"/>
                  </a:lnTo>
                  <a:lnTo>
                    <a:pt x="2300" y="1696"/>
                  </a:lnTo>
                  <a:lnTo>
                    <a:pt x="2304" y="1698"/>
                  </a:lnTo>
                  <a:lnTo>
                    <a:pt x="2304" y="1698"/>
                  </a:lnTo>
                  <a:lnTo>
                    <a:pt x="2330" y="1728"/>
                  </a:lnTo>
                  <a:lnTo>
                    <a:pt x="2330" y="1728"/>
                  </a:lnTo>
                  <a:lnTo>
                    <a:pt x="2334" y="1732"/>
                  </a:lnTo>
                  <a:lnTo>
                    <a:pt x="2334" y="1736"/>
                  </a:lnTo>
                  <a:lnTo>
                    <a:pt x="2334" y="1744"/>
                  </a:lnTo>
                  <a:lnTo>
                    <a:pt x="2330" y="1752"/>
                  </a:lnTo>
                  <a:lnTo>
                    <a:pt x="2330" y="1756"/>
                  </a:lnTo>
                  <a:lnTo>
                    <a:pt x="2332" y="1760"/>
                  </a:lnTo>
                  <a:lnTo>
                    <a:pt x="2332" y="1760"/>
                  </a:lnTo>
                  <a:lnTo>
                    <a:pt x="2334" y="1766"/>
                  </a:lnTo>
                  <a:lnTo>
                    <a:pt x="2334" y="1772"/>
                  </a:lnTo>
                  <a:lnTo>
                    <a:pt x="2336" y="1780"/>
                  </a:lnTo>
                  <a:lnTo>
                    <a:pt x="2340" y="1784"/>
                  </a:lnTo>
                  <a:lnTo>
                    <a:pt x="2344" y="1786"/>
                  </a:lnTo>
                  <a:lnTo>
                    <a:pt x="2344" y="1786"/>
                  </a:lnTo>
                  <a:lnTo>
                    <a:pt x="2346" y="1790"/>
                  </a:lnTo>
                  <a:lnTo>
                    <a:pt x="2348" y="1794"/>
                  </a:lnTo>
                  <a:lnTo>
                    <a:pt x="2350" y="1802"/>
                  </a:lnTo>
                  <a:lnTo>
                    <a:pt x="2350" y="1810"/>
                  </a:lnTo>
                  <a:lnTo>
                    <a:pt x="2352" y="1814"/>
                  </a:lnTo>
                  <a:lnTo>
                    <a:pt x="2354" y="1814"/>
                  </a:lnTo>
                  <a:lnTo>
                    <a:pt x="2354" y="1814"/>
                  </a:lnTo>
                  <a:lnTo>
                    <a:pt x="2360" y="1818"/>
                  </a:lnTo>
                  <a:lnTo>
                    <a:pt x="2366" y="1826"/>
                  </a:lnTo>
                  <a:lnTo>
                    <a:pt x="2370" y="1832"/>
                  </a:lnTo>
                  <a:lnTo>
                    <a:pt x="2372" y="1838"/>
                  </a:lnTo>
                  <a:lnTo>
                    <a:pt x="2372" y="1838"/>
                  </a:lnTo>
                  <a:lnTo>
                    <a:pt x="2376" y="1842"/>
                  </a:lnTo>
                  <a:lnTo>
                    <a:pt x="2382" y="1846"/>
                  </a:lnTo>
                  <a:lnTo>
                    <a:pt x="2390" y="1846"/>
                  </a:lnTo>
                  <a:lnTo>
                    <a:pt x="2392" y="1846"/>
                  </a:lnTo>
                  <a:lnTo>
                    <a:pt x="2394" y="1842"/>
                  </a:lnTo>
                  <a:lnTo>
                    <a:pt x="2394" y="1842"/>
                  </a:lnTo>
                  <a:lnTo>
                    <a:pt x="2396" y="1834"/>
                  </a:lnTo>
                  <a:lnTo>
                    <a:pt x="2400" y="1826"/>
                  </a:lnTo>
                  <a:lnTo>
                    <a:pt x="2404" y="1818"/>
                  </a:lnTo>
                  <a:lnTo>
                    <a:pt x="2406" y="1810"/>
                  </a:lnTo>
                  <a:lnTo>
                    <a:pt x="2406" y="1810"/>
                  </a:lnTo>
                  <a:lnTo>
                    <a:pt x="2404" y="1798"/>
                  </a:lnTo>
                  <a:lnTo>
                    <a:pt x="2402" y="1782"/>
                  </a:lnTo>
                  <a:lnTo>
                    <a:pt x="2396" y="1766"/>
                  </a:lnTo>
                  <a:lnTo>
                    <a:pt x="2390" y="1754"/>
                  </a:lnTo>
                  <a:lnTo>
                    <a:pt x="2390" y="1754"/>
                  </a:lnTo>
                  <a:lnTo>
                    <a:pt x="2388" y="1748"/>
                  </a:lnTo>
                  <a:lnTo>
                    <a:pt x="2386" y="1742"/>
                  </a:lnTo>
                  <a:lnTo>
                    <a:pt x="2386" y="1736"/>
                  </a:lnTo>
                  <a:lnTo>
                    <a:pt x="2382" y="1728"/>
                  </a:lnTo>
                  <a:lnTo>
                    <a:pt x="2382" y="1728"/>
                  </a:lnTo>
                  <a:lnTo>
                    <a:pt x="2376" y="1718"/>
                  </a:lnTo>
                  <a:lnTo>
                    <a:pt x="2370" y="1704"/>
                  </a:lnTo>
                  <a:lnTo>
                    <a:pt x="2368" y="1690"/>
                  </a:lnTo>
                  <a:lnTo>
                    <a:pt x="2368" y="1676"/>
                  </a:lnTo>
                  <a:lnTo>
                    <a:pt x="2368" y="1676"/>
                  </a:lnTo>
                  <a:lnTo>
                    <a:pt x="2368" y="1668"/>
                  </a:lnTo>
                  <a:lnTo>
                    <a:pt x="2372" y="1660"/>
                  </a:lnTo>
                  <a:lnTo>
                    <a:pt x="2380" y="1644"/>
                  </a:lnTo>
                  <a:lnTo>
                    <a:pt x="2390" y="1630"/>
                  </a:lnTo>
                  <a:lnTo>
                    <a:pt x="2400" y="1618"/>
                  </a:lnTo>
                  <a:lnTo>
                    <a:pt x="2400" y="1618"/>
                  </a:lnTo>
                  <a:lnTo>
                    <a:pt x="2408" y="1614"/>
                  </a:lnTo>
                  <a:lnTo>
                    <a:pt x="2414" y="1612"/>
                  </a:lnTo>
                  <a:lnTo>
                    <a:pt x="2420" y="1610"/>
                  </a:lnTo>
                  <a:lnTo>
                    <a:pt x="2422" y="1608"/>
                  </a:lnTo>
                  <a:lnTo>
                    <a:pt x="2424" y="1606"/>
                  </a:lnTo>
                  <a:lnTo>
                    <a:pt x="2424" y="1606"/>
                  </a:lnTo>
                  <a:lnTo>
                    <a:pt x="2426" y="1598"/>
                  </a:lnTo>
                  <a:lnTo>
                    <a:pt x="2432" y="1590"/>
                  </a:lnTo>
                  <a:lnTo>
                    <a:pt x="2440" y="1586"/>
                  </a:lnTo>
                  <a:lnTo>
                    <a:pt x="2446" y="1584"/>
                  </a:lnTo>
                  <a:lnTo>
                    <a:pt x="2446" y="1584"/>
                  </a:lnTo>
                  <a:lnTo>
                    <a:pt x="2456" y="1584"/>
                  </a:lnTo>
                  <a:lnTo>
                    <a:pt x="2460" y="1582"/>
                  </a:lnTo>
                  <a:lnTo>
                    <a:pt x="2462" y="1578"/>
                  </a:lnTo>
                  <a:lnTo>
                    <a:pt x="2462" y="1578"/>
                  </a:lnTo>
                  <a:lnTo>
                    <a:pt x="2464" y="1572"/>
                  </a:lnTo>
                  <a:lnTo>
                    <a:pt x="2472" y="1566"/>
                  </a:lnTo>
                  <a:lnTo>
                    <a:pt x="2480" y="1560"/>
                  </a:lnTo>
                  <a:lnTo>
                    <a:pt x="2492" y="1558"/>
                  </a:lnTo>
                  <a:lnTo>
                    <a:pt x="2492" y="1558"/>
                  </a:lnTo>
                  <a:lnTo>
                    <a:pt x="2496" y="1556"/>
                  </a:lnTo>
                  <a:lnTo>
                    <a:pt x="2498" y="1554"/>
                  </a:lnTo>
                  <a:lnTo>
                    <a:pt x="2500" y="1552"/>
                  </a:lnTo>
                  <a:lnTo>
                    <a:pt x="2500" y="1550"/>
                  </a:lnTo>
                  <a:lnTo>
                    <a:pt x="2498" y="1544"/>
                  </a:lnTo>
                  <a:lnTo>
                    <a:pt x="2494" y="1540"/>
                  </a:lnTo>
                  <a:lnTo>
                    <a:pt x="2494" y="1540"/>
                  </a:lnTo>
                  <a:lnTo>
                    <a:pt x="2492" y="1534"/>
                  </a:lnTo>
                  <a:lnTo>
                    <a:pt x="2494" y="1530"/>
                  </a:lnTo>
                  <a:lnTo>
                    <a:pt x="2498" y="1528"/>
                  </a:lnTo>
                  <a:lnTo>
                    <a:pt x="2500" y="1530"/>
                  </a:lnTo>
                  <a:lnTo>
                    <a:pt x="2500" y="1530"/>
                  </a:lnTo>
                  <a:lnTo>
                    <a:pt x="2504" y="1532"/>
                  </a:lnTo>
                  <a:lnTo>
                    <a:pt x="2508" y="1534"/>
                  </a:lnTo>
                  <a:lnTo>
                    <a:pt x="2514" y="1532"/>
                  </a:lnTo>
                  <a:lnTo>
                    <a:pt x="2518" y="1530"/>
                  </a:lnTo>
                  <a:lnTo>
                    <a:pt x="2518" y="1530"/>
                  </a:lnTo>
                  <a:lnTo>
                    <a:pt x="2524" y="1526"/>
                  </a:lnTo>
                  <a:lnTo>
                    <a:pt x="2530" y="1522"/>
                  </a:lnTo>
                  <a:lnTo>
                    <a:pt x="2530" y="1518"/>
                  </a:lnTo>
                  <a:lnTo>
                    <a:pt x="2532" y="1516"/>
                  </a:lnTo>
                  <a:lnTo>
                    <a:pt x="2530" y="1516"/>
                  </a:lnTo>
                  <a:lnTo>
                    <a:pt x="2526" y="1514"/>
                  </a:lnTo>
                  <a:lnTo>
                    <a:pt x="2526" y="1514"/>
                  </a:lnTo>
                  <a:lnTo>
                    <a:pt x="2518" y="1514"/>
                  </a:lnTo>
                  <a:lnTo>
                    <a:pt x="2514" y="1510"/>
                  </a:lnTo>
                  <a:lnTo>
                    <a:pt x="2514" y="1508"/>
                  </a:lnTo>
                  <a:lnTo>
                    <a:pt x="2518" y="1506"/>
                  </a:lnTo>
                  <a:lnTo>
                    <a:pt x="2518" y="1506"/>
                  </a:lnTo>
                  <a:lnTo>
                    <a:pt x="2520" y="1504"/>
                  </a:lnTo>
                  <a:lnTo>
                    <a:pt x="2520" y="1502"/>
                  </a:lnTo>
                  <a:lnTo>
                    <a:pt x="2520" y="1496"/>
                  </a:lnTo>
                  <a:lnTo>
                    <a:pt x="2514" y="1490"/>
                  </a:lnTo>
                  <a:lnTo>
                    <a:pt x="2508" y="1486"/>
                  </a:lnTo>
                  <a:lnTo>
                    <a:pt x="2508" y="1486"/>
                  </a:lnTo>
                  <a:lnTo>
                    <a:pt x="2502" y="1484"/>
                  </a:lnTo>
                  <a:lnTo>
                    <a:pt x="2500" y="1482"/>
                  </a:lnTo>
                  <a:lnTo>
                    <a:pt x="2502" y="1478"/>
                  </a:lnTo>
                  <a:lnTo>
                    <a:pt x="2506" y="1474"/>
                  </a:lnTo>
                  <a:lnTo>
                    <a:pt x="2506" y="1474"/>
                  </a:lnTo>
                  <a:lnTo>
                    <a:pt x="2508" y="1470"/>
                  </a:lnTo>
                  <a:lnTo>
                    <a:pt x="2508" y="1468"/>
                  </a:lnTo>
                  <a:lnTo>
                    <a:pt x="2504" y="1462"/>
                  </a:lnTo>
                  <a:lnTo>
                    <a:pt x="2490" y="1450"/>
                  </a:lnTo>
                  <a:lnTo>
                    <a:pt x="2490" y="1450"/>
                  </a:lnTo>
                  <a:lnTo>
                    <a:pt x="2488" y="1448"/>
                  </a:lnTo>
                  <a:lnTo>
                    <a:pt x="2486" y="1446"/>
                  </a:lnTo>
                  <a:lnTo>
                    <a:pt x="2490" y="1444"/>
                  </a:lnTo>
                  <a:lnTo>
                    <a:pt x="2500" y="1440"/>
                  </a:lnTo>
                  <a:lnTo>
                    <a:pt x="2500" y="1440"/>
                  </a:lnTo>
                  <a:lnTo>
                    <a:pt x="2502" y="1440"/>
                  </a:lnTo>
                  <a:lnTo>
                    <a:pt x="2502" y="1436"/>
                  </a:lnTo>
                  <a:lnTo>
                    <a:pt x="2504" y="1424"/>
                  </a:lnTo>
                  <a:lnTo>
                    <a:pt x="2504" y="1414"/>
                  </a:lnTo>
                  <a:lnTo>
                    <a:pt x="2504" y="1404"/>
                  </a:lnTo>
                  <a:lnTo>
                    <a:pt x="2504" y="1404"/>
                  </a:lnTo>
                  <a:lnTo>
                    <a:pt x="2508" y="1402"/>
                  </a:lnTo>
                  <a:lnTo>
                    <a:pt x="2512" y="1400"/>
                  </a:lnTo>
                  <a:lnTo>
                    <a:pt x="2514" y="1402"/>
                  </a:lnTo>
                  <a:lnTo>
                    <a:pt x="2514" y="1404"/>
                  </a:lnTo>
                  <a:lnTo>
                    <a:pt x="2514" y="1404"/>
                  </a:lnTo>
                  <a:lnTo>
                    <a:pt x="2510" y="1410"/>
                  </a:lnTo>
                  <a:lnTo>
                    <a:pt x="2508" y="1418"/>
                  </a:lnTo>
                  <a:lnTo>
                    <a:pt x="2508" y="1424"/>
                  </a:lnTo>
                  <a:lnTo>
                    <a:pt x="2512" y="1432"/>
                  </a:lnTo>
                  <a:lnTo>
                    <a:pt x="2512" y="1432"/>
                  </a:lnTo>
                  <a:lnTo>
                    <a:pt x="2516" y="1438"/>
                  </a:lnTo>
                  <a:lnTo>
                    <a:pt x="2518" y="1446"/>
                  </a:lnTo>
                  <a:lnTo>
                    <a:pt x="2520" y="1454"/>
                  </a:lnTo>
                  <a:lnTo>
                    <a:pt x="2518" y="1464"/>
                  </a:lnTo>
                  <a:lnTo>
                    <a:pt x="2518" y="1464"/>
                  </a:lnTo>
                  <a:lnTo>
                    <a:pt x="2518" y="1472"/>
                  </a:lnTo>
                  <a:lnTo>
                    <a:pt x="2518" y="1472"/>
                  </a:lnTo>
                  <a:lnTo>
                    <a:pt x="2520" y="1472"/>
                  </a:lnTo>
                  <a:lnTo>
                    <a:pt x="2524" y="1468"/>
                  </a:lnTo>
                  <a:lnTo>
                    <a:pt x="2530" y="1456"/>
                  </a:lnTo>
                  <a:lnTo>
                    <a:pt x="2530" y="1456"/>
                  </a:lnTo>
                  <a:lnTo>
                    <a:pt x="2536" y="1444"/>
                  </a:lnTo>
                  <a:lnTo>
                    <a:pt x="2538" y="1432"/>
                  </a:lnTo>
                  <a:lnTo>
                    <a:pt x="2538" y="1424"/>
                  </a:lnTo>
                  <a:lnTo>
                    <a:pt x="2536" y="1422"/>
                  </a:lnTo>
                  <a:lnTo>
                    <a:pt x="2534" y="1420"/>
                  </a:lnTo>
                  <a:lnTo>
                    <a:pt x="2534" y="1420"/>
                  </a:lnTo>
                  <a:lnTo>
                    <a:pt x="2532" y="1420"/>
                  </a:lnTo>
                  <a:lnTo>
                    <a:pt x="2532" y="1416"/>
                  </a:lnTo>
                  <a:lnTo>
                    <a:pt x="2530" y="1412"/>
                  </a:lnTo>
                  <a:lnTo>
                    <a:pt x="2532" y="1408"/>
                  </a:lnTo>
                  <a:lnTo>
                    <a:pt x="2534" y="1408"/>
                  </a:lnTo>
                  <a:lnTo>
                    <a:pt x="2536" y="1410"/>
                  </a:lnTo>
                  <a:lnTo>
                    <a:pt x="2536" y="1410"/>
                  </a:lnTo>
                  <a:lnTo>
                    <a:pt x="2540" y="1414"/>
                  </a:lnTo>
                  <a:lnTo>
                    <a:pt x="2544" y="1416"/>
                  </a:lnTo>
                  <a:lnTo>
                    <a:pt x="2548" y="1414"/>
                  </a:lnTo>
                  <a:lnTo>
                    <a:pt x="2556" y="1408"/>
                  </a:lnTo>
                  <a:lnTo>
                    <a:pt x="2556" y="1408"/>
                  </a:lnTo>
                  <a:lnTo>
                    <a:pt x="2562" y="1398"/>
                  </a:lnTo>
                  <a:lnTo>
                    <a:pt x="2568" y="1388"/>
                  </a:lnTo>
                  <a:lnTo>
                    <a:pt x="2572" y="1380"/>
                  </a:lnTo>
                  <a:lnTo>
                    <a:pt x="2572" y="1376"/>
                  </a:lnTo>
                  <a:lnTo>
                    <a:pt x="2570" y="1374"/>
                  </a:lnTo>
                  <a:lnTo>
                    <a:pt x="2570" y="1374"/>
                  </a:lnTo>
                  <a:lnTo>
                    <a:pt x="2568" y="1372"/>
                  </a:lnTo>
                  <a:lnTo>
                    <a:pt x="2570" y="1368"/>
                  </a:lnTo>
                  <a:lnTo>
                    <a:pt x="2576" y="1366"/>
                  </a:lnTo>
                  <a:lnTo>
                    <a:pt x="2584" y="1366"/>
                  </a:lnTo>
                  <a:lnTo>
                    <a:pt x="2584" y="1366"/>
                  </a:lnTo>
                  <a:lnTo>
                    <a:pt x="2596" y="1366"/>
                  </a:lnTo>
                  <a:lnTo>
                    <a:pt x="2608" y="1362"/>
                  </a:lnTo>
                  <a:lnTo>
                    <a:pt x="2620" y="1358"/>
                  </a:lnTo>
                  <a:lnTo>
                    <a:pt x="2624" y="1356"/>
                  </a:lnTo>
                  <a:lnTo>
                    <a:pt x="2624" y="1356"/>
                  </a:lnTo>
                  <a:lnTo>
                    <a:pt x="2624" y="1352"/>
                  </a:lnTo>
                  <a:lnTo>
                    <a:pt x="2620" y="1352"/>
                  </a:lnTo>
                  <a:lnTo>
                    <a:pt x="2606" y="1352"/>
                  </a:lnTo>
                  <a:lnTo>
                    <a:pt x="2590" y="1356"/>
                  </a:lnTo>
                  <a:lnTo>
                    <a:pt x="2586" y="1356"/>
                  </a:lnTo>
                  <a:lnTo>
                    <a:pt x="2584" y="1354"/>
                  </a:lnTo>
                  <a:lnTo>
                    <a:pt x="2584" y="1354"/>
                  </a:lnTo>
                  <a:lnTo>
                    <a:pt x="2584" y="1352"/>
                  </a:lnTo>
                  <a:lnTo>
                    <a:pt x="2588" y="1350"/>
                  </a:lnTo>
                  <a:lnTo>
                    <a:pt x="2600" y="1346"/>
                  </a:lnTo>
                  <a:lnTo>
                    <a:pt x="2614" y="1342"/>
                  </a:lnTo>
                  <a:lnTo>
                    <a:pt x="2628" y="1340"/>
                  </a:lnTo>
                  <a:lnTo>
                    <a:pt x="2628" y="1340"/>
                  </a:lnTo>
                  <a:lnTo>
                    <a:pt x="2632" y="1340"/>
                  </a:lnTo>
                  <a:lnTo>
                    <a:pt x="2634" y="1338"/>
                  </a:lnTo>
                  <a:lnTo>
                    <a:pt x="2636" y="1332"/>
                  </a:lnTo>
                  <a:lnTo>
                    <a:pt x="2638" y="1328"/>
                  </a:lnTo>
                  <a:lnTo>
                    <a:pt x="2638" y="1328"/>
                  </a:lnTo>
                  <a:lnTo>
                    <a:pt x="2640" y="1328"/>
                  </a:lnTo>
                  <a:lnTo>
                    <a:pt x="2640" y="1328"/>
                  </a:lnTo>
                  <a:lnTo>
                    <a:pt x="2646" y="1334"/>
                  </a:lnTo>
                  <a:lnTo>
                    <a:pt x="2652" y="1334"/>
                  </a:lnTo>
                  <a:lnTo>
                    <a:pt x="2658" y="1334"/>
                  </a:lnTo>
                  <a:lnTo>
                    <a:pt x="2664" y="1330"/>
                  </a:lnTo>
                  <a:lnTo>
                    <a:pt x="2664" y="1330"/>
                  </a:lnTo>
                  <a:lnTo>
                    <a:pt x="2666" y="1328"/>
                  </a:lnTo>
                  <a:lnTo>
                    <a:pt x="2666" y="1326"/>
                  </a:lnTo>
                  <a:lnTo>
                    <a:pt x="2666" y="1320"/>
                  </a:lnTo>
                  <a:lnTo>
                    <a:pt x="2662" y="1314"/>
                  </a:lnTo>
                  <a:lnTo>
                    <a:pt x="2656" y="1310"/>
                  </a:lnTo>
                  <a:lnTo>
                    <a:pt x="2656" y="1310"/>
                  </a:lnTo>
                  <a:lnTo>
                    <a:pt x="2654" y="1308"/>
                  </a:lnTo>
                  <a:lnTo>
                    <a:pt x="2654" y="1308"/>
                  </a:lnTo>
                  <a:lnTo>
                    <a:pt x="2656" y="1304"/>
                  </a:lnTo>
                  <a:lnTo>
                    <a:pt x="2660" y="1300"/>
                  </a:lnTo>
                  <a:lnTo>
                    <a:pt x="2660" y="1298"/>
                  </a:lnTo>
                  <a:lnTo>
                    <a:pt x="2660" y="1296"/>
                  </a:lnTo>
                  <a:lnTo>
                    <a:pt x="2660" y="1296"/>
                  </a:lnTo>
                  <a:lnTo>
                    <a:pt x="2660" y="1290"/>
                  </a:lnTo>
                  <a:lnTo>
                    <a:pt x="2664" y="1280"/>
                  </a:lnTo>
                  <a:lnTo>
                    <a:pt x="2670" y="1270"/>
                  </a:lnTo>
                  <a:lnTo>
                    <a:pt x="2674" y="1268"/>
                  </a:lnTo>
                  <a:lnTo>
                    <a:pt x="2678" y="1266"/>
                  </a:lnTo>
                  <a:lnTo>
                    <a:pt x="2678" y="1266"/>
                  </a:lnTo>
                  <a:lnTo>
                    <a:pt x="2684" y="1264"/>
                  </a:lnTo>
                  <a:lnTo>
                    <a:pt x="2686" y="1260"/>
                  </a:lnTo>
                  <a:lnTo>
                    <a:pt x="2688" y="1258"/>
                  </a:lnTo>
                  <a:lnTo>
                    <a:pt x="2694" y="1256"/>
                  </a:lnTo>
                  <a:lnTo>
                    <a:pt x="2694" y="1256"/>
                  </a:lnTo>
                  <a:lnTo>
                    <a:pt x="2700" y="1254"/>
                  </a:lnTo>
                  <a:lnTo>
                    <a:pt x="2704" y="1250"/>
                  </a:lnTo>
                  <a:lnTo>
                    <a:pt x="2708" y="1244"/>
                  </a:lnTo>
                  <a:lnTo>
                    <a:pt x="2712" y="1236"/>
                  </a:lnTo>
                  <a:lnTo>
                    <a:pt x="2712" y="1236"/>
                  </a:lnTo>
                  <a:lnTo>
                    <a:pt x="2716" y="1234"/>
                  </a:lnTo>
                  <a:lnTo>
                    <a:pt x="2720" y="1234"/>
                  </a:lnTo>
                  <a:lnTo>
                    <a:pt x="2728" y="1238"/>
                  </a:lnTo>
                  <a:lnTo>
                    <a:pt x="2738" y="1242"/>
                  </a:lnTo>
                  <a:lnTo>
                    <a:pt x="2742" y="1240"/>
                  </a:lnTo>
                  <a:lnTo>
                    <a:pt x="2746" y="1238"/>
                  </a:lnTo>
                  <a:lnTo>
                    <a:pt x="2746" y="1238"/>
                  </a:lnTo>
                  <a:lnTo>
                    <a:pt x="2758" y="1228"/>
                  </a:lnTo>
                  <a:lnTo>
                    <a:pt x="2772" y="1220"/>
                  </a:lnTo>
                  <a:lnTo>
                    <a:pt x="2786" y="1212"/>
                  </a:lnTo>
                  <a:lnTo>
                    <a:pt x="2796" y="1210"/>
                  </a:lnTo>
                  <a:lnTo>
                    <a:pt x="2796" y="1210"/>
                  </a:lnTo>
                  <a:lnTo>
                    <a:pt x="2804" y="1208"/>
                  </a:lnTo>
                  <a:lnTo>
                    <a:pt x="2814" y="1202"/>
                  </a:lnTo>
                  <a:lnTo>
                    <a:pt x="2822" y="1194"/>
                  </a:lnTo>
                  <a:lnTo>
                    <a:pt x="2828" y="1188"/>
                  </a:lnTo>
                  <a:lnTo>
                    <a:pt x="2828" y="1188"/>
                  </a:lnTo>
                  <a:lnTo>
                    <a:pt x="2830" y="1186"/>
                  </a:lnTo>
                  <a:lnTo>
                    <a:pt x="2832" y="1184"/>
                  </a:lnTo>
                  <a:lnTo>
                    <a:pt x="2834" y="1188"/>
                  </a:lnTo>
                  <a:lnTo>
                    <a:pt x="2834" y="1194"/>
                  </a:lnTo>
                  <a:lnTo>
                    <a:pt x="2832" y="1198"/>
                  </a:lnTo>
                  <a:lnTo>
                    <a:pt x="2830" y="1198"/>
                  </a:lnTo>
                  <a:lnTo>
                    <a:pt x="2830" y="1198"/>
                  </a:lnTo>
                  <a:lnTo>
                    <a:pt x="2828" y="1200"/>
                  </a:lnTo>
                  <a:lnTo>
                    <a:pt x="2828" y="1202"/>
                  </a:lnTo>
                  <a:lnTo>
                    <a:pt x="2832" y="1206"/>
                  </a:lnTo>
                  <a:lnTo>
                    <a:pt x="2842" y="1208"/>
                  </a:lnTo>
                  <a:lnTo>
                    <a:pt x="2854" y="1208"/>
                  </a:lnTo>
                  <a:lnTo>
                    <a:pt x="2854" y="1208"/>
                  </a:lnTo>
                  <a:lnTo>
                    <a:pt x="2860" y="1210"/>
                  </a:lnTo>
                  <a:lnTo>
                    <a:pt x="2856" y="1212"/>
                  </a:lnTo>
                  <a:lnTo>
                    <a:pt x="2844" y="1214"/>
                  </a:lnTo>
                  <a:lnTo>
                    <a:pt x="2834" y="1214"/>
                  </a:lnTo>
                  <a:lnTo>
                    <a:pt x="2834" y="1214"/>
                  </a:lnTo>
                  <a:lnTo>
                    <a:pt x="2826" y="1214"/>
                  </a:lnTo>
                  <a:lnTo>
                    <a:pt x="2818" y="1216"/>
                  </a:lnTo>
                  <a:lnTo>
                    <a:pt x="2810" y="1222"/>
                  </a:lnTo>
                  <a:lnTo>
                    <a:pt x="2798" y="1232"/>
                  </a:lnTo>
                  <a:lnTo>
                    <a:pt x="2798" y="1232"/>
                  </a:lnTo>
                  <a:lnTo>
                    <a:pt x="2790" y="1242"/>
                  </a:lnTo>
                  <a:lnTo>
                    <a:pt x="2788" y="1246"/>
                  </a:lnTo>
                  <a:lnTo>
                    <a:pt x="2788" y="1250"/>
                  </a:lnTo>
                  <a:lnTo>
                    <a:pt x="2790" y="1256"/>
                  </a:lnTo>
                  <a:lnTo>
                    <a:pt x="2796" y="1262"/>
                  </a:lnTo>
                  <a:lnTo>
                    <a:pt x="2796" y="1262"/>
                  </a:lnTo>
                  <a:lnTo>
                    <a:pt x="2804" y="1266"/>
                  </a:lnTo>
                  <a:lnTo>
                    <a:pt x="2812" y="1266"/>
                  </a:lnTo>
                  <a:lnTo>
                    <a:pt x="2822" y="1262"/>
                  </a:lnTo>
                  <a:lnTo>
                    <a:pt x="2832" y="1256"/>
                  </a:lnTo>
                  <a:lnTo>
                    <a:pt x="2832" y="1256"/>
                  </a:lnTo>
                  <a:lnTo>
                    <a:pt x="2840" y="1248"/>
                  </a:lnTo>
                  <a:lnTo>
                    <a:pt x="2844" y="1240"/>
                  </a:lnTo>
                  <a:lnTo>
                    <a:pt x="2850" y="1234"/>
                  </a:lnTo>
                  <a:lnTo>
                    <a:pt x="2854" y="1234"/>
                  </a:lnTo>
                  <a:lnTo>
                    <a:pt x="2858" y="1234"/>
                  </a:lnTo>
                  <a:lnTo>
                    <a:pt x="2858" y="1234"/>
                  </a:lnTo>
                  <a:lnTo>
                    <a:pt x="2870" y="1232"/>
                  </a:lnTo>
                  <a:lnTo>
                    <a:pt x="2888" y="1226"/>
                  </a:lnTo>
                  <a:lnTo>
                    <a:pt x="2920" y="1216"/>
                  </a:lnTo>
                  <a:lnTo>
                    <a:pt x="2920" y="1216"/>
                  </a:lnTo>
                  <a:lnTo>
                    <a:pt x="2928" y="1214"/>
                  </a:lnTo>
                  <a:lnTo>
                    <a:pt x="2928" y="1210"/>
                  </a:lnTo>
                  <a:lnTo>
                    <a:pt x="2926" y="1206"/>
                  </a:lnTo>
                  <a:lnTo>
                    <a:pt x="2926" y="1202"/>
                  </a:lnTo>
                  <a:lnTo>
                    <a:pt x="2926" y="1202"/>
                  </a:lnTo>
                  <a:lnTo>
                    <a:pt x="2926" y="1200"/>
                  </a:lnTo>
                  <a:lnTo>
                    <a:pt x="2930" y="1198"/>
                  </a:lnTo>
                  <a:lnTo>
                    <a:pt x="2940" y="1196"/>
                  </a:lnTo>
                  <a:lnTo>
                    <a:pt x="2952" y="1194"/>
                  </a:lnTo>
                  <a:lnTo>
                    <a:pt x="2962" y="1190"/>
                  </a:lnTo>
                  <a:lnTo>
                    <a:pt x="2962" y="1190"/>
                  </a:lnTo>
                  <a:lnTo>
                    <a:pt x="2964" y="1186"/>
                  </a:lnTo>
                  <a:lnTo>
                    <a:pt x="2966" y="1184"/>
                  </a:lnTo>
                  <a:lnTo>
                    <a:pt x="2966" y="1182"/>
                  </a:lnTo>
                  <a:lnTo>
                    <a:pt x="2964" y="1180"/>
                  </a:lnTo>
                  <a:lnTo>
                    <a:pt x="2958" y="1178"/>
                  </a:lnTo>
                  <a:lnTo>
                    <a:pt x="2952" y="1178"/>
                  </a:lnTo>
                  <a:lnTo>
                    <a:pt x="2952" y="1178"/>
                  </a:lnTo>
                  <a:lnTo>
                    <a:pt x="2950" y="1178"/>
                  </a:lnTo>
                  <a:lnTo>
                    <a:pt x="2948" y="1176"/>
                  </a:lnTo>
                  <a:lnTo>
                    <a:pt x="2948" y="1172"/>
                  </a:lnTo>
                  <a:lnTo>
                    <a:pt x="2952" y="1160"/>
                  </a:lnTo>
                  <a:lnTo>
                    <a:pt x="2952" y="1160"/>
                  </a:lnTo>
                  <a:lnTo>
                    <a:pt x="2950" y="1158"/>
                  </a:lnTo>
                  <a:lnTo>
                    <a:pt x="2948" y="1158"/>
                  </a:lnTo>
                  <a:lnTo>
                    <a:pt x="2942" y="1160"/>
                  </a:lnTo>
                  <a:lnTo>
                    <a:pt x="2936" y="1164"/>
                  </a:lnTo>
                  <a:lnTo>
                    <a:pt x="2934" y="1168"/>
                  </a:lnTo>
                  <a:lnTo>
                    <a:pt x="2932" y="1170"/>
                  </a:lnTo>
                  <a:lnTo>
                    <a:pt x="2932" y="1170"/>
                  </a:lnTo>
                  <a:lnTo>
                    <a:pt x="2930" y="1176"/>
                  </a:lnTo>
                  <a:lnTo>
                    <a:pt x="2926" y="1180"/>
                  </a:lnTo>
                  <a:lnTo>
                    <a:pt x="2920" y="1182"/>
                  </a:lnTo>
                  <a:lnTo>
                    <a:pt x="2918" y="1186"/>
                  </a:lnTo>
                  <a:lnTo>
                    <a:pt x="2918" y="1186"/>
                  </a:lnTo>
                  <a:lnTo>
                    <a:pt x="2918" y="1194"/>
                  </a:lnTo>
                  <a:lnTo>
                    <a:pt x="2916" y="1196"/>
                  </a:lnTo>
                  <a:lnTo>
                    <a:pt x="2912" y="1196"/>
                  </a:lnTo>
                  <a:lnTo>
                    <a:pt x="2906" y="1198"/>
                  </a:lnTo>
                  <a:lnTo>
                    <a:pt x="2906" y="1198"/>
                  </a:lnTo>
                  <a:lnTo>
                    <a:pt x="2896" y="1200"/>
                  </a:lnTo>
                  <a:lnTo>
                    <a:pt x="2880" y="1198"/>
                  </a:lnTo>
                  <a:lnTo>
                    <a:pt x="2866" y="1194"/>
                  </a:lnTo>
                  <a:lnTo>
                    <a:pt x="2860" y="1192"/>
                  </a:lnTo>
                  <a:lnTo>
                    <a:pt x="2858" y="1190"/>
                  </a:lnTo>
                  <a:lnTo>
                    <a:pt x="2858" y="1190"/>
                  </a:lnTo>
                  <a:lnTo>
                    <a:pt x="2858" y="1186"/>
                  </a:lnTo>
                  <a:lnTo>
                    <a:pt x="2854" y="1184"/>
                  </a:lnTo>
                  <a:lnTo>
                    <a:pt x="2844" y="1178"/>
                  </a:lnTo>
                  <a:lnTo>
                    <a:pt x="2834" y="1172"/>
                  </a:lnTo>
                  <a:lnTo>
                    <a:pt x="2830" y="1170"/>
                  </a:lnTo>
                  <a:lnTo>
                    <a:pt x="2830" y="1166"/>
                  </a:lnTo>
                  <a:lnTo>
                    <a:pt x="2830" y="1166"/>
                  </a:lnTo>
                  <a:lnTo>
                    <a:pt x="2826" y="1158"/>
                  </a:lnTo>
                  <a:lnTo>
                    <a:pt x="2822" y="1152"/>
                  </a:lnTo>
                  <a:lnTo>
                    <a:pt x="2822" y="1146"/>
                  </a:lnTo>
                  <a:lnTo>
                    <a:pt x="2822" y="1142"/>
                  </a:lnTo>
                  <a:lnTo>
                    <a:pt x="2826" y="1138"/>
                  </a:lnTo>
                  <a:lnTo>
                    <a:pt x="2826" y="1138"/>
                  </a:lnTo>
                  <a:lnTo>
                    <a:pt x="2828" y="1132"/>
                  </a:lnTo>
                  <a:lnTo>
                    <a:pt x="2830" y="1130"/>
                  </a:lnTo>
                  <a:lnTo>
                    <a:pt x="2830" y="1126"/>
                  </a:lnTo>
                  <a:lnTo>
                    <a:pt x="2828" y="1124"/>
                  </a:lnTo>
                  <a:lnTo>
                    <a:pt x="2824" y="1124"/>
                  </a:lnTo>
                  <a:lnTo>
                    <a:pt x="2822" y="1124"/>
                  </a:lnTo>
                  <a:lnTo>
                    <a:pt x="2818" y="1126"/>
                  </a:lnTo>
                  <a:lnTo>
                    <a:pt x="2814" y="1128"/>
                  </a:lnTo>
                  <a:lnTo>
                    <a:pt x="2814" y="1128"/>
                  </a:lnTo>
                  <a:lnTo>
                    <a:pt x="2810" y="1130"/>
                  </a:lnTo>
                  <a:lnTo>
                    <a:pt x="2806" y="1132"/>
                  </a:lnTo>
                  <a:lnTo>
                    <a:pt x="2804" y="1130"/>
                  </a:lnTo>
                  <a:lnTo>
                    <a:pt x="2804" y="1128"/>
                  </a:lnTo>
                  <a:lnTo>
                    <a:pt x="2802" y="1126"/>
                  </a:lnTo>
                  <a:lnTo>
                    <a:pt x="2804" y="1122"/>
                  </a:lnTo>
                  <a:lnTo>
                    <a:pt x="2806" y="1120"/>
                  </a:lnTo>
                  <a:lnTo>
                    <a:pt x="2810" y="1118"/>
                  </a:lnTo>
                  <a:lnTo>
                    <a:pt x="2810" y="1118"/>
                  </a:lnTo>
                  <a:lnTo>
                    <a:pt x="2822" y="1112"/>
                  </a:lnTo>
                  <a:lnTo>
                    <a:pt x="2834" y="1106"/>
                  </a:lnTo>
                  <a:lnTo>
                    <a:pt x="2838" y="1102"/>
                  </a:lnTo>
                  <a:lnTo>
                    <a:pt x="2840" y="1098"/>
                  </a:lnTo>
                  <a:lnTo>
                    <a:pt x="2840" y="1090"/>
                  </a:lnTo>
                  <a:lnTo>
                    <a:pt x="2838" y="1082"/>
                  </a:lnTo>
                  <a:lnTo>
                    <a:pt x="2838" y="1082"/>
                  </a:lnTo>
                  <a:lnTo>
                    <a:pt x="2834" y="1078"/>
                  </a:lnTo>
                  <a:lnTo>
                    <a:pt x="2830" y="1076"/>
                  </a:lnTo>
                  <a:lnTo>
                    <a:pt x="2816" y="1074"/>
                  </a:lnTo>
                  <a:lnTo>
                    <a:pt x="2800" y="1074"/>
                  </a:lnTo>
                  <a:lnTo>
                    <a:pt x="2782" y="1078"/>
                  </a:lnTo>
                  <a:lnTo>
                    <a:pt x="2762" y="1084"/>
                  </a:lnTo>
                  <a:lnTo>
                    <a:pt x="2746" y="1090"/>
                  </a:lnTo>
                  <a:lnTo>
                    <a:pt x="2720" y="1102"/>
                  </a:lnTo>
                  <a:lnTo>
                    <a:pt x="2720" y="1102"/>
                  </a:lnTo>
                  <a:lnTo>
                    <a:pt x="2712" y="1108"/>
                  </a:lnTo>
                  <a:lnTo>
                    <a:pt x="2704" y="1114"/>
                  </a:lnTo>
                  <a:lnTo>
                    <a:pt x="2686" y="1132"/>
                  </a:lnTo>
                  <a:lnTo>
                    <a:pt x="2672" y="1146"/>
                  </a:lnTo>
                  <a:lnTo>
                    <a:pt x="2666" y="1150"/>
                  </a:lnTo>
                  <a:lnTo>
                    <a:pt x="2660" y="1152"/>
                  </a:lnTo>
                  <a:lnTo>
                    <a:pt x="2660" y="1152"/>
                  </a:lnTo>
                  <a:lnTo>
                    <a:pt x="2658" y="1152"/>
                  </a:lnTo>
                  <a:lnTo>
                    <a:pt x="2658" y="1150"/>
                  </a:lnTo>
                  <a:lnTo>
                    <a:pt x="2666" y="1142"/>
                  </a:lnTo>
                  <a:lnTo>
                    <a:pt x="2678" y="1132"/>
                  </a:lnTo>
                  <a:lnTo>
                    <a:pt x="2686" y="1124"/>
                  </a:lnTo>
                  <a:lnTo>
                    <a:pt x="2686" y="1124"/>
                  </a:lnTo>
                  <a:lnTo>
                    <a:pt x="2688" y="1118"/>
                  </a:lnTo>
                  <a:lnTo>
                    <a:pt x="2688" y="1114"/>
                  </a:lnTo>
                  <a:lnTo>
                    <a:pt x="2688" y="1110"/>
                  </a:lnTo>
                  <a:lnTo>
                    <a:pt x="2690" y="1112"/>
                  </a:lnTo>
                  <a:lnTo>
                    <a:pt x="2690" y="1112"/>
                  </a:lnTo>
                  <a:lnTo>
                    <a:pt x="2694" y="1110"/>
                  </a:lnTo>
                  <a:lnTo>
                    <a:pt x="2698" y="1108"/>
                  </a:lnTo>
                  <a:lnTo>
                    <a:pt x="2708" y="1098"/>
                  </a:lnTo>
                  <a:lnTo>
                    <a:pt x="2718" y="1086"/>
                  </a:lnTo>
                  <a:lnTo>
                    <a:pt x="2728" y="1076"/>
                  </a:lnTo>
                  <a:lnTo>
                    <a:pt x="2728" y="1076"/>
                  </a:lnTo>
                  <a:lnTo>
                    <a:pt x="2734" y="1072"/>
                  </a:lnTo>
                  <a:lnTo>
                    <a:pt x="2738" y="1072"/>
                  </a:lnTo>
                  <a:lnTo>
                    <a:pt x="2746" y="1070"/>
                  </a:lnTo>
                  <a:lnTo>
                    <a:pt x="2754" y="1070"/>
                  </a:lnTo>
                  <a:lnTo>
                    <a:pt x="2756" y="1070"/>
                  </a:lnTo>
                  <a:lnTo>
                    <a:pt x="2758" y="1068"/>
                  </a:lnTo>
                  <a:lnTo>
                    <a:pt x="2758" y="1068"/>
                  </a:lnTo>
                  <a:lnTo>
                    <a:pt x="2760" y="1062"/>
                  </a:lnTo>
                  <a:lnTo>
                    <a:pt x="2764" y="1056"/>
                  </a:lnTo>
                  <a:lnTo>
                    <a:pt x="2778" y="1042"/>
                  </a:lnTo>
                  <a:lnTo>
                    <a:pt x="2778" y="1042"/>
                  </a:lnTo>
                  <a:lnTo>
                    <a:pt x="2788" y="1040"/>
                  </a:lnTo>
                  <a:lnTo>
                    <a:pt x="2806" y="1036"/>
                  </a:lnTo>
                  <a:lnTo>
                    <a:pt x="2862" y="1034"/>
                  </a:lnTo>
                  <a:lnTo>
                    <a:pt x="2916" y="1034"/>
                  </a:lnTo>
                  <a:lnTo>
                    <a:pt x="2948" y="1034"/>
                  </a:lnTo>
                  <a:lnTo>
                    <a:pt x="2948" y="1034"/>
                  </a:lnTo>
                  <a:lnTo>
                    <a:pt x="2954" y="1034"/>
                  </a:lnTo>
                  <a:lnTo>
                    <a:pt x="2960" y="1032"/>
                  </a:lnTo>
                  <a:lnTo>
                    <a:pt x="2974" y="1024"/>
                  </a:lnTo>
                  <a:lnTo>
                    <a:pt x="2988" y="1014"/>
                  </a:lnTo>
                  <a:lnTo>
                    <a:pt x="2996" y="1004"/>
                  </a:lnTo>
                  <a:lnTo>
                    <a:pt x="2996" y="1004"/>
                  </a:lnTo>
                  <a:lnTo>
                    <a:pt x="3002" y="998"/>
                  </a:lnTo>
                  <a:lnTo>
                    <a:pt x="3010" y="994"/>
                  </a:lnTo>
                  <a:lnTo>
                    <a:pt x="3020" y="992"/>
                  </a:lnTo>
                  <a:lnTo>
                    <a:pt x="3034" y="994"/>
                  </a:lnTo>
                  <a:lnTo>
                    <a:pt x="3034" y="994"/>
                  </a:lnTo>
                  <a:lnTo>
                    <a:pt x="3040" y="994"/>
                  </a:lnTo>
                  <a:lnTo>
                    <a:pt x="3046" y="992"/>
                  </a:lnTo>
                  <a:lnTo>
                    <a:pt x="3056" y="984"/>
                  </a:lnTo>
                  <a:lnTo>
                    <a:pt x="3064" y="976"/>
                  </a:lnTo>
                  <a:lnTo>
                    <a:pt x="3072" y="970"/>
                  </a:lnTo>
                  <a:lnTo>
                    <a:pt x="3072" y="970"/>
                  </a:lnTo>
                  <a:lnTo>
                    <a:pt x="3076" y="966"/>
                  </a:lnTo>
                  <a:lnTo>
                    <a:pt x="3078" y="962"/>
                  </a:lnTo>
                  <a:lnTo>
                    <a:pt x="3074" y="960"/>
                  </a:lnTo>
                  <a:lnTo>
                    <a:pt x="3070" y="958"/>
                  </a:lnTo>
                  <a:lnTo>
                    <a:pt x="3070" y="958"/>
                  </a:lnTo>
                  <a:lnTo>
                    <a:pt x="3064" y="958"/>
                  </a:lnTo>
                  <a:lnTo>
                    <a:pt x="3060" y="954"/>
                  </a:lnTo>
                  <a:lnTo>
                    <a:pt x="3058" y="952"/>
                  </a:lnTo>
                  <a:lnTo>
                    <a:pt x="3062" y="952"/>
                  </a:lnTo>
                  <a:lnTo>
                    <a:pt x="3062" y="952"/>
                  </a:lnTo>
                  <a:lnTo>
                    <a:pt x="3068" y="950"/>
                  </a:lnTo>
                  <a:lnTo>
                    <a:pt x="3072" y="946"/>
                  </a:lnTo>
                  <a:lnTo>
                    <a:pt x="3076" y="942"/>
                  </a:lnTo>
                  <a:lnTo>
                    <a:pt x="3078" y="934"/>
                  </a:lnTo>
                  <a:lnTo>
                    <a:pt x="3078" y="934"/>
                  </a:lnTo>
                  <a:lnTo>
                    <a:pt x="3078" y="928"/>
                  </a:lnTo>
                  <a:lnTo>
                    <a:pt x="3076" y="926"/>
                  </a:lnTo>
                  <a:lnTo>
                    <a:pt x="3072" y="922"/>
                  </a:lnTo>
                  <a:lnTo>
                    <a:pt x="3064" y="914"/>
                  </a:lnTo>
                  <a:lnTo>
                    <a:pt x="3064" y="914"/>
                  </a:lnTo>
                  <a:lnTo>
                    <a:pt x="3060" y="910"/>
                  </a:lnTo>
                  <a:lnTo>
                    <a:pt x="3056" y="908"/>
                  </a:lnTo>
                  <a:lnTo>
                    <a:pt x="3052" y="908"/>
                  </a:lnTo>
                  <a:lnTo>
                    <a:pt x="3050" y="910"/>
                  </a:lnTo>
                  <a:lnTo>
                    <a:pt x="3042" y="916"/>
                  </a:lnTo>
                  <a:lnTo>
                    <a:pt x="3038" y="916"/>
                  </a:lnTo>
                  <a:lnTo>
                    <a:pt x="3034" y="918"/>
                  </a:lnTo>
                  <a:lnTo>
                    <a:pt x="3034" y="918"/>
                  </a:lnTo>
                  <a:lnTo>
                    <a:pt x="3032" y="916"/>
                  </a:lnTo>
                  <a:lnTo>
                    <a:pt x="3030" y="914"/>
                  </a:lnTo>
                  <a:lnTo>
                    <a:pt x="3032" y="908"/>
                  </a:lnTo>
                  <a:lnTo>
                    <a:pt x="3036" y="902"/>
                  </a:lnTo>
                  <a:lnTo>
                    <a:pt x="3036" y="898"/>
                  </a:lnTo>
                  <a:lnTo>
                    <a:pt x="3032" y="896"/>
                  </a:lnTo>
                  <a:lnTo>
                    <a:pt x="3032" y="896"/>
                  </a:lnTo>
                  <a:lnTo>
                    <a:pt x="3024" y="892"/>
                  </a:lnTo>
                  <a:lnTo>
                    <a:pt x="3014" y="894"/>
                  </a:lnTo>
                  <a:lnTo>
                    <a:pt x="3002" y="898"/>
                  </a:lnTo>
                  <a:lnTo>
                    <a:pt x="2990" y="906"/>
                  </a:lnTo>
                  <a:lnTo>
                    <a:pt x="2990" y="906"/>
                  </a:lnTo>
                  <a:lnTo>
                    <a:pt x="2982" y="910"/>
                  </a:lnTo>
                  <a:lnTo>
                    <a:pt x="2976" y="912"/>
                  </a:lnTo>
                  <a:lnTo>
                    <a:pt x="2972" y="912"/>
                  </a:lnTo>
                  <a:lnTo>
                    <a:pt x="2964" y="918"/>
                  </a:lnTo>
                  <a:lnTo>
                    <a:pt x="2964" y="918"/>
                  </a:lnTo>
                  <a:lnTo>
                    <a:pt x="2960" y="920"/>
                  </a:lnTo>
                  <a:lnTo>
                    <a:pt x="2958" y="922"/>
                  </a:lnTo>
                  <a:lnTo>
                    <a:pt x="2956" y="920"/>
                  </a:lnTo>
                  <a:lnTo>
                    <a:pt x="2954" y="918"/>
                  </a:lnTo>
                  <a:lnTo>
                    <a:pt x="2954" y="912"/>
                  </a:lnTo>
                  <a:lnTo>
                    <a:pt x="2958" y="906"/>
                  </a:lnTo>
                  <a:lnTo>
                    <a:pt x="2958" y="906"/>
                  </a:lnTo>
                  <a:lnTo>
                    <a:pt x="2962" y="904"/>
                  </a:lnTo>
                  <a:lnTo>
                    <a:pt x="2966" y="904"/>
                  </a:lnTo>
                  <a:lnTo>
                    <a:pt x="2970" y="904"/>
                  </a:lnTo>
                  <a:lnTo>
                    <a:pt x="2974" y="900"/>
                  </a:lnTo>
                  <a:lnTo>
                    <a:pt x="2974" y="900"/>
                  </a:lnTo>
                  <a:lnTo>
                    <a:pt x="2978" y="896"/>
                  </a:lnTo>
                  <a:lnTo>
                    <a:pt x="2982" y="896"/>
                  </a:lnTo>
                  <a:lnTo>
                    <a:pt x="2990" y="894"/>
                  </a:lnTo>
                  <a:lnTo>
                    <a:pt x="2998" y="890"/>
                  </a:lnTo>
                  <a:lnTo>
                    <a:pt x="2998" y="890"/>
                  </a:lnTo>
                  <a:lnTo>
                    <a:pt x="3008" y="886"/>
                  </a:lnTo>
                  <a:lnTo>
                    <a:pt x="3016" y="884"/>
                  </a:lnTo>
                  <a:lnTo>
                    <a:pt x="3024" y="882"/>
                  </a:lnTo>
                  <a:lnTo>
                    <a:pt x="3028" y="880"/>
                  </a:lnTo>
                  <a:lnTo>
                    <a:pt x="3028" y="880"/>
                  </a:lnTo>
                  <a:lnTo>
                    <a:pt x="3030" y="876"/>
                  </a:lnTo>
                  <a:lnTo>
                    <a:pt x="3028" y="874"/>
                  </a:lnTo>
                  <a:lnTo>
                    <a:pt x="3026" y="870"/>
                  </a:lnTo>
                  <a:lnTo>
                    <a:pt x="3018" y="866"/>
                  </a:lnTo>
                  <a:lnTo>
                    <a:pt x="3008" y="866"/>
                  </a:lnTo>
                  <a:lnTo>
                    <a:pt x="3008" y="866"/>
                  </a:lnTo>
                  <a:lnTo>
                    <a:pt x="3004" y="866"/>
                  </a:lnTo>
                  <a:lnTo>
                    <a:pt x="3000" y="866"/>
                  </a:lnTo>
                  <a:lnTo>
                    <a:pt x="2992" y="860"/>
                  </a:lnTo>
                  <a:lnTo>
                    <a:pt x="2984" y="854"/>
                  </a:lnTo>
                  <a:lnTo>
                    <a:pt x="2980" y="854"/>
                  </a:lnTo>
                  <a:lnTo>
                    <a:pt x="2978" y="854"/>
                  </a:lnTo>
                  <a:lnTo>
                    <a:pt x="2978" y="854"/>
                  </a:lnTo>
                  <a:lnTo>
                    <a:pt x="2974" y="856"/>
                  </a:lnTo>
                  <a:lnTo>
                    <a:pt x="2972" y="856"/>
                  </a:lnTo>
                  <a:lnTo>
                    <a:pt x="2970" y="852"/>
                  </a:lnTo>
                  <a:lnTo>
                    <a:pt x="2966" y="850"/>
                  </a:lnTo>
                  <a:lnTo>
                    <a:pt x="2964" y="850"/>
                  </a:lnTo>
                  <a:lnTo>
                    <a:pt x="2962" y="852"/>
                  </a:lnTo>
                  <a:lnTo>
                    <a:pt x="2962" y="852"/>
                  </a:lnTo>
                  <a:lnTo>
                    <a:pt x="2954" y="854"/>
                  </a:lnTo>
                  <a:lnTo>
                    <a:pt x="2950" y="852"/>
                  </a:lnTo>
                  <a:lnTo>
                    <a:pt x="2946" y="846"/>
                  </a:lnTo>
                  <a:lnTo>
                    <a:pt x="2942" y="838"/>
                  </a:lnTo>
                  <a:lnTo>
                    <a:pt x="2942" y="838"/>
                  </a:lnTo>
                  <a:lnTo>
                    <a:pt x="2936" y="828"/>
                  </a:lnTo>
                  <a:lnTo>
                    <a:pt x="2924" y="818"/>
                  </a:lnTo>
                  <a:lnTo>
                    <a:pt x="2910" y="808"/>
                  </a:lnTo>
                  <a:lnTo>
                    <a:pt x="2896" y="802"/>
                  </a:lnTo>
                  <a:lnTo>
                    <a:pt x="2896" y="802"/>
                  </a:lnTo>
                  <a:lnTo>
                    <a:pt x="2892" y="802"/>
                  </a:lnTo>
                  <a:lnTo>
                    <a:pt x="2888" y="798"/>
                  </a:lnTo>
                  <a:lnTo>
                    <a:pt x="2888" y="796"/>
                  </a:lnTo>
                  <a:lnTo>
                    <a:pt x="2888" y="796"/>
                  </a:lnTo>
                  <a:lnTo>
                    <a:pt x="2892" y="794"/>
                  </a:lnTo>
                  <a:lnTo>
                    <a:pt x="2900" y="796"/>
                  </a:lnTo>
                  <a:lnTo>
                    <a:pt x="2900" y="796"/>
                  </a:lnTo>
                  <a:lnTo>
                    <a:pt x="2902" y="798"/>
                  </a:lnTo>
                  <a:lnTo>
                    <a:pt x="2906" y="798"/>
                  </a:lnTo>
                  <a:lnTo>
                    <a:pt x="2912" y="794"/>
                  </a:lnTo>
                  <a:lnTo>
                    <a:pt x="2918" y="788"/>
                  </a:lnTo>
                  <a:lnTo>
                    <a:pt x="2920" y="784"/>
                  </a:lnTo>
                  <a:lnTo>
                    <a:pt x="2920" y="784"/>
                  </a:lnTo>
                  <a:lnTo>
                    <a:pt x="2922" y="780"/>
                  </a:lnTo>
                  <a:lnTo>
                    <a:pt x="2918" y="776"/>
                  </a:lnTo>
                  <a:lnTo>
                    <a:pt x="2914" y="772"/>
                  </a:lnTo>
                  <a:lnTo>
                    <a:pt x="2910" y="772"/>
                  </a:lnTo>
                  <a:lnTo>
                    <a:pt x="2910" y="772"/>
                  </a:lnTo>
                  <a:lnTo>
                    <a:pt x="2908" y="770"/>
                  </a:lnTo>
                  <a:lnTo>
                    <a:pt x="2906" y="766"/>
                  </a:lnTo>
                  <a:lnTo>
                    <a:pt x="2906" y="758"/>
                  </a:lnTo>
                  <a:lnTo>
                    <a:pt x="2906" y="758"/>
                  </a:lnTo>
                  <a:lnTo>
                    <a:pt x="2906" y="754"/>
                  </a:lnTo>
                  <a:lnTo>
                    <a:pt x="2904" y="752"/>
                  </a:lnTo>
                  <a:lnTo>
                    <a:pt x="2898" y="748"/>
                  </a:lnTo>
                  <a:lnTo>
                    <a:pt x="2892" y="742"/>
                  </a:lnTo>
                  <a:lnTo>
                    <a:pt x="2888" y="738"/>
                  </a:lnTo>
                  <a:lnTo>
                    <a:pt x="2888" y="738"/>
                  </a:lnTo>
                  <a:lnTo>
                    <a:pt x="2886" y="732"/>
                  </a:lnTo>
                  <a:lnTo>
                    <a:pt x="2884" y="730"/>
                  </a:lnTo>
                  <a:lnTo>
                    <a:pt x="2880" y="726"/>
                  </a:lnTo>
                  <a:lnTo>
                    <a:pt x="2878" y="722"/>
                  </a:lnTo>
                  <a:lnTo>
                    <a:pt x="2878" y="722"/>
                  </a:lnTo>
                  <a:lnTo>
                    <a:pt x="2878" y="716"/>
                  </a:lnTo>
                  <a:lnTo>
                    <a:pt x="2874" y="712"/>
                  </a:lnTo>
                  <a:lnTo>
                    <a:pt x="2870" y="706"/>
                  </a:lnTo>
                  <a:lnTo>
                    <a:pt x="2868" y="700"/>
                  </a:lnTo>
                  <a:lnTo>
                    <a:pt x="2868" y="700"/>
                  </a:lnTo>
                  <a:lnTo>
                    <a:pt x="2866" y="694"/>
                  </a:lnTo>
                  <a:lnTo>
                    <a:pt x="2860" y="686"/>
                  </a:lnTo>
                  <a:lnTo>
                    <a:pt x="2852" y="678"/>
                  </a:lnTo>
                  <a:lnTo>
                    <a:pt x="2850" y="670"/>
                  </a:lnTo>
                  <a:lnTo>
                    <a:pt x="2850" y="670"/>
                  </a:lnTo>
                  <a:lnTo>
                    <a:pt x="2848" y="664"/>
                  </a:lnTo>
                  <a:lnTo>
                    <a:pt x="2844" y="658"/>
                  </a:lnTo>
                  <a:lnTo>
                    <a:pt x="2840" y="652"/>
                  </a:lnTo>
                  <a:lnTo>
                    <a:pt x="2836" y="646"/>
                  </a:lnTo>
                  <a:lnTo>
                    <a:pt x="2836" y="646"/>
                  </a:lnTo>
                  <a:lnTo>
                    <a:pt x="2832" y="640"/>
                  </a:lnTo>
                  <a:lnTo>
                    <a:pt x="2832" y="640"/>
                  </a:lnTo>
                  <a:lnTo>
                    <a:pt x="2830" y="642"/>
                  </a:lnTo>
                  <a:lnTo>
                    <a:pt x="2826" y="646"/>
                  </a:lnTo>
                  <a:lnTo>
                    <a:pt x="2824" y="654"/>
                  </a:lnTo>
                  <a:lnTo>
                    <a:pt x="2824" y="654"/>
                  </a:lnTo>
                  <a:lnTo>
                    <a:pt x="2820" y="664"/>
                  </a:lnTo>
                  <a:lnTo>
                    <a:pt x="2814" y="668"/>
                  </a:lnTo>
                  <a:lnTo>
                    <a:pt x="2810" y="670"/>
                  </a:lnTo>
                  <a:lnTo>
                    <a:pt x="2810" y="672"/>
                  </a:lnTo>
                  <a:lnTo>
                    <a:pt x="2810" y="674"/>
                  </a:lnTo>
                  <a:lnTo>
                    <a:pt x="2810" y="674"/>
                  </a:lnTo>
                  <a:lnTo>
                    <a:pt x="2814" y="680"/>
                  </a:lnTo>
                  <a:lnTo>
                    <a:pt x="2814" y="684"/>
                  </a:lnTo>
                  <a:lnTo>
                    <a:pt x="2808" y="690"/>
                  </a:lnTo>
                  <a:lnTo>
                    <a:pt x="2808" y="690"/>
                  </a:lnTo>
                  <a:lnTo>
                    <a:pt x="2806" y="694"/>
                  </a:lnTo>
                  <a:lnTo>
                    <a:pt x="2806" y="700"/>
                  </a:lnTo>
                  <a:lnTo>
                    <a:pt x="2806" y="704"/>
                  </a:lnTo>
                  <a:lnTo>
                    <a:pt x="2804" y="704"/>
                  </a:lnTo>
                  <a:lnTo>
                    <a:pt x="2802" y="706"/>
                  </a:lnTo>
                  <a:lnTo>
                    <a:pt x="2802" y="706"/>
                  </a:lnTo>
                  <a:lnTo>
                    <a:pt x="2798" y="706"/>
                  </a:lnTo>
                  <a:lnTo>
                    <a:pt x="2798" y="708"/>
                  </a:lnTo>
                  <a:lnTo>
                    <a:pt x="2796" y="714"/>
                  </a:lnTo>
                  <a:lnTo>
                    <a:pt x="2794" y="718"/>
                  </a:lnTo>
                  <a:lnTo>
                    <a:pt x="2794" y="718"/>
                  </a:lnTo>
                  <a:lnTo>
                    <a:pt x="2792" y="716"/>
                  </a:lnTo>
                  <a:lnTo>
                    <a:pt x="2792" y="716"/>
                  </a:lnTo>
                  <a:lnTo>
                    <a:pt x="2788" y="710"/>
                  </a:lnTo>
                  <a:lnTo>
                    <a:pt x="2782" y="710"/>
                  </a:lnTo>
                  <a:lnTo>
                    <a:pt x="2778" y="712"/>
                  </a:lnTo>
                  <a:lnTo>
                    <a:pt x="2776" y="718"/>
                  </a:lnTo>
                  <a:lnTo>
                    <a:pt x="2776" y="718"/>
                  </a:lnTo>
                  <a:lnTo>
                    <a:pt x="2774" y="720"/>
                  </a:lnTo>
                  <a:lnTo>
                    <a:pt x="2772" y="724"/>
                  </a:lnTo>
                  <a:lnTo>
                    <a:pt x="2766" y="730"/>
                  </a:lnTo>
                  <a:lnTo>
                    <a:pt x="2756" y="732"/>
                  </a:lnTo>
                  <a:lnTo>
                    <a:pt x="2748" y="734"/>
                  </a:lnTo>
                  <a:lnTo>
                    <a:pt x="2748" y="734"/>
                  </a:lnTo>
                  <a:lnTo>
                    <a:pt x="2746" y="732"/>
                  </a:lnTo>
                  <a:lnTo>
                    <a:pt x="2744" y="730"/>
                  </a:lnTo>
                  <a:lnTo>
                    <a:pt x="2740" y="726"/>
                  </a:lnTo>
                  <a:lnTo>
                    <a:pt x="2738" y="722"/>
                  </a:lnTo>
                  <a:lnTo>
                    <a:pt x="2736" y="720"/>
                  </a:lnTo>
                  <a:lnTo>
                    <a:pt x="2734" y="722"/>
                  </a:lnTo>
                  <a:lnTo>
                    <a:pt x="2734" y="722"/>
                  </a:lnTo>
                  <a:lnTo>
                    <a:pt x="2732" y="722"/>
                  </a:lnTo>
                  <a:lnTo>
                    <a:pt x="2730" y="722"/>
                  </a:lnTo>
                  <a:lnTo>
                    <a:pt x="2728" y="716"/>
                  </a:lnTo>
                  <a:lnTo>
                    <a:pt x="2724" y="710"/>
                  </a:lnTo>
                  <a:lnTo>
                    <a:pt x="2722" y="708"/>
                  </a:lnTo>
                  <a:lnTo>
                    <a:pt x="2718" y="708"/>
                  </a:lnTo>
                  <a:lnTo>
                    <a:pt x="2718" y="708"/>
                  </a:lnTo>
                  <a:lnTo>
                    <a:pt x="2712" y="708"/>
                  </a:lnTo>
                  <a:lnTo>
                    <a:pt x="2706" y="706"/>
                  </a:lnTo>
                  <a:lnTo>
                    <a:pt x="2704" y="704"/>
                  </a:lnTo>
                  <a:lnTo>
                    <a:pt x="2704" y="698"/>
                  </a:lnTo>
                  <a:lnTo>
                    <a:pt x="2704" y="698"/>
                  </a:lnTo>
                  <a:lnTo>
                    <a:pt x="2704" y="696"/>
                  </a:lnTo>
                  <a:lnTo>
                    <a:pt x="2702" y="692"/>
                  </a:lnTo>
                  <a:lnTo>
                    <a:pt x="2698" y="688"/>
                  </a:lnTo>
                  <a:lnTo>
                    <a:pt x="2692" y="684"/>
                  </a:lnTo>
                  <a:lnTo>
                    <a:pt x="2692" y="682"/>
                  </a:lnTo>
                  <a:lnTo>
                    <a:pt x="2694" y="680"/>
                  </a:lnTo>
                  <a:lnTo>
                    <a:pt x="2694" y="680"/>
                  </a:lnTo>
                  <a:lnTo>
                    <a:pt x="2694" y="678"/>
                  </a:lnTo>
                  <a:lnTo>
                    <a:pt x="2696" y="674"/>
                  </a:lnTo>
                  <a:lnTo>
                    <a:pt x="2694" y="668"/>
                  </a:lnTo>
                  <a:lnTo>
                    <a:pt x="2692" y="660"/>
                  </a:lnTo>
                  <a:lnTo>
                    <a:pt x="2690" y="648"/>
                  </a:lnTo>
                  <a:lnTo>
                    <a:pt x="2690" y="648"/>
                  </a:lnTo>
                  <a:lnTo>
                    <a:pt x="2690" y="640"/>
                  </a:lnTo>
                  <a:lnTo>
                    <a:pt x="2694" y="634"/>
                  </a:lnTo>
                  <a:lnTo>
                    <a:pt x="2698" y="630"/>
                  </a:lnTo>
                  <a:lnTo>
                    <a:pt x="2700" y="626"/>
                  </a:lnTo>
                  <a:lnTo>
                    <a:pt x="2700" y="626"/>
                  </a:lnTo>
                  <a:lnTo>
                    <a:pt x="2698" y="622"/>
                  </a:lnTo>
                  <a:lnTo>
                    <a:pt x="2694" y="622"/>
                  </a:lnTo>
                  <a:lnTo>
                    <a:pt x="2690" y="622"/>
                  </a:lnTo>
                  <a:lnTo>
                    <a:pt x="2684" y="624"/>
                  </a:lnTo>
                  <a:lnTo>
                    <a:pt x="2684" y="624"/>
                  </a:lnTo>
                  <a:lnTo>
                    <a:pt x="2680" y="626"/>
                  </a:lnTo>
                  <a:lnTo>
                    <a:pt x="2678" y="624"/>
                  </a:lnTo>
                  <a:lnTo>
                    <a:pt x="2674" y="620"/>
                  </a:lnTo>
                  <a:lnTo>
                    <a:pt x="2670" y="618"/>
                  </a:lnTo>
                  <a:lnTo>
                    <a:pt x="2670" y="618"/>
                  </a:lnTo>
                  <a:lnTo>
                    <a:pt x="2662" y="618"/>
                  </a:lnTo>
                  <a:lnTo>
                    <a:pt x="2650" y="618"/>
                  </a:lnTo>
                  <a:lnTo>
                    <a:pt x="2642" y="614"/>
                  </a:lnTo>
                  <a:lnTo>
                    <a:pt x="2638" y="610"/>
                  </a:lnTo>
                  <a:lnTo>
                    <a:pt x="2636" y="608"/>
                  </a:lnTo>
                  <a:lnTo>
                    <a:pt x="2636" y="608"/>
                  </a:lnTo>
                  <a:lnTo>
                    <a:pt x="2634" y="602"/>
                  </a:lnTo>
                  <a:lnTo>
                    <a:pt x="2632" y="600"/>
                  </a:lnTo>
                  <a:lnTo>
                    <a:pt x="2628" y="596"/>
                  </a:lnTo>
                  <a:lnTo>
                    <a:pt x="2624" y="592"/>
                  </a:lnTo>
                  <a:lnTo>
                    <a:pt x="2624" y="592"/>
                  </a:lnTo>
                  <a:lnTo>
                    <a:pt x="2622" y="588"/>
                  </a:lnTo>
                  <a:lnTo>
                    <a:pt x="2620" y="586"/>
                  </a:lnTo>
                  <a:lnTo>
                    <a:pt x="2616" y="586"/>
                  </a:lnTo>
                  <a:lnTo>
                    <a:pt x="2612" y="584"/>
                  </a:lnTo>
                  <a:lnTo>
                    <a:pt x="2612" y="584"/>
                  </a:lnTo>
                  <a:lnTo>
                    <a:pt x="2610" y="582"/>
                  </a:lnTo>
                  <a:lnTo>
                    <a:pt x="2610" y="582"/>
                  </a:lnTo>
                  <a:lnTo>
                    <a:pt x="2610" y="578"/>
                  </a:lnTo>
                  <a:lnTo>
                    <a:pt x="2608" y="574"/>
                  </a:lnTo>
                  <a:lnTo>
                    <a:pt x="2604" y="572"/>
                  </a:lnTo>
                  <a:lnTo>
                    <a:pt x="2600" y="570"/>
                  </a:lnTo>
                  <a:lnTo>
                    <a:pt x="2600" y="570"/>
                  </a:lnTo>
                  <a:lnTo>
                    <a:pt x="2594" y="570"/>
                  </a:lnTo>
                  <a:lnTo>
                    <a:pt x="2590" y="566"/>
                  </a:lnTo>
                  <a:lnTo>
                    <a:pt x="2586" y="564"/>
                  </a:lnTo>
                  <a:lnTo>
                    <a:pt x="2580" y="562"/>
                  </a:lnTo>
                  <a:lnTo>
                    <a:pt x="2580" y="562"/>
                  </a:lnTo>
                  <a:lnTo>
                    <a:pt x="2572" y="562"/>
                  </a:lnTo>
                  <a:lnTo>
                    <a:pt x="2564" y="564"/>
                  </a:lnTo>
                  <a:lnTo>
                    <a:pt x="2552" y="570"/>
                  </a:lnTo>
                  <a:lnTo>
                    <a:pt x="2552" y="570"/>
                  </a:lnTo>
                  <a:lnTo>
                    <a:pt x="2548" y="570"/>
                  </a:lnTo>
                  <a:lnTo>
                    <a:pt x="2540" y="568"/>
                  </a:lnTo>
                  <a:lnTo>
                    <a:pt x="2534" y="566"/>
                  </a:lnTo>
                  <a:lnTo>
                    <a:pt x="2530" y="566"/>
                  </a:lnTo>
                  <a:lnTo>
                    <a:pt x="2528" y="566"/>
                  </a:lnTo>
                  <a:lnTo>
                    <a:pt x="2528" y="566"/>
                  </a:lnTo>
                  <a:lnTo>
                    <a:pt x="2524" y="568"/>
                  </a:lnTo>
                  <a:lnTo>
                    <a:pt x="2520" y="566"/>
                  </a:lnTo>
                  <a:lnTo>
                    <a:pt x="2516" y="562"/>
                  </a:lnTo>
                  <a:lnTo>
                    <a:pt x="2506" y="558"/>
                  </a:lnTo>
                  <a:lnTo>
                    <a:pt x="2506" y="558"/>
                  </a:lnTo>
                  <a:lnTo>
                    <a:pt x="2494" y="556"/>
                  </a:lnTo>
                  <a:lnTo>
                    <a:pt x="2482" y="556"/>
                  </a:lnTo>
                  <a:lnTo>
                    <a:pt x="2474" y="556"/>
                  </a:lnTo>
                  <a:lnTo>
                    <a:pt x="2472" y="558"/>
                  </a:lnTo>
                  <a:lnTo>
                    <a:pt x="2470" y="558"/>
                  </a:lnTo>
                  <a:lnTo>
                    <a:pt x="2470" y="558"/>
                  </a:lnTo>
                  <a:lnTo>
                    <a:pt x="2468" y="562"/>
                  </a:lnTo>
                  <a:lnTo>
                    <a:pt x="2464" y="566"/>
                  </a:lnTo>
                  <a:lnTo>
                    <a:pt x="2460" y="572"/>
                  </a:lnTo>
                  <a:lnTo>
                    <a:pt x="2458" y="574"/>
                  </a:lnTo>
                  <a:lnTo>
                    <a:pt x="2458" y="578"/>
                  </a:lnTo>
                  <a:lnTo>
                    <a:pt x="2458" y="578"/>
                  </a:lnTo>
                  <a:lnTo>
                    <a:pt x="2460" y="582"/>
                  </a:lnTo>
                  <a:lnTo>
                    <a:pt x="2462" y="586"/>
                  </a:lnTo>
                  <a:lnTo>
                    <a:pt x="2466" y="590"/>
                  </a:lnTo>
                  <a:lnTo>
                    <a:pt x="2472" y="592"/>
                  </a:lnTo>
                  <a:lnTo>
                    <a:pt x="2476" y="598"/>
                  </a:lnTo>
                  <a:lnTo>
                    <a:pt x="2476" y="598"/>
                  </a:lnTo>
                  <a:lnTo>
                    <a:pt x="2476" y="602"/>
                  </a:lnTo>
                  <a:lnTo>
                    <a:pt x="2474" y="604"/>
                  </a:lnTo>
                  <a:lnTo>
                    <a:pt x="2472" y="606"/>
                  </a:lnTo>
                  <a:lnTo>
                    <a:pt x="2470" y="610"/>
                  </a:lnTo>
                  <a:lnTo>
                    <a:pt x="2470" y="610"/>
                  </a:lnTo>
                  <a:lnTo>
                    <a:pt x="2468" y="616"/>
                  </a:lnTo>
                  <a:lnTo>
                    <a:pt x="2464" y="618"/>
                  </a:lnTo>
                  <a:lnTo>
                    <a:pt x="2462" y="620"/>
                  </a:lnTo>
                  <a:lnTo>
                    <a:pt x="2460" y="624"/>
                  </a:lnTo>
                  <a:lnTo>
                    <a:pt x="2460" y="624"/>
                  </a:lnTo>
                  <a:lnTo>
                    <a:pt x="2462" y="626"/>
                  </a:lnTo>
                  <a:lnTo>
                    <a:pt x="2464" y="630"/>
                  </a:lnTo>
                  <a:lnTo>
                    <a:pt x="2466" y="632"/>
                  </a:lnTo>
                  <a:lnTo>
                    <a:pt x="2470" y="638"/>
                  </a:lnTo>
                  <a:lnTo>
                    <a:pt x="2470" y="638"/>
                  </a:lnTo>
                  <a:lnTo>
                    <a:pt x="2472" y="646"/>
                  </a:lnTo>
                  <a:lnTo>
                    <a:pt x="2476" y="650"/>
                  </a:lnTo>
                  <a:lnTo>
                    <a:pt x="2478" y="654"/>
                  </a:lnTo>
                  <a:lnTo>
                    <a:pt x="2480" y="664"/>
                  </a:lnTo>
                  <a:lnTo>
                    <a:pt x="2480" y="664"/>
                  </a:lnTo>
                  <a:lnTo>
                    <a:pt x="2480" y="672"/>
                  </a:lnTo>
                  <a:lnTo>
                    <a:pt x="2478" y="674"/>
                  </a:lnTo>
                  <a:lnTo>
                    <a:pt x="2470" y="676"/>
                  </a:lnTo>
                  <a:lnTo>
                    <a:pt x="2470" y="676"/>
                  </a:lnTo>
                  <a:lnTo>
                    <a:pt x="2466" y="680"/>
                  </a:lnTo>
                  <a:lnTo>
                    <a:pt x="2466" y="684"/>
                  </a:lnTo>
                  <a:lnTo>
                    <a:pt x="2466" y="688"/>
                  </a:lnTo>
                  <a:lnTo>
                    <a:pt x="2462" y="696"/>
                  </a:lnTo>
                  <a:lnTo>
                    <a:pt x="2462" y="696"/>
                  </a:lnTo>
                  <a:lnTo>
                    <a:pt x="2456" y="702"/>
                  </a:lnTo>
                  <a:lnTo>
                    <a:pt x="2452" y="710"/>
                  </a:lnTo>
                  <a:lnTo>
                    <a:pt x="2450" y="716"/>
                  </a:lnTo>
                  <a:lnTo>
                    <a:pt x="2450" y="718"/>
                  </a:lnTo>
                  <a:lnTo>
                    <a:pt x="2452" y="722"/>
                  </a:lnTo>
                  <a:lnTo>
                    <a:pt x="2452" y="722"/>
                  </a:lnTo>
                  <a:lnTo>
                    <a:pt x="2472" y="734"/>
                  </a:lnTo>
                  <a:lnTo>
                    <a:pt x="2484" y="742"/>
                  </a:lnTo>
                  <a:lnTo>
                    <a:pt x="2490" y="748"/>
                  </a:lnTo>
                  <a:lnTo>
                    <a:pt x="2494" y="754"/>
                  </a:lnTo>
                  <a:lnTo>
                    <a:pt x="2494" y="754"/>
                  </a:lnTo>
                  <a:lnTo>
                    <a:pt x="2500" y="768"/>
                  </a:lnTo>
                  <a:lnTo>
                    <a:pt x="2502" y="784"/>
                  </a:lnTo>
                  <a:lnTo>
                    <a:pt x="2502" y="800"/>
                  </a:lnTo>
                  <a:lnTo>
                    <a:pt x="2500" y="814"/>
                  </a:lnTo>
                  <a:lnTo>
                    <a:pt x="2500" y="814"/>
                  </a:lnTo>
                  <a:lnTo>
                    <a:pt x="2498" y="820"/>
                  </a:lnTo>
                  <a:lnTo>
                    <a:pt x="2494" y="826"/>
                  </a:lnTo>
                  <a:lnTo>
                    <a:pt x="2484" y="834"/>
                  </a:lnTo>
                  <a:lnTo>
                    <a:pt x="2472" y="842"/>
                  </a:lnTo>
                  <a:lnTo>
                    <a:pt x="2460" y="852"/>
                  </a:lnTo>
                  <a:lnTo>
                    <a:pt x="2460" y="852"/>
                  </a:lnTo>
                  <a:lnTo>
                    <a:pt x="2456" y="858"/>
                  </a:lnTo>
                  <a:lnTo>
                    <a:pt x="2450" y="860"/>
                  </a:lnTo>
                  <a:lnTo>
                    <a:pt x="2438" y="864"/>
                  </a:lnTo>
                  <a:lnTo>
                    <a:pt x="2430" y="866"/>
                  </a:lnTo>
                  <a:lnTo>
                    <a:pt x="2422" y="866"/>
                  </a:lnTo>
                  <a:lnTo>
                    <a:pt x="2422" y="866"/>
                  </a:lnTo>
                  <a:lnTo>
                    <a:pt x="2420" y="866"/>
                  </a:lnTo>
                  <a:lnTo>
                    <a:pt x="2420" y="868"/>
                  </a:lnTo>
                  <a:lnTo>
                    <a:pt x="2420" y="876"/>
                  </a:lnTo>
                  <a:lnTo>
                    <a:pt x="2424" y="884"/>
                  </a:lnTo>
                  <a:lnTo>
                    <a:pt x="2430" y="892"/>
                  </a:lnTo>
                  <a:lnTo>
                    <a:pt x="2430" y="892"/>
                  </a:lnTo>
                  <a:lnTo>
                    <a:pt x="2434" y="900"/>
                  </a:lnTo>
                  <a:lnTo>
                    <a:pt x="2436" y="906"/>
                  </a:lnTo>
                  <a:lnTo>
                    <a:pt x="2436" y="912"/>
                  </a:lnTo>
                  <a:lnTo>
                    <a:pt x="2438" y="920"/>
                  </a:lnTo>
                  <a:lnTo>
                    <a:pt x="2438" y="920"/>
                  </a:lnTo>
                  <a:lnTo>
                    <a:pt x="2440" y="928"/>
                  </a:lnTo>
                  <a:lnTo>
                    <a:pt x="2440" y="936"/>
                  </a:lnTo>
                  <a:lnTo>
                    <a:pt x="2442" y="944"/>
                  </a:lnTo>
                  <a:lnTo>
                    <a:pt x="2446" y="952"/>
                  </a:lnTo>
                  <a:lnTo>
                    <a:pt x="2446" y="952"/>
                  </a:lnTo>
                  <a:lnTo>
                    <a:pt x="2448" y="960"/>
                  </a:lnTo>
                  <a:lnTo>
                    <a:pt x="2448" y="964"/>
                  </a:lnTo>
                  <a:lnTo>
                    <a:pt x="2446" y="970"/>
                  </a:lnTo>
                  <a:lnTo>
                    <a:pt x="2440" y="976"/>
                  </a:lnTo>
                  <a:lnTo>
                    <a:pt x="2440" y="976"/>
                  </a:lnTo>
                  <a:lnTo>
                    <a:pt x="2436" y="980"/>
                  </a:lnTo>
                  <a:lnTo>
                    <a:pt x="2438" y="982"/>
                  </a:lnTo>
                  <a:lnTo>
                    <a:pt x="2442" y="984"/>
                  </a:lnTo>
                  <a:lnTo>
                    <a:pt x="2442" y="986"/>
                  </a:lnTo>
                  <a:lnTo>
                    <a:pt x="2444" y="990"/>
                  </a:lnTo>
                  <a:lnTo>
                    <a:pt x="2444" y="990"/>
                  </a:lnTo>
                  <a:lnTo>
                    <a:pt x="2442" y="994"/>
                  </a:lnTo>
                  <a:lnTo>
                    <a:pt x="2440" y="994"/>
                  </a:lnTo>
                  <a:lnTo>
                    <a:pt x="2432" y="988"/>
                  </a:lnTo>
                  <a:lnTo>
                    <a:pt x="2432" y="988"/>
                  </a:lnTo>
                  <a:lnTo>
                    <a:pt x="2428" y="986"/>
                  </a:lnTo>
                  <a:lnTo>
                    <a:pt x="2426" y="988"/>
                  </a:lnTo>
                  <a:lnTo>
                    <a:pt x="2420" y="992"/>
                  </a:lnTo>
                  <a:lnTo>
                    <a:pt x="2418" y="998"/>
                  </a:lnTo>
                  <a:lnTo>
                    <a:pt x="2416" y="1004"/>
                  </a:lnTo>
                  <a:lnTo>
                    <a:pt x="2416" y="1004"/>
                  </a:lnTo>
                  <a:lnTo>
                    <a:pt x="2416" y="1006"/>
                  </a:lnTo>
                  <a:lnTo>
                    <a:pt x="2414" y="1006"/>
                  </a:lnTo>
                  <a:lnTo>
                    <a:pt x="2406" y="1002"/>
                  </a:lnTo>
                  <a:lnTo>
                    <a:pt x="2398" y="998"/>
                  </a:lnTo>
                  <a:lnTo>
                    <a:pt x="2394" y="996"/>
                  </a:lnTo>
                  <a:lnTo>
                    <a:pt x="2394" y="996"/>
                  </a:lnTo>
                  <a:lnTo>
                    <a:pt x="2392" y="994"/>
                  </a:lnTo>
                  <a:lnTo>
                    <a:pt x="2390" y="990"/>
                  </a:lnTo>
                  <a:lnTo>
                    <a:pt x="2390" y="984"/>
                  </a:lnTo>
                  <a:lnTo>
                    <a:pt x="2384" y="978"/>
                  </a:lnTo>
                  <a:lnTo>
                    <a:pt x="2384" y="978"/>
                  </a:lnTo>
                  <a:lnTo>
                    <a:pt x="2370" y="968"/>
                  </a:lnTo>
                  <a:lnTo>
                    <a:pt x="2366" y="964"/>
                  </a:lnTo>
                  <a:lnTo>
                    <a:pt x="2364" y="958"/>
                  </a:lnTo>
                  <a:lnTo>
                    <a:pt x="2364" y="958"/>
                  </a:lnTo>
                  <a:lnTo>
                    <a:pt x="2364" y="956"/>
                  </a:lnTo>
                  <a:lnTo>
                    <a:pt x="2362" y="952"/>
                  </a:lnTo>
                  <a:lnTo>
                    <a:pt x="2354" y="948"/>
                  </a:lnTo>
                  <a:lnTo>
                    <a:pt x="2348" y="942"/>
                  </a:lnTo>
                  <a:lnTo>
                    <a:pt x="2346" y="938"/>
                  </a:lnTo>
                  <a:lnTo>
                    <a:pt x="2346" y="934"/>
                  </a:lnTo>
                  <a:lnTo>
                    <a:pt x="2346" y="934"/>
                  </a:lnTo>
                  <a:lnTo>
                    <a:pt x="2346" y="914"/>
                  </a:lnTo>
                  <a:lnTo>
                    <a:pt x="2346" y="902"/>
                  </a:lnTo>
                  <a:lnTo>
                    <a:pt x="2344" y="894"/>
                  </a:lnTo>
                  <a:lnTo>
                    <a:pt x="2344" y="894"/>
                  </a:lnTo>
                  <a:lnTo>
                    <a:pt x="2342" y="888"/>
                  </a:lnTo>
                  <a:lnTo>
                    <a:pt x="2342" y="882"/>
                  </a:lnTo>
                  <a:lnTo>
                    <a:pt x="2346" y="872"/>
                  </a:lnTo>
                  <a:lnTo>
                    <a:pt x="2346" y="872"/>
                  </a:lnTo>
                  <a:lnTo>
                    <a:pt x="2348" y="866"/>
                  </a:lnTo>
                  <a:lnTo>
                    <a:pt x="2344" y="860"/>
                  </a:lnTo>
                  <a:lnTo>
                    <a:pt x="2340" y="856"/>
                  </a:lnTo>
                  <a:lnTo>
                    <a:pt x="2332" y="854"/>
                  </a:lnTo>
                  <a:lnTo>
                    <a:pt x="2332" y="854"/>
                  </a:lnTo>
                  <a:lnTo>
                    <a:pt x="2312" y="852"/>
                  </a:lnTo>
                  <a:lnTo>
                    <a:pt x="2302" y="852"/>
                  </a:lnTo>
                  <a:lnTo>
                    <a:pt x="2290" y="852"/>
                  </a:lnTo>
                  <a:lnTo>
                    <a:pt x="2290" y="852"/>
                  </a:lnTo>
                  <a:lnTo>
                    <a:pt x="2280" y="852"/>
                  </a:lnTo>
                  <a:lnTo>
                    <a:pt x="2272" y="852"/>
                  </a:lnTo>
                  <a:lnTo>
                    <a:pt x="2266" y="850"/>
                  </a:lnTo>
                  <a:lnTo>
                    <a:pt x="2262" y="846"/>
                  </a:lnTo>
                  <a:lnTo>
                    <a:pt x="2262" y="846"/>
                  </a:lnTo>
                  <a:lnTo>
                    <a:pt x="2248" y="838"/>
                  </a:lnTo>
                  <a:lnTo>
                    <a:pt x="2238" y="832"/>
                  </a:lnTo>
                  <a:lnTo>
                    <a:pt x="2224" y="828"/>
                  </a:lnTo>
                  <a:lnTo>
                    <a:pt x="2224" y="828"/>
                  </a:lnTo>
                  <a:lnTo>
                    <a:pt x="2212" y="824"/>
                  </a:lnTo>
                  <a:lnTo>
                    <a:pt x="2204" y="818"/>
                  </a:lnTo>
                  <a:lnTo>
                    <a:pt x="2198" y="814"/>
                  </a:lnTo>
                  <a:lnTo>
                    <a:pt x="2196" y="808"/>
                  </a:lnTo>
                  <a:lnTo>
                    <a:pt x="2196" y="808"/>
                  </a:lnTo>
                  <a:lnTo>
                    <a:pt x="2192" y="804"/>
                  </a:lnTo>
                  <a:lnTo>
                    <a:pt x="2184" y="800"/>
                  </a:lnTo>
                  <a:lnTo>
                    <a:pt x="2176" y="798"/>
                  </a:lnTo>
                  <a:lnTo>
                    <a:pt x="2170" y="794"/>
                  </a:lnTo>
                  <a:lnTo>
                    <a:pt x="2170" y="794"/>
                  </a:lnTo>
                  <a:lnTo>
                    <a:pt x="2166" y="790"/>
                  </a:lnTo>
                  <a:lnTo>
                    <a:pt x="2158" y="788"/>
                  </a:lnTo>
                  <a:lnTo>
                    <a:pt x="2148" y="786"/>
                  </a:lnTo>
                  <a:lnTo>
                    <a:pt x="2142" y="786"/>
                  </a:lnTo>
                  <a:lnTo>
                    <a:pt x="2142" y="786"/>
                  </a:lnTo>
                  <a:lnTo>
                    <a:pt x="2134" y="784"/>
                  </a:lnTo>
                  <a:lnTo>
                    <a:pt x="2124" y="780"/>
                  </a:lnTo>
                  <a:lnTo>
                    <a:pt x="2114" y="774"/>
                  </a:lnTo>
                  <a:lnTo>
                    <a:pt x="2104" y="772"/>
                  </a:lnTo>
                  <a:lnTo>
                    <a:pt x="2104" y="772"/>
                  </a:lnTo>
                  <a:lnTo>
                    <a:pt x="2094" y="774"/>
                  </a:lnTo>
                  <a:lnTo>
                    <a:pt x="2082" y="778"/>
                  </a:lnTo>
                  <a:lnTo>
                    <a:pt x="2064" y="784"/>
                  </a:lnTo>
                  <a:lnTo>
                    <a:pt x="2064" y="784"/>
                  </a:lnTo>
                  <a:lnTo>
                    <a:pt x="2062" y="782"/>
                  </a:lnTo>
                  <a:lnTo>
                    <a:pt x="2064" y="778"/>
                  </a:lnTo>
                  <a:lnTo>
                    <a:pt x="2068" y="770"/>
                  </a:lnTo>
                  <a:lnTo>
                    <a:pt x="2068" y="770"/>
                  </a:lnTo>
                  <a:lnTo>
                    <a:pt x="2068" y="764"/>
                  </a:lnTo>
                  <a:lnTo>
                    <a:pt x="2064" y="756"/>
                  </a:lnTo>
                  <a:lnTo>
                    <a:pt x="2060" y="746"/>
                  </a:lnTo>
                  <a:lnTo>
                    <a:pt x="2056" y="736"/>
                  </a:lnTo>
                  <a:lnTo>
                    <a:pt x="2056" y="736"/>
                  </a:lnTo>
                  <a:lnTo>
                    <a:pt x="2054" y="726"/>
                  </a:lnTo>
                  <a:lnTo>
                    <a:pt x="2050" y="718"/>
                  </a:lnTo>
                  <a:lnTo>
                    <a:pt x="2044" y="714"/>
                  </a:lnTo>
                  <a:lnTo>
                    <a:pt x="2040" y="712"/>
                  </a:lnTo>
                  <a:lnTo>
                    <a:pt x="2036" y="712"/>
                  </a:lnTo>
                  <a:lnTo>
                    <a:pt x="2036" y="712"/>
                  </a:lnTo>
                  <a:lnTo>
                    <a:pt x="2026" y="712"/>
                  </a:lnTo>
                  <a:lnTo>
                    <a:pt x="2018" y="710"/>
                  </a:lnTo>
                  <a:lnTo>
                    <a:pt x="2006" y="706"/>
                  </a:lnTo>
                  <a:lnTo>
                    <a:pt x="2006" y="706"/>
                  </a:lnTo>
                  <a:lnTo>
                    <a:pt x="2004" y="698"/>
                  </a:lnTo>
                  <a:lnTo>
                    <a:pt x="2002" y="684"/>
                  </a:lnTo>
                  <a:lnTo>
                    <a:pt x="2002" y="668"/>
                  </a:lnTo>
                  <a:lnTo>
                    <a:pt x="2004" y="654"/>
                  </a:lnTo>
                  <a:lnTo>
                    <a:pt x="2004" y="654"/>
                  </a:lnTo>
                  <a:lnTo>
                    <a:pt x="2008" y="642"/>
                  </a:lnTo>
                  <a:lnTo>
                    <a:pt x="2016" y="630"/>
                  </a:lnTo>
                  <a:lnTo>
                    <a:pt x="2020" y="618"/>
                  </a:lnTo>
                  <a:lnTo>
                    <a:pt x="2024" y="608"/>
                  </a:lnTo>
                  <a:lnTo>
                    <a:pt x="2024" y="608"/>
                  </a:lnTo>
                  <a:lnTo>
                    <a:pt x="2026" y="602"/>
                  </a:lnTo>
                  <a:lnTo>
                    <a:pt x="2030" y="598"/>
                  </a:lnTo>
                  <a:lnTo>
                    <a:pt x="2036" y="594"/>
                  </a:lnTo>
                  <a:lnTo>
                    <a:pt x="2042" y="592"/>
                  </a:lnTo>
                  <a:lnTo>
                    <a:pt x="2042" y="592"/>
                  </a:lnTo>
                  <a:lnTo>
                    <a:pt x="2046" y="592"/>
                  </a:lnTo>
                  <a:lnTo>
                    <a:pt x="2046" y="588"/>
                  </a:lnTo>
                  <a:lnTo>
                    <a:pt x="2048" y="582"/>
                  </a:lnTo>
                  <a:lnTo>
                    <a:pt x="2050" y="574"/>
                  </a:lnTo>
                  <a:lnTo>
                    <a:pt x="2050" y="572"/>
                  </a:lnTo>
                  <a:lnTo>
                    <a:pt x="2054" y="572"/>
                  </a:lnTo>
                  <a:lnTo>
                    <a:pt x="2054" y="572"/>
                  </a:lnTo>
                  <a:lnTo>
                    <a:pt x="2058" y="570"/>
                  </a:lnTo>
                  <a:lnTo>
                    <a:pt x="2062" y="568"/>
                  </a:lnTo>
                  <a:lnTo>
                    <a:pt x="2066" y="560"/>
                  </a:lnTo>
                  <a:lnTo>
                    <a:pt x="2066" y="560"/>
                  </a:lnTo>
                  <a:lnTo>
                    <a:pt x="2068" y="556"/>
                  </a:lnTo>
                  <a:lnTo>
                    <a:pt x="2072" y="554"/>
                  </a:lnTo>
                  <a:lnTo>
                    <a:pt x="2074" y="554"/>
                  </a:lnTo>
                  <a:lnTo>
                    <a:pt x="2072" y="550"/>
                  </a:lnTo>
                  <a:lnTo>
                    <a:pt x="2072" y="550"/>
                  </a:lnTo>
                  <a:lnTo>
                    <a:pt x="2070" y="548"/>
                  </a:lnTo>
                  <a:lnTo>
                    <a:pt x="2070" y="544"/>
                  </a:lnTo>
                  <a:lnTo>
                    <a:pt x="2076" y="544"/>
                  </a:lnTo>
                  <a:lnTo>
                    <a:pt x="2084" y="544"/>
                  </a:lnTo>
                  <a:lnTo>
                    <a:pt x="2084" y="544"/>
                  </a:lnTo>
                  <a:lnTo>
                    <a:pt x="2096" y="542"/>
                  </a:lnTo>
                  <a:lnTo>
                    <a:pt x="2106" y="538"/>
                  </a:lnTo>
                  <a:lnTo>
                    <a:pt x="2110" y="536"/>
                  </a:lnTo>
                  <a:lnTo>
                    <a:pt x="2114" y="534"/>
                  </a:lnTo>
                  <a:lnTo>
                    <a:pt x="2116" y="530"/>
                  </a:lnTo>
                  <a:lnTo>
                    <a:pt x="2116" y="524"/>
                  </a:lnTo>
                  <a:lnTo>
                    <a:pt x="2116" y="524"/>
                  </a:lnTo>
                  <a:lnTo>
                    <a:pt x="2114" y="520"/>
                  </a:lnTo>
                  <a:lnTo>
                    <a:pt x="2108" y="518"/>
                  </a:lnTo>
                  <a:lnTo>
                    <a:pt x="2096" y="516"/>
                  </a:lnTo>
                  <a:lnTo>
                    <a:pt x="2082" y="514"/>
                  </a:lnTo>
                  <a:lnTo>
                    <a:pt x="2078" y="512"/>
                  </a:lnTo>
                  <a:lnTo>
                    <a:pt x="2076" y="510"/>
                  </a:lnTo>
                  <a:lnTo>
                    <a:pt x="2076" y="510"/>
                  </a:lnTo>
                  <a:lnTo>
                    <a:pt x="2074" y="506"/>
                  </a:lnTo>
                  <a:lnTo>
                    <a:pt x="2070" y="502"/>
                  </a:lnTo>
                  <a:lnTo>
                    <a:pt x="2054" y="498"/>
                  </a:lnTo>
                  <a:lnTo>
                    <a:pt x="2040" y="494"/>
                  </a:lnTo>
                  <a:lnTo>
                    <a:pt x="2034" y="492"/>
                  </a:lnTo>
                  <a:lnTo>
                    <a:pt x="2034" y="490"/>
                  </a:lnTo>
                  <a:lnTo>
                    <a:pt x="2034" y="490"/>
                  </a:lnTo>
                  <a:lnTo>
                    <a:pt x="2036" y="488"/>
                  </a:lnTo>
                  <a:lnTo>
                    <a:pt x="2042" y="488"/>
                  </a:lnTo>
                  <a:lnTo>
                    <a:pt x="2060" y="492"/>
                  </a:lnTo>
                  <a:lnTo>
                    <a:pt x="2080" y="496"/>
                  </a:lnTo>
                  <a:lnTo>
                    <a:pt x="2096" y="502"/>
                  </a:lnTo>
                  <a:lnTo>
                    <a:pt x="2096" y="502"/>
                  </a:lnTo>
                  <a:lnTo>
                    <a:pt x="2112" y="506"/>
                  </a:lnTo>
                  <a:lnTo>
                    <a:pt x="2128" y="506"/>
                  </a:lnTo>
                  <a:lnTo>
                    <a:pt x="2128" y="506"/>
                  </a:lnTo>
                  <a:lnTo>
                    <a:pt x="2132" y="506"/>
                  </a:lnTo>
                  <a:lnTo>
                    <a:pt x="2134" y="504"/>
                  </a:lnTo>
                  <a:lnTo>
                    <a:pt x="2136" y="496"/>
                  </a:lnTo>
                  <a:lnTo>
                    <a:pt x="2134" y="490"/>
                  </a:lnTo>
                  <a:lnTo>
                    <a:pt x="2134" y="482"/>
                  </a:lnTo>
                  <a:lnTo>
                    <a:pt x="2134" y="482"/>
                  </a:lnTo>
                  <a:lnTo>
                    <a:pt x="2136" y="482"/>
                  </a:lnTo>
                  <a:lnTo>
                    <a:pt x="2140" y="482"/>
                  </a:lnTo>
                  <a:lnTo>
                    <a:pt x="2150" y="484"/>
                  </a:lnTo>
                  <a:lnTo>
                    <a:pt x="2164" y="488"/>
                  </a:lnTo>
                  <a:lnTo>
                    <a:pt x="2170" y="490"/>
                  </a:lnTo>
                  <a:lnTo>
                    <a:pt x="2176" y="490"/>
                  </a:lnTo>
                  <a:lnTo>
                    <a:pt x="2176" y="490"/>
                  </a:lnTo>
                  <a:lnTo>
                    <a:pt x="2180" y="486"/>
                  </a:lnTo>
                  <a:lnTo>
                    <a:pt x="2186" y="482"/>
                  </a:lnTo>
                  <a:lnTo>
                    <a:pt x="2196" y="470"/>
                  </a:lnTo>
                  <a:lnTo>
                    <a:pt x="2204" y="458"/>
                  </a:lnTo>
                  <a:lnTo>
                    <a:pt x="2214" y="450"/>
                  </a:lnTo>
                  <a:lnTo>
                    <a:pt x="2214" y="450"/>
                  </a:lnTo>
                  <a:lnTo>
                    <a:pt x="2218" y="446"/>
                  </a:lnTo>
                  <a:lnTo>
                    <a:pt x="2218" y="444"/>
                  </a:lnTo>
                  <a:lnTo>
                    <a:pt x="2218" y="442"/>
                  </a:lnTo>
                  <a:lnTo>
                    <a:pt x="2216" y="440"/>
                  </a:lnTo>
                  <a:lnTo>
                    <a:pt x="2206" y="436"/>
                  </a:lnTo>
                  <a:lnTo>
                    <a:pt x="2192" y="436"/>
                  </a:lnTo>
                  <a:lnTo>
                    <a:pt x="2192" y="436"/>
                  </a:lnTo>
                  <a:lnTo>
                    <a:pt x="2178" y="436"/>
                  </a:lnTo>
                  <a:lnTo>
                    <a:pt x="2166" y="432"/>
                  </a:lnTo>
                  <a:lnTo>
                    <a:pt x="2154" y="426"/>
                  </a:lnTo>
                  <a:lnTo>
                    <a:pt x="2146" y="420"/>
                  </a:lnTo>
                  <a:lnTo>
                    <a:pt x="2146" y="420"/>
                  </a:lnTo>
                  <a:lnTo>
                    <a:pt x="2138" y="414"/>
                  </a:lnTo>
                  <a:lnTo>
                    <a:pt x="2138" y="410"/>
                  </a:lnTo>
                  <a:lnTo>
                    <a:pt x="2138" y="408"/>
                  </a:lnTo>
                  <a:lnTo>
                    <a:pt x="2140" y="406"/>
                  </a:lnTo>
                  <a:lnTo>
                    <a:pt x="2148" y="406"/>
                  </a:lnTo>
                  <a:lnTo>
                    <a:pt x="2148" y="406"/>
                  </a:lnTo>
                  <a:lnTo>
                    <a:pt x="2152" y="406"/>
                  </a:lnTo>
                  <a:lnTo>
                    <a:pt x="2160" y="410"/>
                  </a:lnTo>
                  <a:lnTo>
                    <a:pt x="2174" y="418"/>
                  </a:lnTo>
                  <a:lnTo>
                    <a:pt x="2190" y="428"/>
                  </a:lnTo>
                  <a:lnTo>
                    <a:pt x="2196" y="430"/>
                  </a:lnTo>
                  <a:lnTo>
                    <a:pt x="2202" y="432"/>
                  </a:lnTo>
                  <a:lnTo>
                    <a:pt x="2202" y="432"/>
                  </a:lnTo>
                  <a:lnTo>
                    <a:pt x="2206" y="432"/>
                  </a:lnTo>
                  <a:lnTo>
                    <a:pt x="2212" y="428"/>
                  </a:lnTo>
                  <a:lnTo>
                    <a:pt x="2222" y="420"/>
                  </a:lnTo>
                  <a:lnTo>
                    <a:pt x="2242" y="402"/>
                  </a:lnTo>
                  <a:lnTo>
                    <a:pt x="2242" y="402"/>
                  </a:lnTo>
                  <a:lnTo>
                    <a:pt x="2246" y="400"/>
                  </a:lnTo>
                  <a:lnTo>
                    <a:pt x="2246" y="398"/>
                  </a:lnTo>
                  <a:lnTo>
                    <a:pt x="2240" y="394"/>
                  </a:lnTo>
                  <a:lnTo>
                    <a:pt x="2234" y="390"/>
                  </a:lnTo>
                  <a:lnTo>
                    <a:pt x="2228" y="386"/>
                  </a:lnTo>
                  <a:lnTo>
                    <a:pt x="2228" y="386"/>
                  </a:lnTo>
                  <a:lnTo>
                    <a:pt x="2226" y="384"/>
                  </a:lnTo>
                  <a:lnTo>
                    <a:pt x="2226" y="382"/>
                  </a:lnTo>
                  <a:lnTo>
                    <a:pt x="2232" y="380"/>
                  </a:lnTo>
                  <a:lnTo>
                    <a:pt x="2240" y="378"/>
                  </a:lnTo>
                  <a:lnTo>
                    <a:pt x="2248" y="378"/>
                  </a:lnTo>
                  <a:lnTo>
                    <a:pt x="2248" y="378"/>
                  </a:lnTo>
                  <a:lnTo>
                    <a:pt x="2254" y="378"/>
                  </a:lnTo>
                  <a:lnTo>
                    <a:pt x="2260" y="382"/>
                  </a:lnTo>
                  <a:lnTo>
                    <a:pt x="2266" y="390"/>
                  </a:lnTo>
                  <a:lnTo>
                    <a:pt x="2266" y="390"/>
                  </a:lnTo>
                  <a:lnTo>
                    <a:pt x="2270" y="392"/>
                  </a:lnTo>
                  <a:lnTo>
                    <a:pt x="2278" y="390"/>
                  </a:lnTo>
                  <a:lnTo>
                    <a:pt x="2294" y="388"/>
                  </a:lnTo>
                  <a:lnTo>
                    <a:pt x="2294" y="388"/>
                  </a:lnTo>
                  <a:lnTo>
                    <a:pt x="2298" y="386"/>
                  </a:lnTo>
                  <a:lnTo>
                    <a:pt x="2298" y="384"/>
                  </a:lnTo>
                  <a:lnTo>
                    <a:pt x="2296" y="380"/>
                  </a:lnTo>
                  <a:lnTo>
                    <a:pt x="2290" y="374"/>
                  </a:lnTo>
                  <a:lnTo>
                    <a:pt x="2280" y="368"/>
                  </a:lnTo>
                  <a:lnTo>
                    <a:pt x="2280" y="368"/>
                  </a:lnTo>
                  <a:lnTo>
                    <a:pt x="2276" y="366"/>
                  </a:lnTo>
                  <a:lnTo>
                    <a:pt x="2274" y="364"/>
                  </a:lnTo>
                  <a:lnTo>
                    <a:pt x="2274" y="360"/>
                  </a:lnTo>
                  <a:lnTo>
                    <a:pt x="2276" y="358"/>
                  </a:lnTo>
                  <a:lnTo>
                    <a:pt x="2280" y="358"/>
                  </a:lnTo>
                  <a:lnTo>
                    <a:pt x="2282" y="358"/>
                  </a:lnTo>
                  <a:lnTo>
                    <a:pt x="2284" y="360"/>
                  </a:lnTo>
                  <a:lnTo>
                    <a:pt x="2284" y="360"/>
                  </a:lnTo>
                  <a:lnTo>
                    <a:pt x="2288" y="366"/>
                  </a:lnTo>
                  <a:lnTo>
                    <a:pt x="2294" y="368"/>
                  </a:lnTo>
                  <a:lnTo>
                    <a:pt x="2298" y="372"/>
                  </a:lnTo>
                  <a:lnTo>
                    <a:pt x="2304" y="376"/>
                  </a:lnTo>
                  <a:lnTo>
                    <a:pt x="2304" y="376"/>
                  </a:lnTo>
                  <a:lnTo>
                    <a:pt x="2308" y="384"/>
                  </a:lnTo>
                  <a:lnTo>
                    <a:pt x="2310" y="384"/>
                  </a:lnTo>
                  <a:lnTo>
                    <a:pt x="2314" y="384"/>
                  </a:lnTo>
                  <a:lnTo>
                    <a:pt x="2326" y="378"/>
                  </a:lnTo>
                  <a:lnTo>
                    <a:pt x="2326" y="378"/>
                  </a:lnTo>
                  <a:lnTo>
                    <a:pt x="2334" y="374"/>
                  </a:lnTo>
                  <a:lnTo>
                    <a:pt x="2342" y="370"/>
                  </a:lnTo>
                  <a:lnTo>
                    <a:pt x="2352" y="358"/>
                  </a:lnTo>
                  <a:lnTo>
                    <a:pt x="2352" y="358"/>
                  </a:lnTo>
                  <a:lnTo>
                    <a:pt x="2356" y="356"/>
                  </a:lnTo>
                  <a:lnTo>
                    <a:pt x="2358" y="356"/>
                  </a:lnTo>
                  <a:lnTo>
                    <a:pt x="2362" y="354"/>
                  </a:lnTo>
                  <a:lnTo>
                    <a:pt x="2368" y="348"/>
                  </a:lnTo>
                  <a:lnTo>
                    <a:pt x="2368" y="348"/>
                  </a:lnTo>
                  <a:lnTo>
                    <a:pt x="2370" y="344"/>
                  </a:lnTo>
                  <a:lnTo>
                    <a:pt x="2370" y="340"/>
                  </a:lnTo>
                  <a:lnTo>
                    <a:pt x="2368" y="332"/>
                  </a:lnTo>
                  <a:lnTo>
                    <a:pt x="2362" y="324"/>
                  </a:lnTo>
                  <a:lnTo>
                    <a:pt x="2354" y="318"/>
                  </a:lnTo>
                  <a:lnTo>
                    <a:pt x="2354" y="318"/>
                  </a:lnTo>
                  <a:lnTo>
                    <a:pt x="2352" y="316"/>
                  </a:lnTo>
                  <a:lnTo>
                    <a:pt x="2350" y="314"/>
                  </a:lnTo>
                  <a:lnTo>
                    <a:pt x="2350" y="308"/>
                  </a:lnTo>
                  <a:lnTo>
                    <a:pt x="2350" y="304"/>
                  </a:lnTo>
                  <a:lnTo>
                    <a:pt x="2348" y="302"/>
                  </a:lnTo>
                  <a:lnTo>
                    <a:pt x="2344" y="300"/>
                  </a:lnTo>
                  <a:lnTo>
                    <a:pt x="2344" y="300"/>
                  </a:lnTo>
                  <a:lnTo>
                    <a:pt x="2340" y="296"/>
                  </a:lnTo>
                  <a:lnTo>
                    <a:pt x="2338" y="292"/>
                  </a:lnTo>
                  <a:lnTo>
                    <a:pt x="2338" y="290"/>
                  </a:lnTo>
                  <a:lnTo>
                    <a:pt x="2338" y="288"/>
                  </a:lnTo>
                  <a:lnTo>
                    <a:pt x="2346" y="288"/>
                  </a:lnTo>
                  <a:lnTo>
                    <a:pt x="2346" y="288"/>
                  </a:lnTo>
                  <a:lnTo>
                    <a:pt x="2354" y="288"/>
                  </a:lnTo>
                  <a:lnTo>
                    <a:pt x="2362" y="288"/>
                  </a:lnTo>
                  <a:lnTo>
                    <a:pt x="2368" y="284"/>
                  </a:lnTo>
                  <a:lnTo>
                    <a:pt x="2372" y="278"/>
                  </a:lnTo>
                  <a:lnTo>
                    <a:pt x="2372" y="278"/>
                  </a:lnTo>
                  <a:lnTo>
                    <a:pt x="2374" y="276"/>
                  </a:lnTo>
                  <a:lnTo>
                    <a:pt x="2372" y="274"/>
                  </a:lnTo>
                  <a:lnTo>
                    <a:pt x="2368" y="270"/>
                  </a:lnTo>
                  <a:lnTo>
                    <a:pt x="2362" y="266"/>
                  </a:lnTo>
                  <a:lnTo>
                    <a:pt x="2362" y="264"/>
                  </a:lnTo>
                  <a:lnTo>
                    <a:pt x="2366" y="262"/>
                  </a:lnTo>
                  <a:lnTo>
                    <a:pt x="2366" y="262"/>
                  </a:lnTo>
                  <a:lnTo>
                    <a:pt x="2370" y="258"/>
                  </a:lnTo>
                  <a:lnTo>
                    <a:pt x="2370" y="256"/>
                  </a:lnTo>
                  <a:lnTo>
                    <a:pt x="2370" y="254"/>
                  </a:lnTo>
                  <a:lnTo>
                    <a:pt x="2364" y="252"/>
                  </a:lnTo>
                  <a:lnTo>
                    <a:pt x="2356" y="250"/>
                  </a:lnTo>
                  <a:lnTo>
                    <a:pt x="2356" y="250"/>
                  </a:lnTo>
                  <a:lnTo>
                    <a:pt x="2348" y="248"/>
                  </a:lnTo>
                  <a:lnTo>
                    <a:pt x="2342" y="246"/>
                  </a:lnTo>
                  <a:lnTo>
                    <a:pt x="2338" y="242"/>
                  </a:lnTo>
                  <a:lnTo>
                    <a:pt x="2336" y="236"/>
                  </a:lnTo>
                  <a:lnTo>
                    <a:pt x="2336" y="236"/>
                  </a:lnTo>
                  <a:lnTo>
                    <a:pt x="2334" y="232"/>
                  </a:lnTo>
                  <a:lnTo>
                    <a:pt x="2332" y="232"/>
                  </a:lnTo>
                  <a:lnTo>
                    <a:pt x="2324" y="230"/>
                  </a:lnTo>
                  <a:lnTo>
                    <a:pt x="2314" y="230"/>
                  </a:lnTo>
                  <a:lnTo>
                    <a:pt x="2304" y="228"/>
                  </a:lnTo>
                  <a:lnTo>
                    <a:pt x="2304" y="228"/>
                  </a:lnTo>
                  <a:lnTo>
                    <a:pt x="2294" y="224"/>
                  </a:lnTo>
                  <a:lnTo>
                    <a:pt x="2282" y="222"/>
                  </a:lnTo>
                  <a:lnTo>
                    <a:pt x="2262" y="224"/>
                  </a:lnTo>
                  <a:lnTo>
                    <a:pt x="2262" y="224"/>
                  </a:lnTo>
                  <a:lnTo>
                    <a:pt x="2260" y="224"/>
                  </a:lnTo>
                  <a:lnTo>
                    <a:pt x="2258" y="228"/>
                  </a:lnTo>
                  <a:lnTo>
                    <a:pt x="2258" y="236"/>
                  </a:lnTo>
                  <a:lnTo>
                    <a:pt x="2260" y="246"/>
                  </a:lnTo>
                  <a:lnTo>
                    <a:pt x="2262" y="248"/>
                  </a:lnTo>
                  <a:lnTo>
                    <a:pt x="2264" y="250"/>
                  </a:lnTo>
                  <a:lnTo>
                    <a:pt x="2264" y="250"/>
                  </a:lnTo>
                  <a:lnTo>
                    <a:pt x="2270" y="252"/>
                  </a:lnTo>
                  <a:lnTo>
                    <a:pt x="2276" y="256"/>
                  </a:lnTo>
                  <a:lnTo>
                    <a:pt x="2276" y="260"/>
                  </a:lnTo>
                  <a:lnTo>
                    <a:pt x="2276" y="262"/>
                  </a:lnTo>
                  <a:lnTo>
                    <a:pt x="2272" y="262"/>
                  </a:lnTo>
                  <a:lnTo>
                    <a:pt x="2272" y="262"/>
                  </a:lnTo>
                  <a:lnTo>
                    <a:pt x="2270" y="264"/>
                  </a:lnTo>
                  <a:lnTo>
                    <a:pt x="2270" y="266"/>
                  </a:lnTo>
                  <a:lnTo>
                    <a:pt x="2270" y="270"/>
                  </a:lnTo>
                  <a:lnTo>
                    <a:pt x="2270" y="274"/>
                  </a:lnTo>
                  <a:lnTo>
                    <a:pt x="2270" y="274"/>
                  </a:lnTo>
                  <a:lnTo>
                    <a:pt x="2268" y="274"/>
                  </a:lnTo>
                  <a:lnTo>
                    <a:pt x="2268" y="274"/>
                  </a:lnTo>
                  <a:lnTo>
                    <a:pt x="2264" y="274"/>
                  </a:lnTo>
                  <a:lnTo>
                    <a:pt x="2258" y="274"/>
                  </a:lnTo>
                  <a:lnTo>
                    <a:pt x="2254" y="278"/>
                  </a:lnTo>
                  <a:lnTo>
                    <a:pt x="2250" y="286"/>
                  </a:lnTo>
                  <a:lnTo>
                    <a:pt x="2250" y="286"/>
                  </a:lnTo>
                  <a:lnTo>
                    <a:pt x="2250" y="296"/>
                  </a:lnTo>
                  <a:lnTo>
                    <a:pt x="2248" y="304"/>
                  </a:lnTo>
                  <a:lnTo>
                    <a:pt x="2244" y="310"/>
                  </a:lnTo>
                  <a:lnTo>
                    <a:pt x="2238" y="314"/>
                  </a:lnTo>
                  <a:lnTo>
                    <a:pt x="2238" y="314"/>
                  </a:lnTo>
                  <a:lnTo>
                    <a:pt x="2234" y="314"/>
                  </a:lnTo>
                  <a:lnTo>
                    <a:pt x="2232" y="314"/>
                  </a:lnTo>
                  <a:lnTo>
                    <a:pt x="2232" y="308"/>
                  </a:lnTo>
                  <a:lnTo>
                    <a:pt x="2230" y="300"/>
                  </a:lnTo>
                  <a:lnTo>
                    <a:pt x="2228" y="298"/>
                  </a:lnTo>
                  <a:lnTo>
                    <a:pt x="2226" y="298"/>
                  </a:lnTo>
                  <a:lnTo>
                    <a:pt x="2226" y="298"/>
                  </a:lnTo>
                  <a:lnTo>
                    <a:pt x="2222" y="298"/>
                  </a:lnTo>
                  <a:lnTo>
                    <a:pt x="2220" y="300"/>
                  </a:lnTo>
                  <a:lnTo>
                    <a:pt x="2218" y="308"/>
                  </a:lnTo>
                  <a:lnTo>
                    <a:pt x="2218" y="314"/>
                  </a:lnTo>
                  <a:lnTo>
                    <a:pt x="2220" y="316"/>
                  </a:lnTo>
                  <a:lnTo>
                    <a:pt x="2222" y="318"/>
                  </a:lnTo>
                  <a:lnTo>
                    <a:pt x="2222" y="318"/>
                  </a:lnTo>
                  <a:lnTo>
                    <a:pt x="2226" y="320"/>
                  </a:lnTo>
                  <a:lnTo>
                    <a:pt x="2228" y="324"/>
                  </a:lnTo>
                  <a:lnTo>
                    <a:pt x="2232" y="336"/>
                  </a:lnTo>
                  <a:lnTo>
                    <a:pt x="2232" y="336"/>
                  </a:lnTo>
                  <a:lnTo>
                    <a:pt x="2232" y="338"/>
                  </a:lnTo>
                  <a:lnTo>
                    <a:pt x="2230" y="340"/>
                  </a:lnTo>
                  <a:lnTo>
                    <a:pt x="2226" y="342"/>
                  </a:lnTo>
                  <a:lnTo>
                    <a:pt x="2218" y="344"/>
                  </a:lnTo>
                  <a:lnTo>
                    <a:pt x="2216" y="346"/>
                  </a:lnTo>
                  <a:lnTo>
                    <a:pt x="2212" y="348"/>
                  </a:lnTo>
                  <a:lnTo>
                    <a:pt x="2212" y="348"/>
                  </a:lnTo>
                  <a:lnTo>
                    <a:pt x="2210" y="352"/>
                  </a:lnTo>
                  <a:lnTo>
                    <a:pt x="2208" y="352"/>
                  </a:lnTo>
                  <a:lnTo>
                    <a:pt x="2206" y="350"/>
                  </a:lnTo>
                  <a:lnTo>
                    <a:pt x="2202" y="342"/>
                  </a:lnTo>
                  <a:lnTo>
                    <a:pt x="2198" y="336"/>
                  </a:lnTo>
                  <a:lnTo>
                    <a:pt x="2198" y="336"/>
                  </a:lnTo>
                  <a:lnTo>
                    <a:pt x="2190" y="330"/>
                  </a:lnTo>
                  <a:lnTo>
                    <a:pt x="2184" y="322"/>
                  </a:lnTo>
                  <a:lnTo>
                    <a:pt x="2180" y="316"/>
                  </a:lnTo>
                  <a:lnTo>
                    <a:pt x="2180" y="308"/>
                  </a:lnTo>
                  <a:lnTo>
                    <a:pt x="2180" y="308"/>
                  </a:lnTo>
                  <a:lnTo>
                    <a:pt x="2180" y="302"/>
                  </a:lnTo>
                  <a:lnTo>
                    <a:pt x="2182" y="300"/>
                  </a:lnTo>
                  <a:lnTo>
                    <a:pt x="2186" y="298"/>
                  </a:lnTo>
                  <a:lnTo>
                    <a:pt x="2190" y="296"/>
                  </a:lnTo>
                  <a:lnTo>
                    <a:pt x="2190" y="296"/>
                  </a:lnTo>
                  <a:lnTo>
                    <a:pt x="2194" y="294"/>
                  </a:lnTo>
                  <a:lnTo>
                    <a:pt x="2194" y="290"/>
                  </a:lnTo>
                  <a:lnTo>
                    <a:pt x="2192" y="286"/>
                  </a:lnTo>
                  <a:lnTo>
                    <a:pt x="2190" y="278"/>
                  </a:lnTo>
                  <a:lnTo>
                    <a:pt x="2190" y="278"/>
                  </a:lnTo>
                  <a:lnTo>
                    <a:pt x="2188" y="272"/>
                  </a:lnTo>
                  <a:lnTo>
                    <a:pt x="2184" y="268"/>
                  </a:lnTo>
                  <a:lnTo>
                    <a:pt x="2178" y="266"/>
                  </a:lnTo>
                  <a:lnTo>
                    <a:pt x="2172" y="260"/>
                  </a:lnTo>
                  <a:lnTo>
                    <a:pt x="2172" y="260"/>
                  </a:lnTo>
                  <a:lnTo>
                    <a:pt x="2164" y="252"/>
                  </a:lnTo>
                  <a:lnTo>
                    <a:pt x="2158" y="250"/>
                  </a:lnTo>
                  <a:lnTo>
                    <a:pt x="2152" y="250"/>
                  </a:lnTo>
                  <a:lnTo>
                    <a:pt x="2146" y="252"/>
                  </a:lnTo>
                  <a:lnTo>
                    <a:pt x="2146" y="252"/>
                  </a:lnTo>
                  <a:lnTo>
                    <a:pt x="2144" y="258"/>
                  </a:lnTo>
                  <a:lnTo>
                    <a:pt x="2142" y="264"/>
                  </a:lnTo>
                  <a:lnTo>
                    <a:pt x="2140" y="268"/>
                  </a:lnTo>
                  <a:lnTo>
                    <a:pt x="2136" y="272"/>
                  </a:lnTo>
                  <a:lnTo>
                    <a:pt x="2136" y="272"/>
                  </a:lnTo>
                  <a:lnTo>
                    <a:pt x="2134" y="274"/>
                  </a:lnTo>
                  <a:lnTo>
                    <a:pt x="2132" y="278"/>
                  </a:lnTo>
                  <a:lnTo>
                    <a:pt x="2130" y="284"/>
                  </a:lnTo>
                  <a:lnTo>
                    <a:pt x="2128" y="290"/>
                  </a:lnTo>
                  <a:lnTo>
                    <a:pt x="2126" y="292"/>
                  </a:lnTo>
                  <a:lnTo>
                    <a:pt x="2124" y="294"/>
                  </a:lnTo>
                  <a:lnTo>
                    <a:pt x="2124" y="294"/>
                  </a:lnTo>
                  <a:lnTo>
                    <a:pt x="2122" y="294"/>
                  </a:lnTo>
                  <a:lnTo>
                    <a:pt x="2120" y="290"/>
                  </a:lnTo>
                  <a:lnTo>
                    <a:pt x="2120" y="280"/>
                  </a:lnTo>
                  <a:lnTo>
                    <a:pt x="2118" y="268"/>
                  </a:lnTo>
                  <a:lnTo>
                    <a:pt x="2118" y="264"/>
                  </a:lnTo>
                  <a:lnTo>
                    <a:pt x="2116" y="262"/>
                  </a:lnTo>
                  <a:lnTo>
                    <a:pt x="2116" y="262"/>
                  </a:lnTo>
                  <a:lnTo>
                    <a:pt x="2112" y="258"/>
                  </a:lnTo>
                  <a:lnTo>
                    <a:pt x="2112" y="256"/>
                  </a:lnTo>
                  <a:lnTo>
                    <a:pt x="2114" y="252"/>
                  </a:lnTo>
                  <a:lnTo>
                    <a:pt x="2118" y="250"/>
                  </a:lnTo>
                  <a:lnTo>
                    <a:pt x="2118" y="250"/>
                  </a:lnTo>
                  <a:lnTo>
                    <a:pt x="2124" y="248"/>
                  </a:lnTo>
                  <a:lnTo>
                    <a:pt x="2128" y="244"/>
                  </a:lnTo>
                  <a:lnTo>
                    <a:pt x="2130" y="240"/>
                  </a:lnTo>
                  <a:lnTo>
                    <a:pt x="2126" y="240"/>
                  </a:lnTo>
                  <a:lnTo>
                    <a:pt x="2126" y="240"/>
                  </a:lnTo>
                  <a:lnTo>
                    <a:pt x="2118" y="238"/>
                  </a:lnTo>
                  <a:lnTo>
                    <a:pt x="2110" y="234"/>
                  </a:lnTo>
                  <a:lnTo>
                    <a:pt x="2098" y="228"/>
                  </a:lnTo>
                  <a:lnTo>
                    <a:pt x="2098" y="228"/>
                  </a:lnTo>
                  <a:lnTo>
                    <a:pt x="2094" y="228"/>
                  </a:lnTo>
                  <a:lnTo>
                    <a:pt x="2088" y="232"/>
                  </a:lnTo>
                  <a:lnTo>
                    <a:pt x="2082" y="234"/>
                  </a:lnTo>
                  <a:lnTo>
                    <a:pt x="2080" y="234"/>
                  </a:lnTo>
                  <a:lnTo>
                    <a:pt x="2078" y="234"/>
                  </a:lnTo>
                  <a:lnTo>
                    <a:pt x="2078" y="234"/>
                  </a:lnTo>
                  <a:lnTo>
                    <a:pt x="2076" y="228"/>
                  </a:lnTo>
                  <a:lnTo>
                    <a:pt x="2076" y="222"/>
                  </a:lnTo>
                  <a:lnTo>
                    <a:pt x="2078" y="210"/>
                  </a:lnTo>
                  <a:lnTo>
                    <a:pt x="2078" y="210"/>
                  </a:lnTo>
                  <a:lnTo>
                    <a:pt x="2080" y="208"/>
                  </a:lnTo>
                  <a:lnTo>
                    <a:pt x="2080" y="208"/>
                  </a:lnTo>
                  <a:lnTo>
                    <a:pt x="2084" y="208"/>
                  </a:lnTo>
                  <a:lnTo>
                    <a:pt x="2090" y="208"/>
                  </a:lnTo>
                  <a:lnTo>
                    <a:pt x="2092" y="208"/>
                  </a:lnTo>
                  <a:lnTo>
                    <a:pt x="2094" y="204"/>
                  </a:lnTo>
                  <a:lnTo>
                    <a:pt x="2094" y="204"/>
                  </a:lnTo>
                  <a:lnTo>
                    <a:pt x="2096" y="202"/>
                  </a:lnTo>
                  <a:lnTo>
                    <a:pt x="2094" y="200"/>
                  </a:lnTo>
                  <a:lnTo>
                    <a:pt x="2088" y="196"/>
                  </a:lnTo>
                  <a:lnTo>
                    <a:pt x="2082" y="192"/>
                  </a:lnTo>
                  <a:lnTo>
                    <a:pt x="2078" y="190"/>
                  </a:lnTo>
                  <a:lnTo>
                    <a:pt x="2078" y="188"/>
                  </a:lnTo>
                  <a:lnTo>
                    <a:pt x="2078" y="188"/>
                  </a:lnTo>
                  <a:lnTo>
                    <a:pt x="2076" y="184"/>
                  </a:lnTo>
                  <a:lnTo>
                    <a:pt x="2074" y="182"/>
                  </a:lnTo>
                  <a:lnTo>
                    <a:pt x="2068" y="178"/>
                  </a:lnTo>
                  <a:lnTo>
                    <a:pt x="2054" y="172"/>
                  </a:lnTo>
                  <a:lnTo>
                    <a:pt x="2054" y="172"/>
                  </a:lnTo>
                  <a:lnTo>
                    <a:pt x="2052" y="170"/>
                  </a:lnTo>
                  <a:lnTo>
                    <a:pt x="2052" y="168"/>
                  </a:lnTo>
                  <a:lnTo>
                    <a:pt x="2054" y="162"/>
                  </a:lnTo>
                  <a:lnTo>
                    <a:pt x="2054" y="154"/>
                  </a:lnTo>
                  <a:lnTo>
                    <a:pt x="2054" y="148"/>
                  </a:lnTo>
                  <a:lnTo>
                    <a:pt x="2054" y="148"/>
                  </a:lnTo>
                  <a:lnTo>
                    <a:pt x="2050" y="142"/>
                  </a:lnTo>
                  <a:lnTo>
                    <a:pt x="2040" y="134"/>
                  </a:lnTo>
                  <a:lnTo>
                    <a:pt x="2028" y="126"/>
                  </a:lnTo>
                  <a:lnTo>
                    <a:pt x="2024" y="124"/>
                  </a:lnTo>
                  <a:lnTo>
                    <a:pt x="2020" y="124"/>
                  </a:lnTo>
                  <a:lnTo>
                    <a:pt x="2020" y="124"/>
                  </a:lnTo>
                  <a:lnTo>
                    <a:pt x="2016" y="124"/>
                  </a:lnTo>
                  <a:lnTo>
                    <a:pt x="2014" y="124"/>
                  </a:lnTo>
                  <a:lnTo>
                    <a:pt x="2010" y="118"/>
                  </a:lnTo>
                  <a:lnTo>
                    <a:pt x="2010" y="114"/>
                  </a:lnTo>
                  <a:lnTo>
                    <a:pt x="2012" y="112"/>
                  </a:lnTo>
                  <a:lnTo>
                    <a:pt x="2014" y="112"/>
                  </a:lnTo>
                  <a:lnTo>
                    <a:pt x="2014" y="112"/>
                  </a:lnTo>
                  <a:lnTo>
                    <a:pt x="2018" y="112"/>
                  </a:lnTo>
                  <a:lnTo>
                    <a:pt x="2022" y="110"/>
                  </a:lnTo>
                  <a:lnTo>
                    <a:pt x="2032" y="98"/>
                  </a:lnTo>
                  <a:lnTo>
                    <a:pt x="2032" y="98"/>
                  </a:lnTo>
                  <a:lnTo>
                    <a:pt x="2040" y="90"/>
                  </a:lnTo>
                  <a:lnTo>
                    <a:pt x="2042" y="86"/>
                  </a:lnTo>
                  <a:lnTo>
                    <a:pt x="2042" y="82"/>
                  </a:lnTo>
                  <a:lnTo>
                    <a:pt x="2038" y="80"/>
                  </a:lnTo>
                  <a:lnTo>
                    <a:pt x="2038" y="80"/>
                  </a:lnTo>
                  <a:lnTo>
                    <a:pt x="2032" y="78"/>
                  </a:lnTo>
                  <a:lnTo>
                    <a:pt x="2030" y="74"/>
                  </a:lnTo>
                  <a:lnTo>
                    <a:pt x="2032" y="72"/>
                  </a:lnTo>
                  <a:lnTo>
                    <a:pt x="2040" y="72"/>
                  </a:lnTo>
                  <a:lnTo>
                    <a:pt x="2040" y="72"/>
                  </a:lnTo>
                  <a:lnTo>
                    <a:pt x="2050" y="72"/>
                  </a:lnTo>
                  <a:lnTo>
                    <a:pt x="2062" y="76"/>
                  </a:lnTo>
                  <a:lnTo>
                    <a:pt x="2074" y="76"/>
                  </a:lnTo>
                  <a:lnTo>
                    <a:pt x="2078" y="76"/>
                  </a:lnTo>
                  <a:lnTo>
                    <a:pt x="2082" y="74"/>
                  </a:lnTo>
                  <a:lnTo>
                    <a:pt x="2082" y="74"/>
                  </a:lnTo>
                  <a:lnTo>
                    <a:pt x="2090" y="66"/>
                  </a:lnTo>
                  <a:lnTo>
                    <a:pt x="2100" y="50"/>
                  </a:lnTo>
                  <a:lnTo>
                    <a:pt x="2120" y="20"/>
                  </a:lnTo>
                  <a:lnTo>
                    <a:pt x="2120" y="20"/>
                  </a:lnTo>
                  <a:lnTo>
                    <a:pt x="2122" y="16"/>
                  </a:lnTo>
                  <a:lnTo>
                    <a:pt x="2124" y="14"/>
                  </a:lnTo>
                  <a:lnTo>
                    <a:pt x="2122" y="12"/>
                  </a:lnTo>
                  <a:lnTo>
                    <a:pt x="2118" y="10"/>
                  </a:lnTo>
                  <a:lnTo>
                    <a:pt x="2108" y="8"/>
                  </a:lnTo>
                  <a:lnTo>
                    <a:pt x="2092" y="8"/>
                  </a:lnTo>
                  <a:lnTo>
                    <a:pt x="2092" y="8"/>
                  </a:lnTo>
                  <a:lnTo>
                    <a:pt x="2078" y="8"/>
                  </a:lnTo>
                  <a:lnTo>
                    <a:pt x="2068" y="6"/>
                  </a:lnTo>
                  <a:lnTo>
                    <a:pt x="2060" y="2"/>
                  </a:lnTo>
                  <a:lnTo>
                    <a:pt x="2048" y="0"/>
                  </a:lnTo>
                  <a:lnTo>
                    <a:pt x="2048" y="0"/>
                  </a:lnTo>
                  <a:lnTo>
                    <a:pt x="2032" y="0"/>
                  </a:lnTo>
                  <a:lnTo>
                    <a:pt x="2014" y="2"/>
                  </a:lnTo>
                  <a:lnTo>
                    <a:pt x="2000" y="4"/>
                  </a:lnTo>
                  <a:lnTo>
                    <a:pt x="1990" y="8"/>
                  </a:lnTo>
                  <a:lnTo>
                    <a:pt x="1990" y="8"/>
                  </a:lnTo>
                  <a:lnTo>
                    <a:pt x="1990" y="10"/>
                  </a:lnTo>
                  <a:lnTo>
                    <a:pt x="1990" y="12"/>
                  </a:lnTo>
                  <a:lnTo>
                    <a:pt x="1994" y="16"/>
                  </a:lnTo>
                  <a:lnTo>
                    <a:pt x="1996" y="20"/>
                  </a:lnTo>
                  <a:lnTo>
                    <a:pt x="1998" y="24"/>
                  </a:lnTo>
                  <a:lnTo>
                    <a:pt x="1998" y="24"/>
                  </a:lnTo>
                  <a:lnTo>
                    <a:pt x="1996" y="26"/>
                  </a:lnTo>
                  <a:lnTo>
                    <a:pt x="1996" y="26"/>
                  </a:lnTo>
                  <a:lnTo>
                    <a:pt x="1990" y="24"/>
                  </a:lnTo>
                  <a:lnTo>
                    <a:pt x="1984" y="22"/>
                  </a:lnTo>
                  <a:lnTo>
                    <a:pt x="1980" y="22"/>
                  </a:lnTo>
                  <a:lnTo>
                    <a:pt x="1980" y="22"/>
                  </a:lnTo>
                  <a:lnTo>
                    <a:pt x="1978" y="26"/>
                  </a:lnTo>
                  <a:lnTo>
                    <a:pt x="1980" y="32"/>
                  </a:lnTo>
                  <a:lnTo>
                    <a:pt x="1980" y="40"/>
                  </a:lnTo>
                  <a:lnTo>
                    <a:pt x="1980" y="54"/>
                  </a:lnTo>
                  <a:lnTo>
                    <a:pt x="1980" y="54"/>
                  </a:lnTo>
                  <a:lnTo>
                    <a:pt x="1980" y="66"/>
                  </a:lnTo>
                  <a:lnTo>
                    <a:pt x="1982" y="74"/>
                  </a:lnTo>
                  <a:lnTo>
                    <a:pt x="1986" y="80"/>
                  </a:lnTo>
                  <a:lnTo>
                    <a:pt x="1990" y="84"/>
                  </a:lnTo>
                  <a:lnTo>
                    <a:pt x="1990" y="84"/>
                  </a:lnTo>
                  <a:lnTo>
                    <a:pt x="1994" y="90"/>
                  </a:lnTo>
                  <a:lnTo>
                    <a:pt x="1996" y="98"/>
                  </a:lnTo>
                  <a:lnTo>
                    <a:pt x="1996" y="116"/>
                  </a:lnTo>
                  <a:lnTo>
                    <a:pt x="1996" y="116"/>
                  </a:lnTo>
                  <a:lnTo>
                    <a:pt x="1994" y="120"/>
                  </a:lnTo>
                  <a:lnTo>
                    <a:pt x="1994" y="124"/>
                  </a:lnTo>
                  <a:lnTo>
                    <a:pt x="1988" y="128"/>
                  </a:lnTo>
                  <a:lnTo>
                    <a:pt x="1978" y="132"/>
                  </a:lnTo>
                  <a:lnTo>
                    <a:pt x="1978" y="132"/>
                  </a:lnTo>
                  <a:lnTo>
                    <a:pt x="1978" y="132"/>
                  </a:lnTo>
                  <a:lnTo>
                    <a:pt x="1978" y="134"/>
                  </a:lnTo>
                  <a:lnTo>
                    <a:pt x="1982" y="138"/>
                  </a:lnTo>
                  <a:lnTo>
                    <a:pt x="1986" y="142"/>
                  </a:lnTo>
                  <a:lnTo>
                    <a:pt x="1988" y="144"/>
                  </a:lnTo>
                  <a:lnTo>
                    <a:pt x="1988" y="148"/>
                  </a:lnTo>
                  <a:lnTo>
                    <a:pt x="1988" y="148"/>
                  </a:lnTo>
                  <a:lnTo>
                    <a:pt x="1986" y="150"/>
                  </a:lnTo>
                  <a:lnTo>
                    <a:pt x="1984" y="150"/>
                  </a:lnTo>
                  <a:lnTo>
                    <a:pt x="1978" y="148"/>
                  </a:lnTo>
                  <a:lnTo>
                    <a:pt x="1970" y="146"/>
                  </a:lnTo>
                  <a:lnTo>
                    <a:pt x="1964" y="146"/>
                  </a:lnTo>
                  <a:lnTo>
                    <a:pt x="1964" y="146"/>
                  </a:lnTo>
                  <a:lnTo>
                    <a:pt x="1962" y="148"/>
                  </a:lnTo>
                  <a:lnTo>
                    <a:pt x="1960" y="150"/>
                  </a:lnTo>
                  <a:lnTo>
                    <a:pt x="1956" y="158"/>
                  </a:lnTo>
                  <a:lnTo>
                    <a:pt x="1956" y="168"/>
                  </a:lnTo>
                  <a:lnTo>
                    <a:pt x="1956" y="172"/>
                  </a:lnTo>
                  <a:lnTo>
                    <a:pt x="1960" y="176"/>
                  </a:lnTo>
                  <a:lnTo>
                    <a:pt x="1960" y="176"/>
                  </a:lnTo>
                  <a:lnTo>
                    <a:pt x="1966" y="182"/>
                  </a:lnTo>
                  <a:lnTo>
                    <a:pt x="1966" y="184"/>
                  </a:lnTo>
                  <a:lnTo>
                    <a:pt x="1964" y="188"/>
                  </a:lnTo>
                  <a:lnTo>
                    <a:pt x="1964" y="188"/>
                  </a:lnTo>
                  <a:lnTo>
                    <a:pt x="1960" y="194"/>
                  </a:lnTo>
                  <a:lnTo>
                    <a:pt x="1958" y="202"/>
                  </a:lnTo>
                  <a:lnTo>
                    <a:pt x="1958" y="206"/>
                  </a:lnTo>
                  <a:lnTo>
                    <a:pt x="1958" y="210"/>
                  </a:lnTo>
                  <a:lnTo>
                    <a:pt x="1962" y="214"/>
                  </a:lnTo>
                  <a:lnTo>
                    <a:pt x="1966" y="220"/>
                  </a:lnTo>
                  <a:lnTo>
                    <a:pt x="1966" y="220"/>
                  </a:lnTo>
                  <a:lnTo>
                    <a:pt x="1972" y="222"/>
                  </a:lnTo>
                  <a:lnTo>
                    <a:pt x="1978" y="226"/>
                  </a:lnTo>
                  <a:lnTo>
                    <a:pt x="1994" y="230"/>
                  </a:lnTo>
                  <a:lnTo>
                    <a:pt x="2008" y="234"/>
                  </a:lnTo>
                  <a:lnTo>
                    <a:pt x="2020" y="238"/>
                  </a:lnTo>
                  <a:lnTo>
                    <a:pt x="2020" y="238"/>
                  </a:lnTo>
                  <a:lnTo>
                    <a:pt x="2026" y="244"/>
                  </a:lnTo>
                  <a:lnTo>
                    <a:pt x="2024" y="244"/>
                  </a:lnTo>
                  <a:lnTo>
                    <a:pt x="2020" y="248"/>
                  </a:lnTo>
                  <a:lnTo>
                    <a:pt x="2020" y="250"/>
                  </a:lnTo>
                  <a:lnTo>
                    <a:pt x="2020" y="252"/>
                  </a:lnTo>
                  <a:lnTo>
                    <a:pt x="2020" y="252"/>
                  </a:lnTo>
                  <a:lnTo>
                    <a:pt x="2022" y="256"/>
                  </a:lnTo>
                  <a:lnTo>
                    <a:pt x="2022" y="260"/>
                  </a:lnTo>
                  <a:lnTo>
                    <a:pt x="2018" y="264"/>
                  </a:lnTo>
                  <a:lnTo>
                    <a:pt x="2014" y="268"/>
                  </a:lnTo>
                  <a:lnTo>
                    <a:pt x="2012" y="274"/>
                  </a:lnTo>
                  <a:lnTo>
                    <a:pt x="2012" y="274"/>
                  </a:lnTo>
                  <a:lnTo>
                    <a:pt x="2014" y="278"/>
                  </a:lnTo>
                  <a:lnTo>
                    <a:pt x="2016" y="278"/>
                  </a:lnTo>
                  <a:lnTo>
                    <a:pt x="2020" y="272"/>
                  </a:lnTo>
                  <a:lnTo>
                    <a:pt x="2026" y="264"/>
                  </a:lnTo>
                  <a:lnTo>
                    <a:pt x="2026" y="264"/>
                  </a:lnTo>
                  <a:lnTo>
                    <a:pt x="2028" y="260"/>
                  </a:lnTo>
                  <a:lnTo>
                    <a:pt x="2030" y="260"/>
                  </a:lnTo>
                  <a:lnTo>
                    <a:pt x="2032" y="260"/>
                  </a:lnTo>
                  <a:lnTo>
                    <a:pt x="2034" y="262"/>
                  </a:lnTo>
                  <a:lnTo>
                    <a:pt x="2036" y="270"/>
                  </a:lnTo>
                  <a:lnTo>
                    <a:pt x="2038" y="280"/>
                  </a:lnTo>
                  <a:lnTo>
                    <a:pt x="2038" y="280"/>
                  </a:lnTo>
                  <a:lnTo>
                    <a:pt x="2036" y="284"/>
                  </a:lnTo>
                  <a:lnTo>
                    <a:pt x="2036" y="286"/>
                  </a:lnTo>
                  <a:lnTo>
                    <a:pt x="2030" y="288"/>
                  </a:lnTo>
                  <a:lnTo>
                    <a:pt x="2024" y="290"/>
                  </a:lnTo>
                  <a:lnTo>
                    <a:pt x="2018" y="296"/>
                  </a:lnTo>
                  <a:lnTo>
                    <a:pt x="2018" y="296"/>
                  </a:lnTo>
                  <a:lnTo>
                    <a:pt x="2012" y="302"/>
                  </a:lnTo>
                  <a:lnTo>
                    <a:pt x="2006" y="306"/>
                  </a:lnTo>
                  <a:lnTo>
                    <a:pt x="2000" y="308"/>
                  </a:lnTo>
                  <a:lnTo>
                    <a:pt x="1992" y="306"/>
                  </a:lnTo>
                  <a:lnTo>
                    <a:pt x="1992" y="306"/>
                  </a:lnTo>
                  <a:lnTo>
                    <a:pt x="1988" y="306"/>
                  </a:lnTo>
                  <a:lnTo>
                    <a:pt x="1986" y="308"/>
                  </a:lnTo>
                  <a:lnTo>
                    <a:pt x="1986" y="316"/>
                  </a:lnTo>
                  <a:lnTo>
                    <a:pt x="1988" y="324"/>
                  </a:lnTo>
                  <a:lnTo>
                    <a:pt x="1992" y="334"/>
                  </a:lnTo>
                  <a:lnTo>
                    <a:pt x="1992" y="334"/>
                  </a:lnTo>
                  <a:lnTo>
                    <a:pt x="1994" y="340"/>
                  </a:lnTo>
                  <a:lnTo>
                    <a:pt x="1992" y="344"/>
                  </a:lnTo>
                  <a:lnTo>
                    <a:pt x="1986" y="346"/>
                  </a:lnTo>
                  <a:lnTo>
                    <a:pt x="1978" y="344"/>
                  </a:lnTo>
                  <a:lnTo>
                    <a:pt x="1978" y="344"/>
                  </a:lnTo>
                  <a:lnTo>
                    <a:pt x="1968" y="340"/>
                  </a:lnTo>
                  <a:lnTo>
                    <a:pt x="1962" y="334"/>
                  </a:lnTo>
                  <a:lnTo>
                    <a:pt x="1960" y="328"/>
                  </a:lnTo>
                  <a:lnTo>
                    <a:pt x="1962" y="322"/>
                  </a:lnTo>
                  <a:lnTo>
                    <a:pt x="1962" y="322"/>
                  </a:lnTo>
                  <a:lnTo>
                    <a:pt x="1968" y="314"/>
                  </a:lnTo>
                  <a:lnTo>
                    <a:pt x="1970" y="306"/>
                  </a:lnTo>
                  <a:lnTo>
                    <a:pt x="1970" y="302"/>
                  </a:lnTo>
                  <a:lnTo>
                    <a:pt x="1968" y="300"/>
                  </a:lnTo>
                  <a:lnTo>
                    <a:pt x="1966" y="300"/>
                  </a:lnTo>
                  <a:lnTo>
                    <a:pt x="1966" y="300"/>
                  </a:lnTo>
                  <a:lnTo>
                    <a:pt x="1960" y="300"/>
                  </a:lnTo>
                  <a:lnTo>
                    <a:pt x="1950" y="300"/>
                  </a:lnTo>
                  <a:lnTo>
                    <a:pt x="1942" y="296"/>
                  </a:lnTo>
                  <a:lnTo>
                    <a:pt x="1936" y="292"/>
                  </a:lnTo>
                  <a:lnTo>
                    <a:pt x="1936" y="292"/>
                  </a:lnTo>
                  <a:lnTo>
                    <a:pt x="1934" y="286"/>
                  </a:lnTo>
                  <a:lnTo>
                    <a:pt x="1936" y="286"/>
                  </a:lnTo>
                  <a:lnTo>
                    <a:pt x="1956" y="288"/>
                  </a:lnTo>
                  <a:lnTo>
                    <a:pt x="1956" y="288"/>
                  </a:lnTo>
                  <a:lnTo>
                    <a:pt x="1960" y="288"/>
                  </a:lnTo>
                  <a:lnTo>
                    <a:pt x="1962" y="288"/>
                  </a:lnTo>
                  <a:lnTo>
                    <a:pt x="1964" y="284"/>
                  </a:lnTo>
                  <a:lnTo>
                    <a:pt x="1964" y="280"/>
                  </a:lnTo>
                  <a:lnTo>
                    <a:pt x="1966" y="278"/>
                  </a:lnTo>
                  <a:lnTo>
                    <a:pt x="1970" y="278"/>
                  </a:lnTo>
                  <a:lnTo>
                    <a:pt x="1970" y="278"/>
                  </a:lnTo>
                  <a:lnTo>
                    <a:pt x="1978" y="278"/>
                  </a:lnTo>
                  <a:lnTo>
                    <a:pt x="1986" y="280"/>
                  </a:lnTo>
                  <a:lnTo>
                    <a:pt x="1994" y="278"/>
                  </a:lnTo>
                  <a:lnTo>
                    <a:pt x="2000" y="274"/>
                  </a:lnTo>
                  <a:lnTo>
                    <a:pt x="2000" y="274"/>
                  </a:lnTo>
                  <a:lnTo>
                    <a:pt x="2004" y="272"/>
                  </a:lnTo>
                  <a:lnTo>
                    <a:pt x="2004" y="266"/>
                  </a:lnTo>
                  <a:lnTo>
                    <a:pt x="2002" y="262"/>
                  </a:lnTo>
                  <a:lnTo>
                    <a:pt x="2000" y="258"/>
                  </a:lnTo>
                  <a:lnTo>
                    <a:pt x="1994" y="252"/>
                  </a:lnTo>
                  <a:lnTo>
                    <a:pt x="1990" y="250"/>
                  </a:lnTo>
                  <a:lnTo>
                    <a:pt x="1986" y="252"/>
                  </a:lnTo>
                  <a:lnTo>
                    <a:pt x="1986" y="252"/>
                  </a:lnTo>
                  <a:lnTo>
                    <a:pt x="1978" y="254"/>
                  </a:lnTo>
                  <a:lnTo>
                    <a:pt x="1972" y="254"/>
                  </a:lnTo>
                  <a:lnTo>
                    <a:pt x="1966" y="254"/>
                  </a:lnTo>
                  <a:lnTo>
                    <a:pt x="1964" y="252"/>
                  </a:lnTo>
                  <a:lnTo>
                    <a:pt x="1964" y="250"/>
                  </a:lnTo>
                  <a:lnTo>
                    <a:pt x="1964" y="250"/>
                  </a:lnTo>
                  <a:lnTo>
                    <a:pt x="1964" y="246"/>
                  </a:lnTo>
                  <a:lnTo>
                    <a:pt x="1966" y="246"/>
                  </a:lnTo>
                  <a:lnTo>
                    <a:pt x="1972" y="244"/>
                  </a:lnTo>
                  <a:lnTo>
                    <a:pt x="1980" y="246"/>
                  </a:lnTo>
                  <a:lnTo>
                    <a:pt x="1986" y="246"/>
                  </a:lnTo>
                  <a:lnTo>
                    <a:pt x="1986" y="246"/>
                  </a:lnTo>
                  <a:lnTo>
                    <a:pt x="1988" y="244"/>
                  </a:lnTo>
                  <a:lnTo>
                    <a:pt x="1988" y="242"/>
                  </a:lnTo>
                  <a:lnTo>
                    <a:pt x="1986" y="238"/>
                  </a:lnTo>
                  <a:lnTo>
                    <a:pt x="1978" y="236"/>
                  </a:lnTo>
                  <a:lnTo>
                    <a:pt x="1970" y="236"/>
                  </a:lnTo>
                  <a:lnTo>
                    <a:pt x="1970" y="236"/>
                  </a:lnTo>
                  <a:lnTo>
                    <a:pt x="1962" y="238"/>
                  </a:lnTo>
                  <a:lnTo>
                    <a:pt x="1954" y="238"/>
                  </a:lnTo>
                  <a:lnTo>
                    <a:pt x="1948" y="234"/>
                  </a:lnTo>
                  <a:lnTo>
                    <a:pt x="1940" y="228"/>
                  </a:lnTo>
                  <a:lnTo>
                    <a:pt x="1940" y="228"/>
                  </a:lnTo>
                  <a:lnTo>
                    <a:pt x="1932" y="222"/>
                  </a:lnTo>
                  <a:lnTo>
                    <a:pt x="1926" y="220"/>
                  </a:lnTo>
                  <a:lnTo>
                    <a:pt x="1922" y="220"/>
                  </a:lnTo>
                  <a:lnTo>
                    <a:pt x="1918" y="220"/>
                  </a:lnTo>
                  <a:lnTo>
                    <a:pt x="1914" y="224"/>
                  </a:lnTo>
                  <a:lnTo>
                    <a:pt x="1910" y="228"/>
                  </a:lnTo>
                  <a:lnTo>
                    <a:pt x="1908" y="236"/>
                  </a:lnTo>
                  <a:lnTo>
                    <a:pt x="1908" y="236"/>
                  </a:lnTo>
                  <a:lnTo>
                    <a:pt x="1906" y="244"/>
                  </a:lnTo>
                  <a:lnTo>
                    <a:pt x="1904" y="248"/>
                  </a:lnTo>
                  <a:lnTo>
                    <a:pt x="1900" y="250"/>
                  </a:lnTo>
                  <a:lnTo>
                    <a:pt x="1896" y="252"/>
                  </a:lnTo>
                  <a:lnTo>
                    <a:pt x="1888" y="252"/>
                  </a:lnTo>
                  <a:lnTo>
                    <a:pt x="1884" y="252"/>
                  </a:lnTo>
                  <a:lnTo>
                    <a:pt x="1880" y="254"/>
                  </a:lnTo>
                  <a:lnTo>
                    <a:pt x="1880" y="254"/>
                  </a:lnTo>
                  <a:lnTo>
                    <a:pt x="1880" y="258"/>
                  </a:lnTo>
                  <a:lnTo>
                    <a:pt x="1880" y="260"/>
                  </a:lnTo>
                  <a:lnTo>
                    <a:pt x="1884" y="264"/>
                  </a:lnTo>
                  <a:lnTo>
                    <a:pt x="1894" y="268"/>
                  </a:lnTo>
                  <a:lnTo>
                    <a:pt x="1904" y="268"/>
                  </a:lnTo>
                  <a:lnTo>
                    <a:pt x="1904" y="268"/>
                  </a:lnTo>
                  <a:lnTo>
                    <a:pt x="1910" y="270"/>
                  </a:lnTo>
                  <a:lnTo>
                    <a:pt x="1916" y="272"/>
                  </a:lnTo>
                  <a:lnTo>
                    <a:pt x="1924" y="276"/>
                  </a:lnTo>
                  <a:lnTo>
                    <a:pt x="1928" y="282"/>
                  </a:lnTo>
                  <a:lnTo>
                    <a:pt x="1928" y="284"/>
                  </a:lnTo>
                  <a:lnTo>
                    <a:pt x="1926" y="284"/>
                  </a:lnTo>
                  <a:lnTo>
                    <a:pt x="1926" y="284"/>
                  </a:lnTo>
                  <a:lnTo>
                    <a:pt x="1922" y="286"/>
                  </a:lnTo>
                  <a:lnTo>
                    <a:pt x="1920" y="290"/>
                  </a:lnTo>
                  <a:lnTo>
                    <a:pt x="1918" y="292"/>
                  </a:lnTo>
                  <a:lnTo>
                    <a:pt x="1912" y="292"/>
                  </a:lnTo>
                  <a:lnTo>
                    <a:pt x="1912" y="292"/>
                  </a:lnTo>
                  <a:lnTo>
                    <a:pt x="1906" y="290"/>
                  </a:lnTo>
                  <a:lnTo>
                    <a:pt x="1902" y="290"/>
                  </a:lnTo>
                  <a:lnTo>
                    <a:pt x="1900" y="294"/>
                  </a:lnTo>
                  <a:lnTo>
                    <a:pt x="1902" y="298"/>
                  </a:lnTo>
                  <a:lnTo>
                    <a:pt x="1902" y="298"/>
                  </a:lnTo>
                  <a:lnTo>
                    <a:pt x="1904" y="304"/>
                  </a:lnTo>
                  <a:lnTo>
                    <a:pt x="1902" y="308"/>
                  </a:lnTo>
                  <a:lnTo>
                    <a:pt x="1900" y="312"/>
                  </a:lnTo>
                  <a:lnTo>
                    <a:pt x="1900" y="316"/>
                  </a:lnTo>
                  <a:lnTo>
                    <a:pt x="1900" y="316"/>
                  </a:lnTo>
                  <a:lnTo>
                    <a:pt x="1900" y="318"/>
                  </a:lnTo>
                  <a:lnTo>
                    <a:pt x="1898" y="320"/>
                  </a:lnTo>
                  <a:lnTo>
                    <a:pt x="1892" y="320"/>
                  </a:lnTo>
                  <a:lnTo>
                    <a:pt x="1874" y="316"/>
                  </a:lnTo>
                  <a:lnTo>
                    <a:pt x="1874" y="316"/>
                  </a:lnTo>
                  <a:lnTo>
                    <a:pt x="1864" y="316"/>
                  </a:lnTo>
                  <a:lnTo>
                    <a:pt x="1850" y="318"/>
                  </a:lnTo>
                  <a:lnTo>
                    <a:pt x="1822" y="322"/>
                  </a:lnTo>
                  <a:lnTo>
                    <a:pt x="1822" y="322"/>
                  </a:lnTo>
                  <a:lnTo>
                    <a:pt x="1808" y="324"/>
                  </a:lnTo>
                  <a:lnTo>
                    <a:pt x="1796" y="322"/>
                  </a:lnTo>
                  <a:lnTo>
                    <a:pt x="1786" y="318"/>
                  </a:lnTo>
                  <a:lnTo>
                    <a:pt x="1778" y="312"/>
                  </a:lnTo>
                  <a:lnTo>
                    <a:pt x="1778" y="312"/>
                  </a:lnTo>
                  <a:lnTo>
                    <a:pt x="1772" y="308"/>
                  </a:lnTo>
                  <a:lnTo>
                    <a:pt x="1766" y="306"/>
                  </a:lnTo>
                  <a:lnTo>
                    <a:pt x="1750" y="306"/>
                  </a:lnTo>
                  <a:lnTo>
                    <a:pt x="1750" y="306"/>
                  </a:lnTo>
                  <a:lnTo>
                    <a:pt x="1742" y="304"/>
                  </a:lnTo>
                  <a:lnTo>
                    <a:pt x="1738" y="300"/>
                  </a:lnTo>
                  <a:lnTo>
                    <a:pt x="1734" y="296"/>
                  </a:lnTo>
                  <a:lnTo>
                    <a:pt x="1726" y="294"/>
                  </a:lnTo>
                  <a:lnTo>
                    <a:pt x="1726" y="294"/>
                  </a:lnTo>
                  <a:lnTo>
                    <a:pt x="1720" y="292"/>
                  </a:lnTo>
                  <a:lnTo>
                    <a:pt x="1716" y="290"/>
                  </a:lnTo>
                  <a:lnTo>
                    <a:pt x="1714" y="288"/>
                  </a:lnTo>
                  <a:lnTo>
                    <a:pt x="1714" y="286"/>
                  </a:lnTo>
                  <a:lnTo>
                    <a:pt x="1712" y="272"/>
                  </a:lnTo>
                  <a:lnTo>
                    <a:pt x="1712" y="272"/>
                  </a:lnTo>
                  <a:lnTo>
                    <a:pt x="1710" y="270"/>
                  </a:lnTo>
                  <a:lnTo>
                    <a:pt x="1706" y="268"/>
                  </a:lnTo>
                  <a:lnTo>
                    <a:pt x="1692" y="266"/>
                  </a:lnTo>
                  <a:lnTo>
                    <a:pt x="1678" y="270"/>
                  </a:lnTo>
                  <a:lnTo>
                    <a:pt x="1666" y="274"/>
                  </a:lnTo>
                  <a:lnTo>
                    <a:pt x="1666" y="274"/>
                  </a:lnTo>
                  <a:lnTo>
                    <a:pt x="1656" y="278"/>
                  </a:lnTo>
                  <a:lnTo>
                    <a:pt x="1644" y="280"/>
                  </a:lnTo>
                  <a:lnTo>
                    <a:pt x="1634" y="284"/>
                  </a:lnTo>
                  <a:lnTo>
                    <a:pt x="1630" y="286"/>
                  </a:lnTo>
                  <a:lnTo>
                    <a:pt x="1626" y="292"/>
                  </a:lnTo>
                  <a:lnTo>
                    <a:pt x="1626" y="292"/>
                  </a:lnTo>
                  <a:lnTo>
                    <a:pt x="1626" y="298"/>
                  </a:lnTo>
                  <a:lnTo>
                    <a:pt x="1626" y="300"/>
                  </a:lnTo>
                  <a:lnTo>
                    <a:pt x="1628" y="302"/>
                  </a:lnTo>
                  <a:lnTo>
                    <a:pt x="1634" y="302"/>
                  </a:lnTo>
                  <a:lnTo>
                    <a:pt x="1638" y="302"/>
                  </a:lnTo>
                  <a:lnTo>
                    <a:pt x="1638" y="302"/>
                  </a:lnTo>
                  <a:lnTo>
                    <a:pt x="1644" y="300"/>
                  </a:lnTo>
                  <a:lnTo>
                    <a:pt x="1648" y="298"/>
                  </a:lnTo>
                  <a:lnTo>
                    <a:pt x="1654" y="294"/>
                  </a:lnTo>
                  <a:lnTo>
                    <a:pt x="1664" y="294"/>
                  </a:lnTo>
                  <a:lnTo>
                    <a:pt x="1664" y="294"/>
                  </a:lnTo>
                  <a:lnTo>
                    <a:pt x="1670" y="294"/>
                  </a:lnTo>
                  <a:lnTo>
                    <a:pt x="1676" y="292"/>
                  </a:lnTo>
                  <a:lnTo>
                    <a:pt x="1686" y="288"/>
                  </a:lnTo>
                  <a:lnTo>
                    <a:pt x="1694" y="282"/>
                  </a:lnTo>
                  <a:lnTo>
                    <a:pt x="1698" y="282"/>
                  </a:lnTo>
                  <a:lnTo>
                    <a:pt x="1700" y="284"/>
                  </a:lnTo>
                  <a:lnTo>
                    <a:pt x="1700" y="284"/>
                  </a:lnTo>
                  <a:lnTo>
                    <a:pt x="1702" y="286"/>
                  </a:lnTo>
                  <a:lnTo>
                    <a:pt x="1698" y="290"/>
                  </a:lnTo>
                  <a:lnTo>
                    <a:pt x="1686" y="298"/>
                  </a:lnTo>
                  <a:lnTo>
                    <a:pt x="1670" y="304"/>
                  </a:lnTo>
                  <a:lnTo>
                    <a:pt x="1656" y="308"/>
                  </a:lnTo>
                  <a:lnTo>
                    <a:pt x="1656" y="308"/>
                  </a:lnTo>
                  <a:lnTo>
                    <a:pt x="1650" y="308"/>
                  </a:lnTo>
                  <a:lnTo>
                    <a:pt x="1648" y="312"/>
                  </a:lnTo>
                  <a:lnTo>
                    <a:pt x="1646" y="314"/>
                  </a:lnTo>
                  <a:lnTo>
                    <a:pt x="1646" y="318"/>
                  </a:lnTo>
                  <a:lnTo>
                    <a:pt x="1650" y="330"/>
                  </a:lnTo>
                  <a:lnTo>
                    <a:pt x="1658" y="344"/>
                  </a:lnTo>
                  <a:lnTo>
                    <a:pt x="1658" y="344"/>
                  </a:lnTo>
                  <a:lnTo>
                    <a:pt x="1662" y="352"/>
                  </a:lnTo>
                  <a:lnTo>
                    <a:pt x="1664" y="356"/>
                  </a:lnTo>
                  <a:lnTo>
                    <a:pt x="1664" y="358"/>
                  </a:lnTo>
                  <a:lnTo>
                    <a:pt x="1662" y="360"/>
                  </a:lnTo>
                  <a:lnTo>
                    <a:pt x="1656" y="360"/>
                  </a:lnTo>
                  <a:lnTo>
                    <a:pt x="1654" y="362"/>
                  </a:lnTo>
                  <a:lnTo>
                    <a:pt x="1652" y="366"/>
                  </a:lnTo>
                  <a:lnTo>
                    <a:pt x="1652" y="366"/>
                  </a:lnTo>
                  <a:lnTo>
                    <a:pt x="1652" y="368"/>
                  </a:lnTo>
                  <a:lnTo>
                    <a:pt x="1648" y="370"/>
                  </a:lnTo>
                  <a:lnTo>
                    <a:pt x="1640" y="368"/>
                  </a:lnTo>
                  <a:lnTo>
                    <a:pt x="1634" y="362"/>
                  </a:lnTo>
                  <a:lnTo>
                    <a:pt x="1632" y="360"/>
                  </a:lnTo>
                  <a:lnTo>
                    <a:pt x="1636" y="358"/>
                  </a:lnTo>
                  <a:lnTo>
                    <a:pt x="1636" y="358"/>
                  </a:lnTo>
                  <a:lnTo>
                    <a:pt x="1638" y="356"/>
                  </a:lnTo>
                  <a:lnTo>
                    <a:pt x="1640" y="354"/>
                  </a:lnTo>
                  <a:lnTo>
                    <a:pt x="1642" y="348"/>
                  </a:lnTo>
                  <a:lnTo>
                    <a:pt x="1638" y="342"/>
                  </a:lnTo>
                  <a:lnTo>
                    <a:pt x="1632" y="336"/>
                  </a:lnTo>
                  <a:lnTo>
                    <a:pt x="1632" y="336"/>
                  </a:lnTo>
                  <a:lnTo>
                    <a:pt x="1626" y="332"/>
                  </a:lnTo>
                  <a:lnTo>
                    <a:pt x="1622" y="332"/>
                  </a:lnTo>
                  <a:lnTo>
                    <a:pt x="1618" y="332"/>
                  </a:lnTo>
                  <a:lnTo>
                    <a:pt x="1618" y="328"/>
                  </a:lnTo>
                  <a:lnTo>
                    <a:pt x="1618" y="328"/>
                  </a:lnTo>
                  <a:lnTo>
                    <a:pt x="1618" y="326"/>
                  </a:lnTo>
                  <a:lnTo>
                    <a:pt x="1618" y="324"/>
                  </a:lnTo>
                  <a:lnTo>
                    <a:pt x="1612" y="324"/>
                  </a:lnTo>
                  <a:lnTo>
                    <a:pt x="1606" y="324"/>
                  </a:lnTo>
                  <a:lnTo>
                    <a:pt x="1600" y="322"/>
                  </a:lnTo>
                  <a:lnTo>
                    <a:pt x="1600" y="322"/>
                  </a:lnTo>
                  <a:lnTo>
                    <a:pt x="1594" y="318"/>
                  </a:lnTo>
                  <a:lnTo>
                    <a:pt x="1590" y="314"/>
                  </a:lnTo>
                  <a:lnTo>
                    <a:pt x="1584" y="314"/>
                  </a:lnTo>
                  <a:lnTo>
                    <a:pt x="1576" y="316"/>
                  </a:lnTo>
                  <a:lnTo>
                    <a:pt x="1576" y="316"/>
                  </a:lnTo>
                  <a:lnTo>
                    <a:pt x="1566" y="320"/>
                  </a:lnTo>
                  <a:lnTo>
                    <a:pt x="1556" y="320"/>
                  </a:lnTo>
                  <a:lnTo>
                    <a:pt x="1526" y="324"/>
                  </a:lnTo>
                  <a:lnTo>
                    <a:pt x="1526" y="324"/>
                  </a:lnTo>
                  <a:lnTo>
                    <a:pt x="1504" y="326"/>
                  </a:lnTo>
                  <a:lnTo>
                    <a:pt x="1480" y="326"/>
                  </a:lnTo>
                  <a:lnTo>
                    <a:pt x="1458" y="324"/>
                  </a:lnTo>
                  <a:lnTo>
                    <a:pt x="1450" y="322"/>
                  </a:lnTo>
                  <a:lnTo>
                    <a:pt x="1446" y="318"/>
                  </a:lnTo>
                  <a:lnTo>
                    <a:pt x="1446" y="318"/>
                  </a:lnTo>
                  <a:lnTo>
                    <a:pt x="1444" y="316"/>
                  </a:lnTo>
                  <a:lnTo>
                    <a:pt x="1446" y="312"/>
                  </a:lnTo>
                  <a:lnTo>
                    <a:pt x="1450" y="308"/>
                  </a:lnTo>
                  <a:lnTo>
                    <a:pt x="1454" y="304"/>
                  </a:lnTo>
                  <a:lnTo>
                    <a:pt x="1466" y="298"/>
                  </a:lnTo>
                  <a:lnTo>
                    <a:pt x="1472" y="298"/>
                  </a:lnTo>
                  <a:lnTo>
                    <a:pt x="1476" y="298"/>
                  </a:lnTo>
                  <a:lnTo>
                    <a:pt x="1476" y="298"/>
                  </a:lnTo>
                  <a:lnTo>
                    <a:pt x="1478" y="298"/>
                  </a:lnTo>
                  <a:lnTo>
                    <a:pt x="1480" y="298"/>
                  </a:lnTo>
                  <a:lnTo>
                    <a:pt x="1480" y="292"/>
                  </a:lnTo>
                  <a:lnTo>
                    <a:pt x="1474" y="286"/>
                  </a:lnTo>
                  <a:lnTo>
                    <a:pt x="1466" y="278"/>
                  </a:lnTo>
                  <a:lnTo>
                    <a:pt x="1466" y="278"/>
                  </a:lnTo>
                  <a:lnTo>
                    <a:pt x="1454" y="270"/>
                  </a:lnTo>
                  <a:lnTo>
                    <a:pt x="1438" y="266"/>
                  </a:lnTo>
                  <a:lnTo>
                    <a:pt x="1426" y="264"/>
                  </a:lnTo>
                  <a:lnTo>
                    <a:pt x="1424" y="264"/>
                  </a:lnTo>
                  <a:lnTo>
                    <a:pt x="1422" y="266"/>
                  </a:lnTo>
                  <a:lnTo>
                    <a:pt x="1422" y="266"/>
                  </a:lnTo>
                  <a:lnTo>
                    <a:pt x="1422" y="268"/>
                  </a:lnTo>
                  <a:lnTo>
                    <a:pt x="1420" y="270"/>
                  </a:lnTo>
                  <a:lnTo>
                    <a:pt x="1410" y="268"/>
                  </a:lnTo>
                  <a:lnTo>
                    <a:pt x="1382" y="262"/>
                  </a:lnTo>
                  <a:lnTo>
                    <a:pt x="1382" y="262"/>
                  </a:lnTo>
                  <a:lnTo>
                    <a:pt x="1368" y="258"/>
                  </a:lnTo>
                  <a:lnTo>
                    <a:pt x="1360" y="254"/>
                  </a:lnTo>
                  <a:lnTo>
                    <a:pt x="1352" y="252"/>
                  </a:lnTo>
                  <a:lnTo>
                    <a:pt x="1342" y="250"/>
                  </a:lnTo>
                  <a:lnTo>
                    <a:pt x="1342" y="250"/>
                  </a:lnTo>
                  <a:lnTo>
                    <a:pt x="1330" y="248"/>
                  </a:lnTo>
                  <a:lnTo>
                    <a:pt x="1316" y="246"/>
                  </a:lnTo>
                  <a:lnTo>
                    <a:pt x="1302" y="240"/>
                  </a:lnTo>
                  <a:lnTo>
                    <a:pt x="1288" y="232"/>
                  </a:lnTo>
                  <a:lnTo>
                    <a:pt x="1288" y="232"/>
                  </a:lnTo>
                  <a:lnTo>
                    <a:pt x="1282" y="228"/>
                  </a:lnTo>
                  <a:lnTo>
                    <a:pt x="1272" y="224"/>
                  </a:lnTo>
                  <a:lnTo>
                    <a:pt x="1264" y="224"/>
                  </a:lnTo>
                  <a:lnTo>
                    <a:pt x="1254" y="224"/>
                  </a:lnTo>
                  <a:lnTo>
                    <a:pt x="1244" y="224"/>
                  </a:lnTo>
                  <a:lnTo>
                    <a:pt x="1236" y="226"/>
                  </a:lnTo>
                  <a:lnTo>
                    <a:pt x="1230" y="230"/>
                  </a:lnTo>
                  <a:lnTo>
                    <a:pt x="1228" y="234"/>
                  </a:lnTo>
                  <a:lnTo>
                    <a:pt x="1228" y="234"/>
                  </a:lnTo>
                  <a:lnTo>
                    <a:pt x="1226" y="238"/>
                  </a:lnTo>
                  <a:lnTo>
                    <a:pt x="1222" y="242"/>
                  </a:lnTo>
                  <a:lnTo>
                    <a:pt x="1214" y="244"/>
                  </a:lnTo>
                  <a:lnTo>
                    <a:pt x="1206" y="246"/>
                  </a:lnTo>
                  <a:lnTo>
                    <a:pt x="1196" y="246"/>
                  </a:lnTo>
                  <a:lnTo>
                    <a:pt x="1196" y="246"/>
                  </a:lnTo>
                  <a:lnTo>
                    <a:pt x="1192" y="246"/>
                  </a:lnTo>
                  <a:lnTo>
                    <a:pt x="1192" y="244"/>
                  </a:lnTo>
                  <a:lnTo>
                    <a:pt x="1194" y="238"/>
                  </a:lnTo>
                  <a:lnTo>
                    <a:pt x="1198" y="232"/>
                  </a:lnTo>
                  <a:lnTo>
                    <a:pt x="1198" y="230"/>
                  </a:lnTo>
                  <a:lnTo>
                    <a:pt x="1198" y="228"/>
                  </a:lnTo>
                  <a:lnTo>
                    <a:pt x="1198" y="228"/>
                  </a:lnTo>
                  <a:lnTo>
                    <a:pt x="1196" y="226"/>
                  </a:lnTo>
                  <a:lnTo>
                    <a:pt x="1194" y="224"/>
                  </a:lnTo>
                  <a:lnTo>
                    <a:pt x="1194" y="216"/>
                  </a:lnTo>
                  <a:lnTo>
                    <a:pt x="1192" y="210"/>
                  </a:lnTo>
                  <a:lnTo>
                    <a:pt x="1190" y="208"/>
                  </a:lnTo>
                  <a:lnTo>
                    <a:pt x="1188" y="208"/>
                  </a:lnTo>
                  <a:lnTo>
                    <a:pt x="1188" y="208"/>
                  </a:lnTo>
                  <a:lnTo>
                    <a:pt x="1184" y="208"/>
                  </a:lnTo>
                  <a:lnTo>
                    <a:pt x="1180" y="212"/>
                  </a:lnTo>
                  <a:lnTo>
                    <a:pt x="1172" y="226"/>
                  </a:lnTo>
                  <a:lnTo>
                    <a:pt x="1168" y="234"/>
                  </a:lnTo>
                  <a:lnTo>
                    <a:pt x="1164" y="240"/>
                  </a:lnTo>
                  <a:lnTo>
                    <a:pt x="1158" y="244"/>
                  </a:lnTo>
                  <a:lnTo>
                    <a:pt x="1152" y="246"/>
                  </a:lnTo>
                  <a:lnTo>
                    <a:pt x="1152" y="246"/>
                  </a:lnTo>
                  <a:lnTo>
                    <a:pt x="1144" y="244"/>
                  </a:lnTo>
                  <a:lnTo>
                    <a:pt x="1140" y="238"/>
                  </a:lnTo>
                  <a:lnTo>
                    <a:pt x="1130" y="222"/>
                  </a:lnTo>
                  <a:lnTo>
                    <a:pt x="1120" y="204"/>
                  </a:lnTo>
                  <a:lnTo>
                    <a:pt x="1116" y="196"/>
                  </a:lnTo>
                  <a:lnTo>
                    <a:pt x="1110" y="192"/>
                  </a:lnTo>
                  <a:lnTo>
                    <a:pt x="1110" y="192"/>
                  </a:lnTo>
                  <a:lnTo>
                    <a:pt x="1100" y="186"/>
                  </a:lnTo>
                  <a:lnTo>
                    <a:pt x="1092" y="184"/>
                  </a:lnTo>
                  <a:lnTo>
                    <a:pt x="1090" y="184"/>
                  </a:lnTo>
                  <a:lnTo>
                    <a:pt x="1088" y="188"/>
                  </a:lnTo>
                  <a:lnTo>
                    <a:pt x="1090" y="190"/>
                  </a:lnTo>
                  <a:lnTo>
                    <a:pt x="1094" y="196"/>
                  </a:lnTo>
                  <a:lnTo>
                    <a:pt x="1094" y="196"/>
                  </a:lnTo>
                  <a:lnTo>
                    <a:pt x="1096" y="202"/>
                  </a:lnTo>
                  <a:lnTo>
                    <a:pt x="1098" y="204"/>
                  </a:lnTo>
                  <a:lnTo>
                    <a:pt x="1096" y="206"/>
                  </a:lnTo>
                  <a:lnTo>
                    <a:pt x="1094" y="206"/>
                  </a:lnTo>
                  <a:lnTo>
                    <a:pt x="1086" y="208"/>
                  </a:lnTo>
                  <a:lnTo>
                    <a:pt x="1084" y="208"/>
                  </a:lnTo>
                  <a:lnTo>
                    <a:pt x="1084" y="212"/>
                  </a:lnTo>
                  <a:lnTo>
                    <a:pt x="1084" y="212"/>
                  </a:lnTo>
                  <a:lnTo>
                    <a:pt x="1084" y="216"/>
                  </a:lnTo>
                  <a:lnTo>
                    <a:pt x="1082" y="220"/>
                  </a:lnTo>
                  <a:lnTo>
                    <a:pt x="1074" y="228"/>
                  </a:lnTo>
                  <a:lnTo>
                    <a:pt x="1068" y="230"/>
                  </a:lnTo>
                  <a:lnTo>
                    <a:pt x="1064" y="230"/>
                  </a:lnTo>
                  <a:lnTo>
                    <a:pt x="1064" y="230"/>
                  </a:lnTo>
                  <a:lnTo>
                    <a:pt x="1064" y="230"/>
                  </a:lnTo>
                  <a:lnTo>
                    <a:pt x="1062" y="226"/>
                  </a:lnTo>
                  <a:lnTo>
                    <a:pt x="1056" y="222"/>
                  </a:lnTo>
                  <a:lnTo>
                    <a:pt x="1052" y="224"/>
                  </a:lnTo>
                  <a:lnTo>
                    <a:pt x="1048" y="226"/>
                  </a:lnTo>
                  <a:lnTo>
                    <a:pt x="1042" y="228"/>
                  </a:lnTo>
                  <a:lnTo>
                    <a:pt x="1038" y="234"/>
                  </a:lnTo>
                  <a:lnTo>
                    <a:pt x="1038" y="234"/>
                  </a:lnTo>
                  <a:lnTo>
                    <a:pt x="1028" y="242"/>
                  </a:lnTo>
                  <a:lnTo>
                    <a:pt x="1020" y="246"/>
                  </a:lnTo>
                  <a:lnTo>
                    <a:pt x="1014" y="246"/>
                  </a:lnTo>
                  <a:lnTo>
                    <a:pt x="1012" y="242"/>
                  </a:lnTo>
                  <a:lnTo>
                    <a:pt x="1012" y="242"/>
                  </a:lnTo>
                  <a:lnTo>
                    <a:pt x="1010" y="242"/>
                  </a:lnTo>
                  <a:lnTo>
                    <a:pt x="1004" y="242"/>
                  </a:lnTo>
                  <a:lnTo>
                    <a:pt x="990" y="248"/>
                  </a:lnTo>
                  <a:lnTo>
                    <a:pt x="974" y="258"/>
                  </a:lnTo>
                  <a:lnTo>
                    <a:pt x="970" y="262"/>
                  </a:lnTo>
                  <a:lnTo>
                    <a:pt x="970" y="266"/>
                  </a:lnTo>
                  <a:lnTo>
                    <a:pt x="970" y="266"/>
                  </a:lnTo>
                  <a:lnTo>
                    <a:pt x="968" y="270"/>
                  </a:lnTo>
                  <a:lnTo>
                    <a:pt x="966" y="274"/>
                  </a:lnTo>
                  <a:lnTo>
                    <a:pt x="960" y="276"/>
                  </a:lnTo>
                  <a:lnTo>
                    <a:pt x="952" y="278"/>
                  </a:lnTo>
                  <a:lnTo>
                    <a:pt x="952" y="278"/>
                  </a:lnTo>
                  <a:lnTo>
                    <a:pt x="948" y="276"/>
                  </a:lnTo>
                  <a:lnTo>
                    <a:pt x="946" y="276"/>
                  </a:lnTo>
                  <a:lnTo>
                    <a:pt x="946" y="272"/>
                  </a:lnTo>
                  <a:lnTo>
                    <a:pt x="952" y="266"/>
                  </a:lnTo>
                  <a:lnTo>
                    <a:pt x="958" y="262"/>
                  </a:lnTo>
                  <a:lnTo>
                    <a:pt x="958" y="262"/>
                  </a:lnTo>
                  <a:lnTo>
                    <a:pt x="982" y="246"/>
                  </a:lnTo>
                  <a:lnTo>
                    <a:pt x="998" y="236"/>
                  </a:lnTo>
                  <a:lnTo>
                    <a:pt x="1010" y="232"/>
                  </a:lnTo>
                  <a:lnTo>
                    <a:pt x="1010" y="232"/>
                  </a:lnTo>
                  <a:lnTo>
                    <a:pt x="1024" y="228"/>
                  </a:lnTo>
                  <a:lnTo>
                    <a:pt x="1038" y="224"/>
                  </a:lnTo>
                  <a:lnTo>
                    <a:pt x="1048" y="216"/>
                  </a:lnTo>
                  <a:lnTo>
                    <a:pt x="1052" y="214"/>
                  </a:lnTo>
                  <a:lnTo>
                    <a:pt x="1054" y="212"/>
                  </a:lnTo>
                  <a:lnTo>
                    <a:pt x="1054" y="212"/>
                  </a:lnTo>
                  <a:lnTo>
                    <a:pt x="1052" y="210"/>
                  </a:lnTo>
                  <a:lnTo>
                    <a:pt x="1052" y="208"/>
                  </a:lnTo>
                  <a:lnTo>
                    <a:pt x="1046" y="208"/>
                  </a:lnTo>
                  <a:lnTo>
                    <a:pt x="1038" y="208"/>
                  </a:lnTo>
                  <a:lnTo>
                    <a:pt x="1030" y="208"/>
                  </a:lnTo>
                  <a:lnTo>
                    <a:pt x="1030" y="208"/>
                  </a:lnTo>
                  <a:lnTo>
                    <a:pt x="1022" y="210"/>
                  </a:lnTo>
                  <a:lnTo>
                    <a:pt x="1010" y="214"/>
                  </a:lnTo>
                  <a:lnTo>
                    <a:pt x="986" y="224"/>
                  </a:lnTo>
                  <a:lnTo>
                    <a:pt x="986" y="224"/>
                  </a:lnTo>
                  <a:lnTo>
                    <a:pt x="974" y="228"/>
                  </a:lnTo>
                  <a:lnTo>
                    <a:pt x="964" y="230"/>
                  </a:lnTo>
                  <a:lnTo>
                    <a:pt x="956" y="234"/>
                  </a:lnTo>
                  <a:lnTo>
                    <a:pt x="956" y="236"/>
                  </a:lnTo>
                  <a:lnTo>
                    <a:pt x="956" y="240"/>
                  </a:lnTo>
                  <a:lnTo>
                    <a:pt x="956" y="240"/>
                  </a:lnTo>
                  <a:lnTo>
                    <a:pt x="958" y="242"/>
                  </a:lnTo>
                  <a:lnTo>
                    <a:pt x="956" y="244"/>
                  </a:lnTo>
                  <a:lnTo>
                    <a:pt x="950" y="242"/>
                  </a:lnTo>
                  <a:lnTo>
                    <a:pt x="942" y="242"/>
                  </a:lnTo>
                  <a:lnTo>
                    <a:pt x="940" y="242"/>
                  </a:lnTo>
                  <a:lnTo>
                    <a:pt x="938" y="244"/>
                  </a:lnTo>
                  <a:lnTo>
                    <a:pt x="938" y="244"/>
                  </a:lnTo>
                  <a:lnTo>
                    <a:pt x="934" y="248"/>
                  </a:lnTo>
                  <a:lnTo>
                    <a:pt x="930" y="246"/>
                  </a:lnTo>
                  <a:lnTo>
                    <a:pt x="928" y="244"/>
                  </a:lnTo>
                  <a:lnTo>
                    <a:pt x="932" y="240"/>
                  </a:lnTo>
                  <a:lnTo>
                    <a:pt x="932" y="240"/>
                  </a:lnTo>
                  <a:lnTo>
                    <a:pt x="932" y="238"/>
                  </a:lnTo>
                  <a:lnTo>
                    <a:pt x="932" y="238"/>
                  </a:lnTo>
                  <a:lnTo>
                    <a:pt x="926" y="234"/>
                  </a:lnTo>
                  <a:lnTo>
                    <a:pt x="920" y="232"/>
                  </a:lnTo>
                  <a:lnTo>
                    <a:pt x="918" y="234"/>
                  </a:lnTo>
                  <a:lnTo>
                    <a:pt x="916" y="234"/>
                  </a:lnTo>
                  <a:lnTo>
                    <a:pt x="916" y="234"/>
                  </a:lnTo>
                  <a:lnTo>
                    <a:pt x="916" y="238"/>
                  </a:lnTo>
                  <a:lnTo>
                    <a:pt x="914" y="240"/>
                  </a:lnTo>
                  <a:lnTo>
                    <a:pt x="908" y="244"/>
                  </a:lnTo>
                  <a:lnTo>
                    <a:pt x="898" y="244"/>
                  </a:lnTo>
                  <a:lnTo>
                    <a:pt x="898" y="244"/>
                  </a:lnTo>
                  <a:lnTo>
                    <a:pt x="888" y="246"/>
                  </a:lnTo>
                  <a:lnTo>
                    <a:pt x="880" y="250"/>
                  </a:lnTo>
                  <a:lnTo>
                    <a:pt x="878" y="252"/>
                  </a:lnTo>
                  <a:lnTo>
                    <a:pt x="876" y="256"/>
                  </a:lnTo>
                  <a:lnTo>
                    <a:pt x="876" y="258"/>
                  </a:lnTo>
                  <a:lnTo>
                    <a:pt x="880" y="262"/>
                  </a:lnTo>
                  <a:lnTo>
                    <a:pt x="880" y="262"/>
                  </a:lnTo>
                  <a:lnTo>
                    <a:pt x="890" y="270"/>
                  </a:lnTo>
                  <a:lnTo>
                    <a:pt x="892" y="274"/>
                  </a:lnTo>
                  <a:lnTo>
                    <a:pt x="890" y="278"/>
                  </a:lnTo>
                  <a:lnTo>
                    <a:pt x="890" y="278"/>
                  </a:lnTo>
                  <a:lnTo>
                    <a:pt x="888" y="278"/>
                  </a:lnTo>
                  <a:lnTo>
                    <a:pt x="884" y="278"/>
                  </a:lnTo>
                  <a:lnTo>
                    <a:pt x="876" y="272"/>
                  </a:lnTo>
                  <a:lnTo>
                    <a:pt x="864" y="268"/>
                  </a:lnTo>
                  <a:lnTo>
                    <a:pt x="856" y="266"/>
                  </a:lnTo>
                  <a:lnTo>
                    <a:pt x="848" y="266"/>
                  </a:lnTo>
                  <a:lnTo>
                    <a:pt x="848" y="266"/>
                  </a:lnTo>
                  <a:lnTo>
                    <a:pt x="840" y="266"/>
                  </a:lnTo>
                  <a:lnTo>
                    <a:pt x="830" y="264"/>
                  </a:lnTo>
                  <a:lnTo>
                    <a:pt x="810" y="254"/>
                  </a:lnTo>
                  <a:lnTo>
                    <a:pt x="792" y="244"/>
                  </a:lnTo>
                  <a:lnTo>
                    <a:pt x="788" y="240"/>
                  </a:lnTo>
                  <a:lnTo>
                    <a:pt x="786" y="236"/>
                  </a:lnTo>
                  <a:lnTo>
                    <a:pt x="786" y="236"/>
                  </a:lnTo>
                  <a:lnTo>
                    <a:pt x="784" y="234"/>
                  </a:lnTo>
                  <a:lnTo>
                    <a:pt x="778" y="234"/>
                  </a:lnTo>
                  <a:lnTo>
                    <a:pt x="760" y="234"/>
                  </a:lnTo>
                  <a:lnTo>
                    <a:pt x="740" y="234"/>
                  </a:lnTo>
                  <a:lnTo>
                    <a:pt x="730" y="232"/>
                  </a:lnTo>
                  <a:lnTo>
                    <a:pt x="722" y="230"/>
                  </a:lnTo>
                  <a:lnTo>
                    <a:pt x="722" y="230"/>
                  </a:lnTo>
                  <a:lnTo>
                    <a:pt x="692" y="218"/>
                  </a:lnTo>
                  <a:lnTo>
                    <a:pt x="678" y="214"/>
                  </a:lnTo>
                  <a:lnTo>
                    <a:pt x="670" y="214"/>
                  </a:lnTo>
                  <a:lnTo>
                    <a:pt x="666" y="214"/>
                  </a:lnTo>
                  <a:lnTo>
                    <a:pt x="666" y="214"/>
                  </a:lnTo>
                  <a:lnTo>
                    <a:pt x="638" y="218"/>
                  </a:lnTo>
                  <a:lnTo>
                    <a:pt x="624" y="218"/>
                  </a:lnTo>
                  <a:lnTo>
                    <a:pt x="614" y="216"/>
                  </a:lnTo>
                  <a:lnTo>
                    <a:pt x="614" y="216"/>
                  </a:lnTo>
                  <a:lnTo>
                    <a:pt x="606" y="212"/>
                  </a:lnTo>
                  <a:lnTo>
                    <a:pt x="596" y="210"/>
                  </a:lnTo>
                  <a:lnTo>
                    <a:pt x="584" y="210"/>
                  </a:lnTo>
                  <a:lnTo>
                    <a:pt x="570" y="210"/>
                  </a:lnTo>
                  <a:lnTo>
                    <a:pt x="570" y="210"/>
                  </a:lnTo>
                  <a:lnTo>
                    <a:pt x="564" y="210"/>
                  </a:lnTo>
                  <a:lnTo>
                    <a:pt x="558" y="210"/>
                  </a:lnTo>
                  <a:lnTo>
                    <a:pt x="544" y="206"/>
                  </a:lnTo>
                  <a:lnTo>
                    <a:pt x="530" y="198"/>
                  </a:lnTo>
                  <a:lnTo>
                    <a:pt x="512" y="194"/>
                  </a:lnTo>
                  <a:lnTo>
                    <a:pt x="512" y="194"/>
                  </a:lnTo>
                  <a:lnTo>
                    <a:pt x="502" y="192"/>
                  </a:lnTo>
                  <a:lnTo>
                    <a:pt x="492" y="190"/>
                  </a:lnTo>
                  <a:lnTo>
                    <a:pt x="472" y="192"/>
                  </a:lnTo>
                  <a:lnTo>
                    <a:pt x="454" y="196"/>
                  </a:lnTo>
                  <a:lnTo>
                    <a:pt x="444" y="198"/>
                  </a:lnTo>
                  <a:lnTo>
                    <a:pt x="444" y="198"/>
                  </a:lnTo>
                  <a:lnTo>
                    <a:pt x="440" y="198"/>
                  </a:lnTo>
                  <a:lnTo>
                    <a:pt x="438" y="198"/>
                  </a:lnTo>
                  <a:lnTo>
                    <a:pt x="436" y="194"/>
                  </a:lnTo>
                  <a:lnTo>
                    <a:pt x="432" y="192"/>
                  </a:lnTo>
                  <a:lnTo>
                    <a:pt x="426" y="190"/>
                  </a:lnTo>
                  <a:lnTo>
                    <a:pt x="426" y="190"/>
                  </a:lnTo>
                  <a:lnTo>
                    <a:pt x="420" y="190"/>
                  </a:lnTo>
                  <a:lnTo>
                    <a:pt x="420" y="188"/>
                  </a:lnTo>
                  <a:lnTo>
                    <a:pt x="420" y="182"/>
                  </a:lnTo>
                  <a:lnTo>
                    <a:pt x="418" y="176"/>
                  </a:lnTo>
                  <a:lnTo>
                    <a:pt x="418" y="176"/>
                  </a:lnTo>
                  <a:lnTo>
                    <a:pt x="414" y="174"/>
                  </a:lnTo>
                  <a:lnTo>
                    <a:pt x="410" y="172"/>
                  </a:lnTo>
                  <a:lnTo>
                    <a:pt x="396" y="172"/>
                  </a:lnTo>
                  <a:lnTo>
                    <a:pt x="370" y="176"/>
                  </a:lnTo>
                  <a:lnTo>
                    <a:pt x="370" y="176"/>
                  </a:lnTo>
                  <a:lnTo>
                    <a:pt x="364" y="176"/>
                  </a:lnTo>
                  <a:lnTo>
                    <a:pt x="360" y="174"/>
                  </a:lnTo>
                  <a:lnTo>
                    <a:pt x="358" y="170"/>
                  </a:lnTo>
                  <a:lnTo>
                    <a:pt x="356" y="166"/>
                  </a:lnTo>
                  <a:lnTo>
                    <a:pt x="356" y="166"/>
                  </a:lnTo>
                  <a:lnTo>
                    <a:pt x="356" y="164"/>
                  </a:lnTo>
                  <a:lnTo>
                    <a:pt x="352" y="164"/>
                  </a:lnTo>
                  <a:lnTo>
                    <a:pt x="348" y="166"/>
                  </a:lnTo>
                  <a:lnTo>
                    <a:pt x="344" y="170"/>
                  </a:lnTo>
                  <a:lnTo>
                    <a:pt x="344" y="170"/>
                  </a:lnTo>
                  <a:lnTo>
                    <a:pt x="338" y="174"/>
                  </a:lnTo>
                  <a:lnTo>
                    <a:pt x="332" y="176"/>
                  </a:lnTo>
                  <a:lnTo>
                    <a:pt x="326" y="176"/>
                  </a:lnTo>
                  <a:lnTo>
                    <a:pt x="322" y="174"/>
                  </a:lnTo>
                  <a:lnTo>
                    <a:pt x="322" y="174"/>
                  </a:lnTo>
                  <a:lnTo>
                    <a:pt x="320" y="172"/>
                  </a:lnTo>
                  <a:lnTo>
                    <a:pt x="322" y="170"/>
                  </a:lnTo>
                  <a:lnTo>
                    <a:pt x="326" y="168"/>
                  </a:lnTo>
                  <a:lnTo>
                    <a:pt x="330" y="164"/>
                  </a:lnTo>
                  <a:lnTo>
                    <a:pt x="332" y="162"/>
                  </a:lnTo>
                  <a:lnTo>
                    <a:pt x="332" y="162"/>
                  </a:lnTo>
                  <a:lnTo>
                    <a:pt x="332" y="160"/>
                  </a:lnTo>
                  <a:lnTo>
                    <a:pt x="330" y="158"/>
                  </a:lnTo>
                  <a:lnTo>
                    <a:pt x="324" y="154"/>
                  </a:lnTo>
                  <a:lnTo>
                    <a:pt x="312" y="150"/>
                  </a:lnTo>
                  <a:lnTo>
                    <a:pt x="312" y="150"/>
                  </a:lnTo>
                  <a:lnTo>
                    <a:pt x="306" y="152"/>
                  </a:lnTo>
                  <a:lnTo>
                    <a:pt x="300" y="154"/>
                  </a:lnTo>
                  <a:lnTo>
                    <a:pt x="282" y="168"/>
                  </a:lnTo>
                  <a:lnTo>
                    <a:pt x="282" y="168"/>
                  </a:lnTo>
                  <a:lnTo>
                    <a:pt x="272" y="174"/>
                  </a:lnTo>
                  <a:lnTo>
                    <a:pt x="260" y="178"/>
                  </a:lnTo>
                  <a:lnTo>
                    <a:pt x="250" y="178"/>
                  </a:lnTo>
                  <a:lnTo>
                    <a:pt x="240" y="178"/>
                  </a:lnTo>
                  <a:lnTo>
                    <a:pt x="240" y="178"/>
                  </a:lnTo>
                  <a:lnTo>
                    <a:pt x="230" y="178"/>
                  </a:lnTo>
                  <a:lnTo>
                    <a:pt x="222" y="178"/>
                  </a:lnTo>
                  <a:lnTo>
                    <a:pt x="216" y="182"/>
                  </a:lnTo>
                  <a:lnTo>
                    <a:pt x="214" y="184"/>
                  </a:lnTo>
                  <a:lnTo>
                    <a:pt x="214" y="186"/>
                  </a:lnTo>
                  <a:lnTo>
                    <a:pt x="214" y="186"/>
                  </a:lnTo>
                  <a:lnTo>
                    <a:pt x="216" y="190"/>
                  </a:lnTo>
                  <a:lnTo>
                    <a:pt x="220" y="192"/>
                  </a:lnTo>
                  <a:lnTo>
                    <a:pt x="224" y="194"/>
                  </a:lnTo>
                  <a:lnTo>
                    <a:pt x="222" y="198"/>
                  </a:lnTo>
                  <a:lnTo>
                    <a:pt x="220" y="200"/>
                  </a:lnTo>
                  <a:lnTo>
                    <a:pt x="220" y="200"/>
                  </a:lnTo>
                  <a:lnTo>
                    <a:pt x="218" y="202"/>
                  </a:lnTo>
                  <a:lnTo>
                    <a:pt x="214" y="202"/>
                  </a:lnTo>
                  <a:lnTo>
                    <a:pt x="210" y="198"/>
                  </a:lnTo>
                  <a:lnTo>
                    <a:pt x="206" y="196"/>
                  </a:lnTo>
                  <a:lnTo>
                    <a:pt x="204" y="196"/>
                  </a:lnTo>
                  <a:lnTo>
                    <a:pt x="200" y="198"/>
                  </a:lnTo>
                  <a:lnTo>
                    <a:pt x="200" y="198"/>
                  </a:lnTo>
                  <a:lnTo>
                    <a:pt x="196" y="200"/>
                  </a:lnTo>
                  <a:lnTo>
                    <a:pt x="192" y="202"/>
                  </a:lnTo>
                  <a:lnTo>
                    <a:pt x="180" y="204"/>
                  </a:lnTo>
                  <a:lnTo>
                    <a:pt x="168" y="206"/>
                  </a:lnTo>
                  <a:lnTo>
                    <a:pt x="160" y="204"/>
                  </a:lnTo>
                  <a:lnTo>
                    <a:pt x="160" y="204"/>
                  </a:lnTo>
                  <a:lnTo>
                    <a:pt x="158" y="206"/>
                  </a:lnTo>
                  <a:lnTo>
                    <a:pt x="154" y="208"/>
                  </a:lnTo>
                  <a:lnTo>
                    <a:pt x="144" y="216"/>
                  </a:lnTo>
                  <a:lnTo>
                    <a:pt x="128" y="232"/>
                  </a:lnTo>
                  <a:lnTo>
                    <a:pt x="128" y="232"/>
                  </a:lnTo>
                  <a:lnTo>
                    <a:pt x="126" y="236"/>
                  </a:lnTo>
                  <a:lnTo>
                    <a:pt x="126" y="242"/>
                  </a:lnTo>
                  <a:lnTo>
                    <a:pt x="124" y="250"/>
                  </a:lnTo>
                  <a:lnTo>
                    <a:pt x="122" y="254"/>
                  </a:lnTo>
                  <a:lnTo>
                    <a:pt x="118" y="260"/>
                  </a:lnTo>
                  <a:lnTo>
                    <a:pt x="118" y="260"/>
                  </a:lnTo>
                  <a:lnTo>
                    <a:pt x="110" y="266"/>
                  </a:lnTo>
                  <a:lnTo>
                    <a:pt x="100" y="270"/>
                  </a:lnTo>
                  <a:lnTo>
                    <a:pt x="90" y="272"/>
                  </a:lnTo>
                  <a:lnTo>
                    <a:pt x="80" y="274"/>
                  </a:lnTo>
                  <a:lnTo>
                    <a:pt x="60" y="274"/>
                  </a:lnTo>
                  <a:lnTo>
                    <a:pt x="48" y="274"/>
                  </a:lnTo>
                  <a:lnTo>
                    <a:pt x="48" y="274"/>
                  </a:lnTo>
                  <a:lnTo>
                    <a:pt x="46" y="274"/>
                  </a:lnTo>
                  <a:lnTo>
                    <a:pt x="44" y="276"/>
                  </a:lnTo>
                  <a:lnTo>
                    <a:pt x="42" y="280"/>
                  </a:lnTo>
                  <a:lnTo>
                    <a:pt x="42" y="286"/>
                  </a:lnTo>
                  <a:lnTo>
                    <a:pt x="40" y="292"/>
                  </a:lnTo>
                  <a:lnTo>
                    <a:pt x="40" y="292"/>
                  </a:lnTo>
                  <a:lnTo>
                    <a:pt x="40" y="294"/>
                  </a:lnTo>
                  <a:lnTo>
                    <a:pt x="40" y="296"/>
                  </a:lnTo>
                  <a:lnTo>
                    <a:pt x="44" y="300"/>
                  </a:lnTo>
                  <a:lnTo>
                    <a:pt x="56" y="306"/>
                  </a:lnTo>
                  <a:lnTo>
                    <a:pt x="72" y="310"/>
                  </a:lnTo>
                  <a:lnTo>
                    <a:pt x="72" y="310"/>
                  </a:lnTo>
                  <a:lnTo>
                    <a:pt x="80" y="314"/>
                  </a:lnTo>
                  <a:lnTo>
                    <a:pt x="88" y="320"/>
                  </a:lnTo>
                  <a:lnTo>
                    <a:pt x="96" y="326"/>
                  </a:lnTo>
                  <a:lnTo>
                    <a:pt x="102" y="334"/>
                  </a:lnTo>
                  <a:lnTo>
                    <a:pt x="112" y="348"/>
                  </a:lnTo>
                  <a:lnTo>
                    <a:pt x="116" y="358"/>
                  </a:lnTo>
                  <a:lnTo>
                    <a:pt x="116" y="358"/>
                  </a:lnTo>
                  <a:lnTo>
                    <a:pt x="118" y="360"/>
                  </a:lnTo>
                  <a:lnTo>
                    <a:pt x="122" y="360"/>
                  </a:lnTo>
                  <a:lnTo>
                    <a:pt x="136" y="360"/>
                  </a:lnTo>
                  <a:lnTo>
                    <a:pt x="150" y="358"/>
                  </a:lnTo>
                  <a:lnTo>
                    <a:pt x="162" y="358"/>
                  </a:lnTo>
                  <a:lnTo>
                    <a:pt x="162" y="358"/>
                  </a:lnTo>
                  <a:lnTo>
                    <a:pt x="166" y="360"/>
                  </a:lnTo>
                  <a:lnTo>
                    <a:pt x="166" y="362"/>
                  </a:lnTo>
                  <a:lnTo>
                    <a:pt x="166" y="370"/>
                  </a:lnTo>
                  <a:lnTo>
                    <a:pt x="166" y="376"/>
                  </a:lnTo>
                  <a:lnTo>
                    <a:pt x="168" y="380"/>
                  </a:lnTo>
                  <a:lnTo>
                    <a:pt x="170" y="382"/>
                  </a:lnTo>
                  <a:lnTo>
                    <a:pt x="170" y="382"/>
                  </a:lnTo>
                  <a:lnTo>
                    <a:pt x="180" y="384"/>
                  </a:lnTo>
                  <a:lnTo>
                    <a:pt x="188" y="384"/>
                  </a:lnTo>
                  <a:lnTo>
                    <a:pt x="196" y="384"/>
                  </a:lnTo>
                  <a:lnTo>
                    <a:pt x="198" y="386"/>
                  </a:lnTo>
                  <a:lnTo>
                    <a:pt x="200" y="388"/>
                  </a:lnTo>
                  <a:lnTo>
                    <a:pt x="200" y="388"/>
                  </a:lnTo>
                  <a:lnTo>
                    <a:pt x="200" y="390"/>
                  </a:lnTo>
                  <a:lnTo>
                    <a:pt x="198" y="392"/>
                  </a:lnTo>
                  <a:lnTo>
                    <a:pt x="190" y="392"/>
                  </a:lnTo>
                  <a:lnTo>
                    <a:pt x="178" y="394"/>
                  </a:lnTo>
                  <a:lnTo>
                    <a:pt x="172" y="394"/>
                  </a:lnTo>
                  <a:lnTo>
                    <a:pt x="168" y="398"/>
                  </a:lnTo>
                  <a:lnTo>
                    <a:pt x="168" y="398"/>
                  </a:lnTo>
                  <a:lnTo>
                    <a:pt x="160" y="404"/>
                  </a:lnTo>
                  <a:lnTo>
                    <a:pt x="152" y="406"/>
                  </a:lnTo>
                  <a:lnTo>
                    <a:pt x="148" y="408"/>
                  </a:lnTo>
                  <a:lnTo>
                    <a:pt x="144" y="404"/>
                  </a:lnTo>
                  <a:lnTo>
                    <a:pt x="144" y="404"/>
                  </a:lnTo>
                  <a:lnTo>
                    <a:pt x="142" y="402"/>
                  </a:lnTo>
                  <a:lnTo>
                    <a:pt x="138" y="400"/>
                  </a:lnTo>
                  <a:lnTo>
                    <a:pt x="128" y="400"/>
                  </a:lnTo>
                  <a:lnTo>
                    <a:pt x="110" y="402"/>
                  </a:lnTo>
                  <a:lnTo>
                    <a:pt x="110" y="402"/>
                  </a:lnTo>
                  <a:lnTo>
                    <a:pt x="106" y="402"/>
                  </a:lnTo>
                  <a:lnTo>
                    <a:pt x="104" y="402"/>
                  </a:lnTo>
                  <a:lnTo>
                    <a:pt x="106" y="396"/>
                  </a:lnTo>
                  <a:lnTo>
                    <a:pt x="110" y="384"/>
                  </a:lnTo>
                  <a:lnTo>
                    <a:pt x="110" y="384"/>
                  </a:lnTo>
                  <a:lnTo>
                    <a:pt x="108" y="382"/>
                  </a:lnTo>
                  <a:lnTo>
                    <a:pt x="106" y="380"/>
                  </a:lnTo>
                  <a:lnTo>
                    <a:pt x="100" y="378"/>
                  </a:lnTo>
                  <a:lnTo>
                    <a:pt x="90" y="380"/>
                  </a:lnTo>
                  <a:lnTo>
                    <a:pt x="76" y="386"/>
                  </a:lnTo>
                  <a:lnTo>
                    <a:pt x="76" y="386"/>
                  </a:lnTo>
                  <a:lnTo>
                    <a:pt x="62" y="394"/>
                  </a:lnTo>
                  <a:lnTo>
                    <a:pt x="60" y="402"/>
                  </a:lnTo>
                  <a:lnTo>
                    <a:pt x="60" y="402"/>
                  </a:lnTo>
                  <a:lnTo>
                    <a:pt x="60" y="404"/>
                  </a:lnTo>
                  <a:lnTo>
                    <a:pt x="58" y="404"/>
                  </a:lnTo>
                  <a:lnTo>
                    <a:pt x="52" y="404"/>
                  </a:lnTo>
                  <a:lnTo>
                    <a:pt x="46" y="402"/>
                  </a:lnTo>
                  <a:lnTo>
                    <a:pt x="42" y="402"/>
                  </a:lnTo>
                  <a:lnTo>
                    <a:pt x="36" y="404"/>
                  </a:lnTo>
                  <a:lnTo>
                    <a:pt x="36" y="404"/>
                  </a:lnTo>
                  <a:lnTo>
                    <a:pt x="14" y="414"/>
                  </a:lnTo>
                  <a:lnTo>
                    <a:pt x="6" y="420"/>
                  </a:lnTo>
                  <a:lnTo>
                    <a:pt x="0" y="426"/>
                  </a:lnTo>
                  <a:lnTo>
                    <a:pt x="0" y="426"/>
                  </a:lnTo>
                  <a:lnTo>
                    <a:pt x="0" y="428"/>
                  </a:lnTo>
                  <a:lnTo>
                    <a:pt x="2" y="430"/>
                  </a:lnTo>
                  <a:lnTo>
                    <a:pt x="14" y="436"/>
                  </a:lnTo>
                  <a:lnTo>
                    <a:pt x="40" y="440"/>
                  </a:lnTo>
                  <a:lnTo>
                    <a:pt x="40" y="440"/>
                  </a:lnTo>
                  <a:lnTo>
                    <a:pt x="42" y="442"/>
                  </a:lnTo>
                  <a:lnTo>
                    <a:pt x="42" y="444"/>
                  </a:lnTo>
                  <a:lnTo>
                    <a:pt x="38" y="448"/>
                  </a:lnTo>
                  <a:lnTo>
                    <a:pt x="32" y="452"/>
                  </a:lnTo>
                  <a:lnTo>
                    <a:pt x="32" y="452"/>
                  </a:lnTo>
                  <a:lnTo>
                    <a:pt x="34" y="454"/>
                  </a:lnTo>
                  <a:lnTo>
                    <a:pt x="34" y="454"/>
                  </a:lnTo>
                  <a:lnTo>
                    <a:pt x="40" y="458"/>
                  </a:lnTo>
                  <a:lnTo>
                    <a:pt x="42" y="462"/>
                  </a:lnTo>
                  <a:lnTo>
                    <a:pt x="46" y="468"/>
                  </a:lnTo>
                  <a:lnTo>
                    <a:pt x="54" y="474"/>
                  </a:lnTo>
                  <a:lnTo>
                    <a:pt x="54" y="474"/>
                  </a:lnTo>
                  <a:lnTo>
                    <a:pt x="62" y="476"/>
                  </a:lnTo>
                  <a:lnTo>
                    <a:pt x="68" y="478"/>
                  </a:lnTo>
                  <a:lnTo>
                    <a:pt x="86" y="478"/>
                  </a:lnTo>
                  <a:lnTo>
                    <a:pt x="112" y="474"/>
                  </a:lnTo>
                  <a:lnTo>
                    <a:pt x="112" y="474"/>
                  </a:lnTo>
                  <a:lnTo>
                    <a:pt x="120" y="476"/>
                  </a:lnTo>
                  <a:lnTo>
                    <a:pt x="126" y="478"/>
                  </a:lnTo>
                  <a:lnTo>
                    <a:pt x="132" y="480"/>
                  </a:lnTo>
                  <a:lnTo>
                    <a:pt x="134" y="480"/>
                  </a:lnTo>
                  <a:lnTo>
                    <a:pt x="138" y="478"/>
                  </a:lnTo>
                  <a:lnTo>
                    <a:pt x="138" y="478"/>
                  </a:lnTo>
                  <a:lnTo>
                    <a:pt x="146" y="470"/>
                  </a:lnTo>
                  <a:lnTo>
                    <a:pt x="160" y="462"/>
                  </a:lnTo>
                  <a:lnTo>
                    <a:pt x="166" y="458"/>
                  </a:lnTo>
                  <a:lnTo>
                    <a:pt x="174" y="456"/>
                  </a:lnTo>
                  <a:lnTo>
                    <a:pt x="180" y="458"/>
                  </a:lnTo>
                  <a:lnTo>
                    <a:pt x="186" y="460"/>
                  </a:lnTo>
                  <a:lnTo>
                    <a:pt x="186" y="460"/>
                  </a:lnTo>
                  <a:lnTo>
                    <a:pt x="190" y="464"/>
                  </a:lnTo>
                  <a:lnTo>
                    <a:pt x="190" y="468"/>
                  </a:lnTo>
                  <a:lnTo>
                    <a:pt x="188" y="470"/>
                  </a:lnTo>
                  <a:lnTo>
                    <a:pt x="184" y="472"/>
                  </a:lnTo>
                  <a:lnTo>
                    <a:pt x="178" y="474"/>
                  </a:lnTo>
                  <a:lnTo>
                    <a:pt x="176" y="476"/>
                  </a:lnTo>
                  <a:lnTo>
                    <a:pt x="178" y="480"/>
                  </a:lnTo>
                  <a:lnTo>
                    <a:pt x="178" y="480"/>
                  </a:lnTo>
                  <a:lnTo>
                    <a:pt x="184" y="486"/>
                  </a:lnTo>
                  <a:lnTo>
                    <a:pt x="188" y="496"/>
                  </a:lnTo>
                  <a:lnTo>
                    <a:pt x="188" y="502"/>
                  </a:lnTo>
                  <a:lnTo>
                    <a:pt x="188" y="506"/>
                  </a:lnTo>
                  <a:lnTo>
                    <a:pt x="186" y="512"/>
                  </a:lnTo>
                  <a:lnTo>
                    <a:pt x="182" y="516"/>
                  </a:lnTo>
                  <a:lnTo>
                    <a:pt x="182" y="516"/>
                  </a:lnTo>
                  <a:lnTo>
                    <a:pt x="172" y="520"/>
                  </a:lnTo>
                  <a:lnTo>
                    <a:pt x="162" y="520"/>
                  </a:lnTo>
                  <a:lnTo>
                    <a:pt x="148" y="518"/>
                  </a:lnTo>
                  <a:lnTo>
                    <a:pt x="148" y="518"/>
                  </a:lnTo>
                  <a:lnTo>
                    <a:pt x="146" y="518"/>
                  </a:lnTo>
                  <a:lnTo>
                    <a:pt x="144" y="520"/>
                  </a:lnTo>
                  <a:lnTo>
                    <a:pt x="142" y="526"/>
                  </a:lnTo>
                  <a:lnTo>
                    <a:pt x="140" y="532"/>
                  </a:lnTo>
                  <a:lnTo>
                    <a:pt x="134" y="540"/>
                  </a:lnTo>
                  <a:lnTo>
                    <a:pt x="134" y="540"/>
                  </a:lnTo>
                  <a:lnTo>
                    <a:pt x="130" y="542"/>
                  </a:lnTo>
                  <a:lnTo>
                    <a:pt x="126" y="542"/>
                  </a:lnTo>
                  <a:lnTo>
                    <a:pt x="118" y="538"/>
                  </a:lnTo>
                  <a:lnTo>
                    <a:pt x="108" y="534"/>
                  </a:lnTo>
                  <a:lnTo>
                    <a:pt x="104" y="532"/>
                  </a:lnTo>
                  <a:lnTo>
                    <a:pt x="98" y="530"/>
                  </a:lnTo>
                  <a:lnTo>
                    <a:pt x="98" y="530"/>
                  </a:lnTo>
                  <a:lnTo>
                    <a:pt x="94" y="532"/>
                  </a:lnTo>
                  <a:lnTo>
                    <a:pt x="90" y="534"/>
                  </a:lnTo>
                  <a:lnTo>
                    <a:pt x="88" y="536"/>
                  </a:lnTo>
                  <a:lnTo>
                    <a:pt x="88" y="540"/>
                  </a:lnTo>
                  <a:lnTo>
                    <a:pt x="88" y="550"/>
                  </a:lnTo>
                  <a:lnTo>
                    <a:pt x="88" y="558"/>
                  </a:lnTo>
                  <a:lnTo>
                    <a:pt x="88" y="558"/>
                  </a:lnTo>
                  <a:lnTo>
                    <a:pt x="88" y="560"/>
                  </a:lnTo>
                  <a:lnTo>
                    <a:pt x="84" y="562"/>
                  </a:lnTo>
                  <a:lnTo>
                    <a:pt x="76" y="564"/>
                  </a:lnTo>
                  <a:lnTo>
                    <a:pt x="72" y="564"/>
                  </a:lnTo>
                  <a:lnTo>
                    <a:pt x="68" y="568"/>
                  </a:lnTo>
                  <a:lnTo>
                    <a:pt x="64" y="572"/>
                  </a:lnTo>
                  <a:lnTo>
                    <a:pt x="60" y="578"/>
                  </a:lnTo>
                  <a:lnTo>
                    <a:pt x="60" y="578"/>
                  </a:lnTo>
                  <a:lnTo>
                    <a:pt x="58" y="584"/>
                  </a:lnTo>
                  <a:lnTo>
                    <a:pt x="54" y="588"/>
                  </a:lnTo>
                  <a:lnTo>
                    <a:pt x="50" y="590"/>
                  </a:lnTo>
                  <a:lnTo>
                    <a:pt x="46" y="590"/>
                  </a:lnTo>
                  <a:lnTo>
                    <a:pt x="44" y="592"/>
                  </a:lnTo>
                  <a:lnTo>
                    <a:pt x="42" y="592"/>
                  </a:lnTo>
                  <a:lnTo>
                    <a:pt x="44" y="596"/>
                  </a:lnTo>
                  <a:lnTo>
                    <a:pt x="48" y="602"/>
                  </a:lnTo>
                  <a:lnTo>
                    <a:pt x="48" y="602"/>
                  </a:lnTo>
                  <a:lnTo>
                    <a:pt x="56" y="612"/>
                  </a:lnTo>
                  <a:lnTo>
                    <a:pt x="62" y="616"/>
                  </a:lnTo>
                  <a:lnTo>
                    <a:pt x="66" y="616"/>
                  </a:lnTo>
                  <a:lnTo>
                    <a:pt x="72" y="618"/>
                  </a:lnTo>
                  <a:lnTo>
                    <a:pt x="72" y="618"/>
                  </a:lnTo>
                  <a:lnTo>
                    <a:pt x="76" y="622"/>
                  </a:lnTo>
                  <a:lnTo>
                    <a:pt x="76" y="626"/>
                  </a:lnTo>
                  <a:lnTo>
                    <a:pt x="72" y="634"/>
                  </a:lnTo>
                  <a:lnTo>
                    <a:pt x="68" y="640"/>
                  </a:lnTo>
                  <a:lnTo>
                    <a:pt x="68" y="644"/>
                  </a:lnTo>
                  <a:lnTo>
                    <a:pt x="72" y="644"/>
                  </a:lnTo>
                  <a:lnTo>
                    <a:pt x="72" y="644"/>
                  </a:lnTo>
                  <a:lnTo>
                    <a:pt x="76" y="646"/>
                  </a:lnTo>
                  <a:lnTo>
                    <a:pt x="80" y="650"/>
                  </a:lnTo>
                  <a:lnTo>
                    <a:pt x="90" y="658"/>
                  </a:lnTo>
                  <a:lnTo>
                    <a:pt x="104" y="676"/>
                  </a:lnTo>
                  <a:lnTo>
                    <a:pt x="104" y="676"/>
                  </a:lnTo>
                  <a:lnTo>
                    <a:pt x="108" y="678"/>
                  </a:lnTo>
                  <a:lnTo>
                    <a:pt x="112" y="680"/>
                  </a:lnTo>
                  <a:lnTo>
                    <a:pt x="120" y="678"/>
                  </a:lnTo>
                  <a:lnTo>
                    <a:pt x="128" y="674"/>
                  </a:lnTo>
                  <a:lnTo>
                    <a:pt x="136" y="672"/>
                  </a:lnTo>
                  <a:lnTo>
                    <a:pt x="136" y="672"/>
                  </a:lnTo>
                  <a:lnTo>
                    <a:pt x="140" y="670"/>
                  </a:lnTo>
                  <a:lnTo>
                    <a:pt x="144" y="668"/>
                  </a:lnTo>
                  <a:lnTo>
                    <a:pt x="146" y="664"/>
                  </a:lnTo>
                  <a:lnTo>
                    <a:pt x="148" y="660"/>
                  </a:lnTo>
                  <a:lnTo>
                    <a:pt x="148" y="658"/>
                  </a:lnTo>
                  <a:lnTo>
                    <a:pt x="150" y="660"/>
                  </a:lnTo>
                  <a:lnTo>
                    <a:pt x="150" y="660"/>
                  </a:lnTo>
                  <a:lnTo>
                    <a:pt x="156" y="668"/>
                  </a:lnTo>
                  <a:lnTo>
                    <a:pt x="162" y="676"/>
                  </a:lnTo>
                  <a:lnTo>
                    <a:pt x="164" y="686"/>
                  </a:lnTo>
                  <a:lnTo>
                    <a:pt x="164" y="688"/>
                  </a:lnTo>
                  <a:lnTo>
                    <a:pt x="162" y="692"/>
                  </a:lnTo>
                  <a:lnTo>
                    <a:pt x="162" y="692"/>
                  </a:lnTo>
                  <a:lnTo>
                    <a:pt x="160" y="694"/>
                  </a:lnTo>
                  <a:lnTo>
                    <a:pt x="158" y="696"/>
                  </a:lnTo>
                  <a:lnTo>
                    <a:pt x="158" y="704"/>
                  </a:lnTo>
                  <a:lnTo>
                    <a:pt x="160" y="712"/>
                  </a:lnTo>
                  <a:lnTo>
                    <a:pt x="160" y="718"/>
                  </a:lnTo>
                  <a:lnTo>
                    <a:pt x="160" y="718"/>
                  </a:lnTo>
                  <a:lnTo>
                    <a:pt x="160" y="720"/>
                  </a:lnTo>
                  <a:lnTo>
                    <a:pt x="164" y="722"/>
                  </a:lnTo>
                  <a:lnTo>
                    <a:pt x="174" y="722"/>
                  </a:lnTo>
                  <a:lnTo>
                    <a:pt x="184" y="720"/>
                  </a:lnTo>
                  <a:lnTo>
                    <a:pt x="188" y="718"/>
                  </a:lnTo>
                  <a:lnTo>
                    <a:pt x="188" y="714"/>
                  </a:lnTo>
                  <a:lnTo>
                    <a:pt x="188" y="714"/>
                  </a:lnTo>
                  <a:lnTo>
                    <a:pt x="190" y="712"/>
                  </a:lnTo>
                  <a:lnTo>
                    <a:pt x="194" y="710"/>
                  </a:lnTo>
                  <a:lnTo>
                    <a:pt x="204" y="708"/>
                  </a:lnTo>
                  <a:lnTo>
                    <a:pt x="216" y="710"/>
                  </a:lnTo>
                  <a:lnTo>
                    <a:pt x="222" y="714"/>
                  </a:lnTo>
                  <a:lnTo>
                    <a:pt x="226" y="718"/>
                  </a:lnTo>
                  <a:lnTo>
                    <a:pt x="226" y="718"/>
                  </a:lnTo>
                  <a:lnTo>
                    <a:pt x="234" y="726"/>
                  </a:lnTo>
                  <a:lnTo>
                    <a:pt x="240" y="730"/>
                  </a:lnTo>
                  <a:lnTo>
                    <a:pt x="242" y="730"/>
                  </a:lnTo>
                  <a:lnTo>
                    <a:pt x="242" y="728"/>
                  </a:lnTo>
                  <a:lnTo>
                    <a:pt x="244" y="724"/>
                  </a:lnTo>
                  <a:lnTo>
                    <a:pt x="244" y="724"/>
                  </a:lnTo>
                  <a:lnTo>
                    <a:pt x="246" y="716"/>
                  </a:lnTo>
                  <a:lnTo>
                    <a:pt x="248" y="708"/>
                  </a:lnTo>
                  <a:lnTo>
                    <a:pt x="252" y="706"/>
                  </a:lnTo>
                  <a:lnTo>
                    <a:pt x="254" y="706"/>
                  </a:lnTo>
                  <a:lnTo>
                    <a:pt x="254" y="710"/>
                  </a:lnTo>
                  <a:lnTo>
                    <a:pt x="254" y="710"/>
                  </a:lnTo>
                  <a:lnTo>
                    <a:pt x="258" y="714"/>
                  </a:lnTo>
                  <a:lnTo>
                    <a:pt x="262" y="718"/>
                  </a:lnTo>
                  <a:lnTo>
                    <a:pt x="272" y="716"/>
                  </a:lnTo>
                  <a:lnTo>
                    <a:pt x="284" y="712"/>
                  </a:lnTo>
                  <a:lnTo>
                    <a:pt x="284" y="712"/>
                  </a:lnTo>
                  <a:lnTo>
                    <a:pt x="294" y="710"/>
                  </a:lnTo>
                  <a:lnTo>
                    <a:pt x="296" y="710"/>
                  </a:lnTo>
                  <a:lnTo>
                    <a:pt x="296" y="710"/>
                  </a:lnTo>
                  <a:lnTo>
                    <a:pt x="292" y="716"/>
                  </a:lnTo>
                  <a:lnTo>
                    <a:pt x="286" y="726"/>
                  </a:lnTo>
                  <a:lnTo>
                    <a:pt x="286" y="726"/>
                  </a:lnTo>
                  <a:lnTo>
                    <a:pt x="282" y="732"/>
                  </a:lnTo>
                  <a:lnTo>
                    <a:pt x="280" y="738"/>
                  </a:lnTo>
                  <a:lnTo>
                    <a:pt x="278" y="752"/>
                  </a:lnTo>
                  <a:lnTo>
                    <a:pt x="280" y="764"/>
                  </a:lnTo>
                  <a:lnTo>
                    <a:pt x="278" y="766"/>
                  </a:lnTo>
                  <a:lnTo>
                    <a:pt x="276" y="768"/>
                  </a:lnTo>
                  <a:lnTo>
                    <a:pt x="276" y="768"/>
                  </a:lnTo>
                  <a:lnTo>
                    <a:pt x="272" y="770"/>
                  </a:lnTo>
                  <a:lnTo>
                    <a:pt x="268" y="774"/>
                  </a:lnTo>
                  <a:lnTo>
                    <a:pt x="262" y="784"/>
                  </a:lnTo>
                  <a:lnTo>
                    <a:pt x="252" y="792"/>
                  </a:lnTo>
                  <a:lnTo>
                    <a:pt x="248" y="796"/>
                  </a:lnTo>
                  <a:lnTo>
                    <a:pt x="242" y="798"/>
                  </a:lnTo>
                  <a:lnTo>
                    <a:pt x="242" y="798"/>
                  </a:lnTo>
                  <a:lnTo>
                    <a:pt x="236" y="800"/>
                  </a:lnTo>
                  <a:lnTo>
                    <a:pt x="228" y="804"/>
                  </a:lnTo>
                  <a:lnTo>
                    <a:pt x="214" y="814"/>
                  </a:lnTo>
                  <a:lnTo>
                    <a:pt x="202" y="826"/>
                  </a:lnTo>
                  <a:lnTo>
                    <a:pt x="196" y="834"/>
                  </a:lnTo>
                  <a:lnTo>
                    <a:pt x="196" y="834"/>
                  </a:lnTo>
                  <a:lnTo>
                    <a:pt x="194" y="834"/>
                  </a:lnTo>
                  <a:lnTo>
                    <a:pt x="188" y="834"/>
                  </a:lnTo>
                  <a:lnTo>
                    <a:pt x="176" y="832"/>
                  </a:lnTo>
                  <a:lnTo>
                    <a:pt x="162" y="832"/>
                  </a:lnTo>
                  <a:lnTo>
                    <a:pt x="156" y="834"/>
                  </a:lnTo>
                  <a:lnTo>
                    <a:pt x="154" y="838"/>
                  </a:lnTo>
                  <a:lnTo>
                    <a:pt x="154" y="838"/>
                  </a:lnTo>
                  <a:lnTo>
                    <a:pt x="148" y="848"/>
                  </a:lnTo>
                  <a:lnTo>
                    <a:pt x="140" y="856"/>
                  </a:lnTo>
                  <a:lnTo>
                    <a:pt x="134" y="862"/>
                  </a:lnTo>
                  <a:lnTo>
                    <a:pt x="134" y="866"/>
                  </a:lnTo>
                  <a:lnTo>
                    <a:pt x="134" y="868"/>
                  </a:lnTo>
                  <a:lnTo>
                    <a:pt x="134" y="868"/>
                  </a:lnTo>
                  <a:lnTo>
                    <a:pt x="136" y="868"/>
                  </a:lnTo>
                  <a:lnTo>
                    <a:pt x="140" y="868"/>
                  </a:lnTo>
                  <a:lnTo>
                    <a:pt x="152" y="862"/>
                  </a:lnTo>
                  <a:lnTo>
                    <a:pt x="162" y="856"/>
                  </a:lnTo>
                  <a:lnTo>
                    <a:pt x="164" y="854"/>
                  </a:lnTo>
                  <a:lnTo>
                    <a:pt x="166" y="850"/>
                  </a:lnTo>
                  <a:lnTo>
                    <a:pt x="166" y="850"/>
                  </a:lnTo>
                  <a:lnTo>
                    <a:pt x="168" y="846"/>
                  </a:lnTo>
                  <a:lnTo>
                    <a:pt x="170" y="846"/>
                  </a:lnTo>
                  <a:lnTo>
                    <a:pt x="172" y="846"/>
                  </a:lnTo>
                  <a:lnTo>
                    <a:pt x="176" y="850"/>
                  </a:lnTo>
                  <a:lnTo>
                    <a:pt x="176" y="850"/>
                  </a:lnTo>
                  <a:lnTo>
                    <a:pt x="178" y="850"/>
                  </a:lnTo>
                  <a:lnTo>
                    <a:pt x="182" y="852"/>
                  </a:lnTo>
                  <a:lnTo>
                    <a:pt x="188" y="850"/>
                  </a:lnTo>
                  <a:lnTo>
                    <a:pt x="198" y="842"/>
                  </a:lnTo>
                  <a:lnTo>
                    <a:pt x="198" y="842"/>
                  </a:lnTo>
                  <a:lnTo>
                    <a:pt x="204" y="840"/>
                  </a:lnTo>
                  <a:lnTo>
                    <a:pt x="208" y="840"/>
                  </a:lnTo>
                  <a:lnTo>
                    <a:pt x="218" y="840"/>
                  </a:lnTo>
                  <a:lnTo>
                    <a:pt x="218" y="840"/>
                  </a:lnTo>
                  <a:lnTo>
                    <a:pt x="222" y="840"/>
                  </a:lnTo>
                  <a:lnTo>
                    <a:pt x="226" y="836"/>
                  </a:lnTo>
                  <a:lnTo>
                    <a:pt x="232" y="834"/>
                  </a:lnTo>
                  <a:lnTo>
                    <a:pt x="242" y="830"/>
                  </a:lnTo>
                  <a:lnTo>
                    <a:pt x="242" y="830"/>
                  </a:lnTo>
                  <a:lnTo>
                    <a:pt x="252" y="828"/>
                  </a:lnTo>
                  <a:lnTo>
                    <a:pt x="256" y="824"/>
                  </a:lnTo>
                  <a:lnTo>
                    <a:pt x="260" y="814"/>
                  </a:lnTo>
                  <a:lnTo>
                    <a:pt x="260" y="814"/>
                  </a:lnTo>
                  <a:lnTo>
                    <a:pt x="262" y="810"/>
                  </a:lnTo>
                  <a:lnTo>
                    <a:pt x="268" y="806"/>
                  </a:lnTo>
                  <a:lnTo>
                    <a:pt x="282" y="798"/>
                  </a:lnTo>
                  <a:lnTo>
                    <a:pt x="308" y="786"/>
                  </a:lnTo>
                  <a:lnTo>
                    <a:pt x="308" y="786"/>
                  </a:lnTo>
                  <a:lnTo>
                    <a:pt x="312" y="782"/>
                  </a:lnTo>
                  <a:lnTo>
                    <a:pt x="314" y="778"/>
                  </a:lnTo>
                  <a:lnTo>
                    <a:pt x="316" y="774"/>
                  </a:lnTo>
                  <a:lnTo>
                    <a:pt x="318" y="772"/>
                  </a:lnTo>
                  <a:lnTo>
                    <a:pt x="320" y="770"/>
                  </a:lnTo>
                  <a:lnTo>
                    <a:pt x="320" y="770"/>
                  </a:lnTo>
                  <a:lnTo>
                    <a:pt x="326" y="768"/>
                  </a:lnTo>
                  <a:lnTo>
                    <a:pt x="334" y="764"/>
                  </a:lnTo>
                  <a:lnTo>
                    <a:pt x="350" y="752"/>
                  </a:lnTo>
                  <a:lnTo>
                    <a:pt x="350" y="752"/>
                  </a:lnTo>
                  <a:lnTo>
                    <a:pt x="356" y="748"/>
                  </a:lnTo>
                  <a:lnTo>
                    <a:pt x="360" y="746"/>
                  </a:lnTo>
                  <a:lnTo>
                    <a:pt x="370" y="744"/>
                  </a:lnTo>
                  <a:lnTo>
                    <a:pt x="370" y="744"/>
                  </a:lnTo>
                  <a:lnTo>
                    <a:pt x="372" y="742"/>
                  </a:lnTo>
                  <a:lnTo>
                    <a:pt x="374" y="740"/>
                  </a:lnTo>
                  <a:lnTo>
                    <a:pt x="376" y="734"/>
                  </a:lnTo>
                  <a:lnTo>
                    <a:pt x="376" y="728"/>
                  </a:lnTo>
                  <a:lnTo>
                    <a:pt x="378" y="726"/>
                  </a:lnTo>
                  <a:lnTo>
                    <a:pt x="380" y="724"/>
                  </a:lnTo>
                  <a:lnTo>
                    <a:pt x="380" y="724"/>
                  </a:lnTo>
                  <a:lnTo>
                    <a:pt x="386" y="722"/>
                  </a:lnTo>
                  <a:lnTo>
                    <a:pt x="390" y="720"/>
                  </a:lnTo>
                  <a:lnTo>
                    <a:pt x="392" y="716"/>
                  </a:lnTo>
                  <a:lnTo>
                    <a:pt x="394" y="710"/>
                  </a:lnTo>
                  <a:lnTo>
                    <a:pt x="394" y="710"/>
                  </a:lnTo>
                  <a:lnTo>
                    <a:pt x="392" y="708"/>
                  </a:lnTo>
                  <a:lnTo>
                    <a:pt x="390" y="706"/>
                  </a:lnTo>
                  <a:lnTo>
                    <a:pt x="384" y="704"/>
                  </a:lnTo>
                  <a:lnTo>
                    <a:pt x="376" y="702"/>
                  </a:lnTo>
                  <a:lnTo>
                    <a:pt x="372" y="700"/>
                  </a:lnTo>
                  <a:lnTo>
                    <a:pt x="372" y="700"/>
                  </a:lnTo>
                  <a:lnTo>
                    <a:pt x="374" y="694"/>
                  </a:lnTo>
                  <a:lnTo>
                    <a:pt x="380" y="688"/>
                  </a:lnTo>
                  <a:lnTo>
                    <a:pt x="388" y="682"/>
                  </a:lnTo>
                  <a:lnTo>
                    <a:pt x="394" y="680"/>
                  </a:lnTo>
                  <a:lnTo>
                    <a:pt x="394" y="680"/>
                  </a:lnTo>
                  <a:lnTo>
                    <a:pt x="400" y="680"/>
                  </a:lnTo>
                  <a:lnTo>
                    <a:pt x="406" y="676"/>
                  </a:lnTo>
                  <a:lnTo>
                    <a:pt x="410" y="670"/>
                  </a:lnTo>
                  <a:lnTo>
                    <a:pt x="412" y="664"/>
                  </a:lnTo>
                  <a:lnTo>
                    <a:pt x="412" y="664"/>
                  </a:lnTo>
                  <a:lnTo>
                    <a:pt x="414" y="658"/>
                  </a:lnTo>
                  <a:lnTo>
                    <a:pt x="418" y="654"/>
                  </a:lnTo>
                  <a:lnTo>
                    <a:pt x="424" y="650"/>
                  </a:lnTo>
                  <a:lnTo>
                    <a:pt x="430" y="644"/>
                  </a:lnTo>
                  <a:lnTo>
                    <a:pt x="430" y="644"/>
                  </a:lnTo>
                  <a:lnTo>
                    <a:pt x="436" y="638"/>
                  </a:lnTo>
                  <a:lnTo>
                    <a:pt x="438" y="632"/>
                  </a:lnTo>
                  <a:lnTo>
                    <a:pt x="440" y="630"/>
                  </a:lnTo>
                  <a:lnTo>
                    <a:pt x="444" y="628"/>
                  </a:lnTo>
                  <a:lnTo>
                    <a:pt x="444" y="628"/>
                  </a:lnTo>
                  <a:lnTo>
                    <a:pt x="450" y="626"/>
                  </a:lnTo>
                  <a:lnTo>
                    <a:pt x="456" y="622"/>
                  </a:lnTo>
                  <a:lnTo>
                    <a:pt x="468" y="612"/>
                  </a:lnTo>
                  <a:lnTo>
                    <a:pt x="468" y="612"/>
                  </a:lnTo>
                  <a:lnTo>
                    <a:pt x="472" y="610"/>
                  </a:lnTo>
                  <a:lnTo>
                    <a:pt x="474" y="612"/>
                  </a:lnTo>
                  <a:lnTo>
                    <a:pt x="476" y="616"/>
                  </a:lnTo>
                  <a:lnTo>
                    <a:pt x="480" y="618"/>
                  </a:lnTo>
                  <a:lnTo>
                    <a:pt x="484" y="618"/>
                  </a:lnTo>
                  <a:lnTo>
                    <a:pt x="484" y="618"/>
                  </a:lnTo>
                  <a:lnTo>
                    <a:pt x="490" y="618"/>
                  </a:lnTo>
                  <a:lnTo>
                    <a:pt x="494" y="620"/>
                  </a:lnTo>
                  <a:lnTo>
                    <a:pt x="496" y="624"/>
                  </a:lnTo>
                  <a:lnTo>
                    <a:pt x="496" y="626"/>
                  </a:lnTo>
                  <a:lnTo>
                    <a:pt x="494" y="628"/>
                  </a:lnTo>
                  <a:lnTo>
                    <a:pt x="492" y="630"/>
                  </a:lnTo>
                  <a:lnTo>
                    <a:pt x="490" y="630"/>
                  </a:lnTo>
                  <a:lnTo>
                    <a:pt x="486" y="628"/>
                  </a:lnTo>
                  <a:lnTo>
                    <a:pt x="486" y="628"/>
                  </a:lnTo>
                  <a:lnTo>
                    <a:pt x="478" y="626"/>
                  </a:lnTo>
                  <a:lnTo>
                    <a:pt x="470" y="626"/>
                  </a:lnTo>
                  <a:lnTo>
                    <a:pt x="464" y="628"/>
                  </a:lnTo>
                  <a:lnTo>
                    <a:pt x="456" y="634"/>
                  </a:lnTo>
                  <a:lnTo>
                    <a:pt x="456" y="634"/>
                  </a:lnTo>
                  <a:lnTo>
                    <a:pt x="452" y="640"/>
                  </a:lnTo>
                  <a:lnTo>
                    <a:pt x="450" y="646"/>
                  </a:lnTo>
                  <a:lnTo>
                    <a:pt x="450" y="652"/>
                  </a:lnTo>
                  <a:lnTo>
                    <a:pt x="446" y="658"/>
                  </a:lnTo>
                  <a:lnTo>
                    <a:pt x="446" y="658"/>
                  </a:lnTo>
                  <a:lnTo>
                    <a:pt x="440" y="666"/>
                  </a:lnTo>
                  <a:lnTo>
                    <a:pt x="440" y="672"/>
                  </a:lnTo>
                  <a:lnTo>
                    <a:pt x="442" y="676"/>
                  </a:lnTo>
                  <a:lnTo>
                    <a:pt x="448" y="678"/>
                  </a:lnTo>
                  <a:lnTo>
                    <a:pt x="448" y="678"/>
                  </a:lnTo>
                  <a:lnTo>
                    <a:pt x="450" y="680"/>
                  </a:lnTo>
                  <a:lnTo>
                    <a:pt x="452" y="680"/>
                  </a:lnTo>
                  <a:lnTo>
                    <a:pt x="450" y="684"/>
                  </a:lnTo>
                  <a:lnTo>
                    <a:pt x="446" y="688"/>
                  </a:lnTo>
                  <a:lnTo>
                    <a:pt x="438" y="690"/>
                  </a:lnTo>
                  <a:lnTo>
                    <a:pt x="438" y="690"/>
                  </a:lnTo>
                  <a:lnTo>
                    <a:pt x="434" y="694"/>
                  </a:lnTo>
                  <a:lnTo>
                    <a:pt x="434" y="694"/>
                  </a:lnTo>
                  <a:lnTo>
                    <a:pt x="434" y="696"/>
                  </a:lnTo>
                  <a:lnTo>
                    <a:pt x="440" y="698"/>
                  </a:lnTo>
                  <a:lnTo>
                    <a:pt x="448" y="700"/>
                  </a:lnTo>
                  <a:lnTo>
                    <a:pt x="448" y="700"/>
                  </a:lnTo>
                  <a:lnTo>
                    <a:pt x="454" y="698"/>
                  </a:lnTo>
                  <a:lnTo>
                    <a:pt x="460" y="696"/>
                  </a:lnTo>
                  <a:lnTo>
                    <a:pt x="474" y="688"/>
                  </a:lnTo>
                  <a:lnTo>
                    <a:pt x="488" y="678"/>
                  </a:lnTo>
                  <a:lnTo>
                    <a:pt x="502" y="670"/>
                  </a:lnTo>
                  <a:lnTo>
                    <a:pt x="502" y="670"/>
                  </a:lnTo>
                  <a:lnTo>
                    <a:pt x="510" y="668"/>
                  </a:lnTo>
                  <a:lnTo>
                    <a:pt x="516" y="666"/>
                  </a:lnTo>
                  <a:lnTo>
                    <a:pt x="528" y="666"/>
                  </a:lnTo>
                  <a:lnTo>
                    <a:pt x="536" y="668"/>
                  </a:lnTo>
                  <a:lnTo>
                    <a:pt x="542" y="668"/>
                  </a:lnTo>
                  <a:lnTo>
                    <a:pt x="542" y="668"/>
                  </a:lnTo>
                  <a:lnTo>
                    <a:pt x="544" y="668"/>
                  </a:lnTo>
                  <a:lnTo>
                    <a:pt x="544" y="666"/>
                  </a:lnTo>
                  <a:lnTo>
                    <a:pt x="542" y="662"/>
                  </a:lnTo>
                  <a:lnTo>
                    <a:pt x="540" y="658"/>
                  </a:lnTo>
                  <a:lnTo>
                    <a:pt x="540" y="656"/>
                  </a:lnTo>
                  <a:lnTo>
                    <a:pt x="542" y="654"/>
                  </a:lnTo>
                  <a:lnTo>
                    <a:pt x="542" y="654"/>
                  </a:lnTo>
                  <a:lnTo>
                    <a:pt x="544" y="654"/>
                  </a:lnTo>
                  <a:lnTo>
                    <a:pt x="544" y="652"/>
                  </a:lnTo>
                  <a:lnTo>
                    <a:pt x="540" y="650"/>
                  </a:lnTo>
                  <a:lnTo>
                    <a:pt x="536" y="644"/>
                  </a:lnTo>
                  <a:lnTo>
                    <a:pt x="530" y="638"/>
                  </a:lnTo>
                  <a:lnTo>
                    <a:pt x="530" y="638"/>
                  </a:lnTo>
                  <a:lnTo>
                    <a:pt x="530" y="632"/>
                  </a:lnTo>
                  <a:lnTo>
                    <a:pt x="532" y="630"/>
                  </a:lnTo>
                  <a:lnTo>
                    <a:pt x="536" y="628"/>
                  </a:lnTo>
                  <a:lnTo>
                    <a:pt x="538" y="628"/>
                  </a:lnTo>
                  <a:lnTo>
                    <a:pt x="540" y="624"/>
                  </a:lnTo>
                  <a:lnTo>
                    <a:pt x="540" y="624"/>
                  </a:lnTo>
                  <a:lnTo>
                    <a:pt x="542" y="620"/>
                  </a:lnTo>
                  <a:lnTo>
                    <a:pt x="546" y="620"/>
                  </a:lnTo>
                  <a:lnTo>
                    <a:pt x="550" y="620"/>
                  </a:lnTo>
                  <a:lnTo>
                    <a:pt x="554" y="624"/>
                  </a:lnTo>
                  <a:lnTo>
                    <a:pt x="554" y="624"/>
                  </a:lnTo>
                  <a:lnTo>
                    <a:pt x="560" y="624"/>
                  </a:lnTo>
                  <a:lnTo>
                    <a:pt x="564" y="624"/>
                  </a:lnTo>
                  <a:lnTo>
                    <a:pt x="570" y="626"/>
                  </a:lnTo>
                  <a:lnTo>
                    <a:pt x="572" y="628"/>
                  </a:lnTo>
                  <a:lnTo>
                    <a:pt x="574" y="630"/>
                  </a:lnTo>
                  <a:lnTo>
                    <a:pt x="574" y="630"/>
                  </a:lnTo>
                  <a:lnTo>
                    <a:pt x="576" y="634"/>
                  </a:lnTo>
                  <a:lnTo>
                    <a:pt x="578" y="636"/>
                  </a:lnTo>
                  <a:lnTo>
                    <a:pt x="584" y="634"/>
                  </a:lnTo>
                  <a:lnTo>
                    <a:pt x="590" y="634"/>
                  </a:lnTo>
                  <a:lnTo>
                    <a:pt x="592" y="634"/>
                  </a:lnTo>
                  <a:lnTo>
                    <a:pt x="596" y="636"/>
                  </a:lnTo>
                  <a:lnTo>
                    <a:pt x="596" y="636"/>
                  </a:lnTo>
                  <a:lnTo>
                    <a:pt x="600" y="640"/>
                  </a:lnTo>
                  <a:lnTo>
                    <a:pt x="598" y="642"/>
                  </a:lnTo>
                  <a:lnTo>
                    <a:pt x="598" y="642"/>
                  </a:lnTo>
                  <a:lnTo>
                    <a:pt x="584" y="644"/>
                  </a:lnTo>
                  <a:lnTo>
                    <a:pt x="584" y="644"/>
                  </a:lnTo>
                  <a:lnTo>
                    <a:pt x="580" y="646"/>
                  </a:lnTo>
                  <a:lnTo>
                    <a:pt x="578" y="648"/>
                  </a:lnTo>
                  <a:lnTo>
                    <a:pt x="578" y="652"/>
                  </a:lnTo>
                  <a:lnTo>
                    <a:pt x="582" y="656"/>
                  </a:lnTo>
                  <a:lnTo>
                    <a:pt x="584" y="656"/>
                  </a:lnTo>
                  <a:lnTo>
                    <a:pt x="586" y="654"/>
                  </a:lnTo>
                  <a:lnTo>
                    <a:pt x="586" y="654"/>
                  </a:lnTo>
                  <a:lnTo>
                    <a:pt x="592" y="650"/>
                  </a:lnTo>
                  <a:lnTo>
                    <a:pt x="598" y="648"/>
                  </a:lnTo>
                  <a:lnTo>
                    <a:pt x="604" y="648"/>
                  </a:lnTo>
                  <a:lnTo>
                    <a:pt x="608" y="650"/>
                  </a:lnTo>
                  <a:lnTo>
                    <a:pt x="608" y="650"/>
                  </a:lnTo>
                  <a:lnTo>
                    <a:pt x="614" y="654"/>
                  </a:lnTo>
                  <a:lnTo>
                    <a:pt x="618" y="654"/>
                  </a:lnTo>
                  <a:lnTo>
                    <a:pt x="620" y="652"/>
                  </a:lnTo>
                  <a:lnTo>
                    <a:pt x="624" y="648"/>
                  </a:lnTo>
                  <a:lnTo>
                    <a:pt x="624" y="648"/>
                  </a:lnTo>
                  <a:lnTo>
                    <a:pt x="628" y="646"/>
                  </a:lnTo>
                  <a:lnTo>
                    <a:pt x="630" y="646"/>
                  </a:lnTo>
                  <a:lnTo>
                    <a:pt x="630" y="654"/>
                  </a:lnTo>
                  <a:lnTo>
                    <a:pt x="630" y="654"/>
                  </a:lnTo>
                  <a:lnTo>
                    <a:pt x="634" y="656"/>
                  </a:lnTo>
                  <a:lnTo>
                    <a:pt x="640" y="658"/>
                  </a:lnTo>
                  <a:lnTo>
                    <a:pt x="662" y="662"/>
                  </a:lnTo>
                  <a:lnTo>
                    <a:pt x="662" y="662"/>
                  </a:lnTo>
                  <a:lnTo>
                    <a:pt x="678" y="664"/>
                  </a:lnTo>
                  <a:lnTo>
                    <a:pt x="694" y="664"/>
                  </a:lnTo>
                  <a:lnTo>
                    <a:pt x="720" y="660"/>
                  </a:lnTo>
                  <a:lnTo>
                    <a:pt x="720" y="660"/>
                  </a:lnTo>
                  <a:lnTo>
                    <a:pt x="724" y="662"/>
                  </a:lnTo>
                  <a:lnTo>
                    <a:pt x="726" y="662"/>
                  </a:lnTo>
                  <a:lnTo>
                    <a:pt x="730" y="668"/>
                  </a:lnTo>
                  <a:lnTo>
                    <a:pt x="734" y="674"/>
                  </a:lnTo>
                  <a:lnTo>
                    <a:pt x="738" y="676"/>
                  </a:lnTo>
                  <a:lnTo>
                    <a:pt x="744" y="678"/>
                  </a:lnTo>
                  <a:lnTo>
                    <a:pt x="744" y="678"/>
                  </a:lnTo>
                  <a:lnTo>
                    <a:pt x="752" y="678"/>
                  </a:lnTo>
                  <a:lnTo>
                    <a:pt x="756" y="676"/>
                  </a:lnTo>
                  <a:lnTo>
                    <a:pt x="766" y="670"/>
                  </a:lnTo>
                  <a:lnTo>
                    <a:pt x="772" y="666"/>
                  </a:lnTo>
                  <a:lnTo>
                    <a:pt x="774" y="664"/>
                  </a:lnTo>
                  <a:lnTo>
                    <a:pt x="778" y="666"/>
                  </a:lnTo>
                  <a:lnTo>
                    <a:pt x="778" y="666"/>
                  </a:lnTo>
                  <a:lnTo>
                    <a:pt x="782" y="672"/>
                  </a:lnTo>
                  <a:lnTo>
                    <a:pt x="782" y="676"/>
                  </a:lnTo>
                  <a:lnTo>
                    <a:pt x="772" y="684"/>
                  </a:lnTo>
                  <a:lnTo>
                    <a:pt x="772" y="684"/>
                  </a:lnTo>
                  <a:lnTo>
                    <a:pt x="772" y="686"/>
                  </a:lnTo>
                  <a:lnTo>
                    <a:pt x="772" y="686"/>
                  </a:lnTo>
                  <a:lnTo>
                    <a:pt x="774" y="690"/>
                  </a:lnTo>
                  <a:lnTo>
                    <a:pt x="786" y="694"/>
                  </a:lnTo>
                  <a:lnTo>
                    <a:pt x="786" y="694"/>
                  </a:lnTo>
                  <a:lnTo>
                    <a:pt x="802" y="700"/>
                  </a:lnTo>
                  <a:lnTo>
                    <a:pt x="810" y="704"/>
                  </a:lnTo>
                  <a:lnTo>
                    <a:pt x="818" y="708"/>
                  </a:lnTo>
                  <a:lnTo>
                    <a:pt x="818" y="708"/>
                  </a:lnTo>
                  <a:lnTo>
                    <a:pt x="830" y="722"/>
                  </a:lnTo>
                  <a:lnTo>
                    <a:pt x="838" y="728"/>
                  </a:lnTo>
                  <a:lnTo>
                    <a:pt x="850" y="734"/>
                  </a:lnTo>
                  <a:lnTo>
                    <a:pt x="850" y="734"/>
                  </a:lnTo>
                  <a:lnTo>
                    <a:pt x="856" y="736"/>
                  </a:lnTo>
                  <a:lnTo>
                    <a:pt x="858" y="736"/>
                  </a:lnTo>
                  <a:lnTo>
                    <a:pt x="860" y="732"/>
                  </a:lnTo>
                  <a:lnTo>
                    <a:pt x="860" y="728"/>
                  </a:lnTo>
                  <a:lnTo>
                    <a:pt x="860" y="720"/>
                  </a:lnTo>
                  <a:lnTo>
                    <a:pt x="862" y="720"/>
                  </a:lnTo>
                  <a:lnTo>
                    <a:pt x="866" y="722"/>
                  </a:lnTo>
                  <a:lnTo>
                    <a:pt x="866" y="722"/>
                  </a:lnTo>
                  <a:lnTo>
                    <a:pt x="874" y="726"/>
                  </a:lnTo>
                  <a:lnTo>
                    <a:pt x="878" y="728"/>
                  </a:lnTo>
                  <a:lnTo>
                    <a:pt x="882" y="728"/>
                  </a:lnTo>
                  <a:lnTo>
                    <a:pt x="888" y="732"/>
                  </a:lnTo>
                  <a:lnTo>
                    <a:pt x="888" y="732"/>
                  </a:lnTo>
                  <a:lnTo>
                    <a:pt x="892" y="736"/>
                  </a:lnTo>
                  <a:lnTo>
                    <a:pt x="894" y="736"/>
                  </a:lnTo>
                  <a:lnTo>
                    <a:pt x="896" y="736"/>
                  </a:lnTo>
                  <a:lnTo>
                    <a:pt x="896" y="732"/>
                  </a:lnTo>
                  <a:lnTo>
                    <a:pt x="894" y="722"/>
                  </a:lnTo>
                  <a:lnTo>
                    <a:pt x="890" y="710"/>
                  </a:lnTo>
                  <a:lnTo>
                    <a:pt x="890" y="710"/>
                  </a:lnTo>
                  <a:lnTo>
                    <a:pt x="888" y="702"/>
                  </a:lnTo>
                  <a:lnTo>
                    <a:pt x="890" y="700"/>
                  </a:lnTo>
                  <a:lnTo>
                    <a:pt x="892" y="702"/>
                  </a:lnTo>
                  <a:lnTo>
                    <a:pt x="896" y="706"/>
                  </a:lnTo>
                  <a:lnTo>
                    <a:pt x="900" y="712"/>
                  </a:lnTo>
                  <a:lnTo>
                    <a:pt x="900" y="712"/>
                  </a:lnTo>
                  <a:lnTo>
                    <a:pt x="904" y="720"/>
                  </a:lnTo>
                  <a:lnTo>
                    <a:pt x="906" y="730"/>
                  </a:lnTo>
                  <a:lnTo>
                    <a:pt x="904" y="740"/>
                  </a:lnTo>
                  <a:lnTo>
                    <a:pt x="902" y="748"/>
                  </a:lnTo>
                  <a:lnTo>
                    <a:pt x="902" y="748"/>
                  </a:lnTo>
                  <a:lnTo>
                    <a:pt x="900" y="752"/>
                  </a:lnTo>
                  <a:lnTo>
                    <a:pt x="898" y="752"/>
                  </a:lnTo>
                  <a:lnTo>
                    <a:pt x="890" y="752"/>
                  </a:lnTo>
                  <a:lnTo>
                    <a:pt x="884" y="748"/>
                  </a:lnTo>
                  <a:lnTo>
                    <a:pt x="882" y="746"/>
                  </a:lnTo>
                  <a:lnTo>
                    <a:pt x="882" y="744"/>
                  </a:lnTo>
                  <a:lnTo>
                    <a:pt x="882" y="744"/>
                  </a:lnTo>
                  <a:lnTo>
                    <a:pt x="882" y="742"/>
                  </a:lnTo>
                  <a:lnTo>
                    <a:pt x="880" y="740"/>
                  </a:lnTo>
                  <a:lnTo>
                    <a:pt x="874" y="740"/>
                  </a:lnTo>
                  <a:lnTo>
                    <a:pt x="868" y="744"/>
                  </a:lnTo>
                  <a:lnTo>
                    <a:pt x="866" y="746"/>
                  </a:lnTo>
                  <a:lnTo>
                    <a:pt x="864" y="748"/>
                  </a:lnTo>
                  <a:lnTo>
                    <a:pt x="864" y="748"/>
                  </a:lnTo>
                  <a:lnTo>
                    <a:pt x="866" y="756"/>
                  </a:lnTo>
                  <a:lnTo>
                    <a:pt x="872" y="764"/>
                  </a:lnTo>
                  <a:lnTo>
                    <a:pt x="878" y="772"/>
                  </a:lnTo>
                  <a:lnTo>
                    <a:pt x="886" y="776"/>
                  </a:lnTo>
                  <a:lnTo>
                    <a:pt x="886" y="776"/>
                  </a:lnTo>
                  <a:lnTo>
                    <a:pt x="890" y="776"/>
                  </a:lnTo>
                  <a:lnTo>
                    <a:pt x="890" y="778"/>
                  </a:lnTo>
                  <a:lnTo>
                    <a:pt x="892" y="784"/>
                  </a:lnTo>
                  <a:lnTo>
                    <a:pt x="892" y="790"/>
                  </a:lnTo>
                  <a:lnTo>
                    <a:pt x="894" y="792"/>
                  </a:lnTo>
                  <a:lnTo>
                    <a:pt x="894" y="794"/>
                  </a:lnTo>
                  <a:lnTo>
                    <a:pt x="894" y="794"/>
                  </a:lnTo>
                  <a:lnTo>
                    <a:pt x="898" y="796"/>
                  </a:lnTo>
                  <a:lnTo>
                    <a:pt x="900" y="798"/>
                  </a:lnTo>
                  <a:lnTo>
                    <a:pt x="902" y="804"/>
                  </a:lnTo>
                  <a:lnTo>
                    <a:pt x="904" y="808"/>
                  </a:lnTo>
                  <a:lnTo>
                    <a:pt x="906" y="810"/>
                  </a:lnTo>
                  <a:lnTo>
                    <a:pt x="908" y="810"/>
                  </a:lnTo>
                  <a:lnTo>
                    <a:pt x="908" y="810"/>
                  </a:lnTo>
                  <a:lnTo>
                    <a:pt x="910" y="806"/>
                  </a:lnTo>
                  <a:lnTo>
                    <a:pt x="910" y="798"/>
                  </a:lnTo>
                  <a:lnTo>
                    <a:pt x="908" y="788"/>
                  </a:lnTo>
                  <a:lnTo>
                    <a:pt x="906" y="780"/>
                  </a:lnTo>
                  <a:lnTo>
                    <a:pt x="906" y="780"/>
                  </a:lnTo>
                  <a:lnTo>
                    <a:pt x="902" y="774"/>
                  </a:lnTo>
                  <a:lnTo>
                    <a:pt x="902" y="766"/>
                  </a:lnTo>
                  <a:lnTo>
                    <a:pt x="904" y="762"/>
                  </a:lnTo>
                  <a:lnTo>
                    <a:pt x="906" y="762"/>
                  </a:lnTo>
                  <a:lnTo>
                    <a:pt x="910" y="762"/>
                  </a:lnTo>
                  <a:lnTo>
                    <a:pt x="910" y="762"/>
                  </a:lnTo>
                  <a:lnTo>
                    <a:pt x="912" y="764"/>
                  </a:lnTo>
                  <a:lnTo>
                    <a:pt x="912" y="766"/>
                  </a:lnTo>
                  <a:lnTo>
                    <a:pt x="912" y="770"/>
                  </a:lnTo>
                  <a:lnTo>
                    <a:pt x="912" y="776"/>
                  </a:lnTo>
                  <a:lnTo>
                    <a:pt x="914" y="782"/>
                  </a:lnTo>
                  <a:lnTo>
                    <a:pt x="914" y="782"/>
                  </a:lnTo>
                  <a:lnTo>
                    <a:pt x="916" y="782"/>
                  </a:lnTo>
                  <a:lnTo>
                    <a:pt x="920" y="780"/>
                  </a:lnTo>
                  <a:lnTo>
                    <a:pt x="930" y="772"/>
                  </a:lnTo>
                  <a:lnTo>
                    <a:pt x="930" y="772"/>
                  </a:lnTo>
                  <a:lnTo>
                    <a:pt x="932" y="770"/>
                  </a:lnTo>
                  <a:lnTo>
                    <a:pt x="932" y="768"/>
                  </a:lnTo>
                  <a:lnTo>
                    <a:pt x="932" y="760"/>
                  </a:lnTo>
                  <a:lnTo>
                    <a:pt x="928" y="752"/>
                  </a:lnTo>
                  <a:lnTo>
                    <a:pt x="928" y="746"/>
                  </a:lnTo>
                  <a:lnTo>
                    <a:pt x="928" y="746"/>
                  </a:lnTo>
                  <a:lnTo>
                    <a:pt x="930" y="744"/>
                  </a:lnTo>
                  <a:lnTo>
                    <a:pt x="932" y="744"/>
                  </a:lnTo>
                  <a:lnTo>
                    <a:pt x="936" y="748"/>
                  </a:lnTo>
                  <a:lnTo>
                    <a:pt x="942" y="756"/>
                  </a:lnTo>
                  <a:lnTo>
                    <a:pt x="946" y="764"/>
                  </a:lnTo>
                  <a:lnTo>
                    <a:pt x="946" y="764"/>
                  </a:lnTo>
                  <a:lnTo>
                    <a:pt x="946" y="770"/>
                  </a:lnTo>
                  <a:lnTo>
                    <a:pt x="946" y="772"/>
                  </a:lnTo>
                  <a:lnTo>
                    <a:pt x="942" y="776"/>
                  </a:lnTo>
                  <a:lnTo>
                    <a:pt x="938" y="780"/>
                  </a:lnTo>
                  <a:lnTo>
                    <a:pt x="936" y="784"/>
                  </a:lnTo>
                  <a:lnTo>
                    <a:pt x="936" y="784"/>
                  </a:lnTo>
                  <a:lnTo>
                    <a:pt x="934" y="788"/>
                  </a:lnTo>
                  <a:lnTo>
                    <a:pt x="930" y="788"/>
                  </a:lnTo>
                  <a:lnTo>
                    <a:pt x="924" y="790"/>
                  </a:lnTo>
                  <a:lnTo>
                    <a:pt x="920" y="790"/>
                  </a:lnTo>
                  <a:lnTo>
                    <a:pt x="920" y="790"/>
                  </a:lnTo>
                  <a:lnTo>
                    <a:pt x="920" y="796"/>
                  </a:lnTo>
                  <a:lnTo>
                    <a:pt x="920" y="806"/>
                  </a:lnTo>
                  <a:lnTo>
                    <a:pt x="920" y="816"/>
                  </a:lnTo>
                  <a:lnTo>
                    <a:pt x="922" y="818"/>
                  </a:lnTo>
                  <a:lnTo>
                    <a:pt x="924" y="820"/>
                  </a:lnTo>
                  <a:lnTo>
                    <a:pt x="924" y="820"/>
                  </a:lnTo>
                  <a:lnTo>
                    <a:pt x="926" y="818"/>
                  </a:lnTo>
                  <a:lnTo>
                    <a:pt x="928" y="816"/>
                  </a:lnTo>
                  <a:lnTo>
                    <a:pt x="930" y="810"/>
                  </a:lnTo>
                  <a:lnTo>
                    <a:pt x="932" y="806"/>
                  </a:lnTo>
                  <a:lnTo>
                    <a:pt x="934" y="808"/>
                  </a:lnTo>
                  <a:lnTo>
                    <a:pt x="934" y="810"/>
                  </a:lnTo>
                  <a:lnTo>
                    <a:pt x="934" y="810"/>
                  </a:lnTo>
                  <a:lnTo>
                    <a:pt x="936" y="812"/>
                  </a:lnTo>
                  <a:lnTo>
                    <a:pt x="938" y="812"/>
                  </a:lnTo>
                  <a:lnTo>
                    <a:pt x="944" y="808"/>
                  </a:lnTo>
                  <a:lnTo>
                    <a:pt x="948" y="804"/>
                  </a:lnTo>
                  <a:lnTo>
                    <a:pt x="950" y="804"/>
                  </a:lnTo>
                  <a:lnTo>
                    <a:pt x="952" y="806"/>
                  </a:lnTo>
                  <a:lnTo>
                    <a:pt x="952" y="806"/>
                  </a:lnTo>
                  <a:lnTo>
                    <a:pt x="956" y="814"/>
                  </a:lnTo>
                  <a:lnTo>
                    <a:pt x="962" y="820"/>
                  </a:lnTo>
                  <a:lnTo>
                    <a:pt x="970" y="824"/>
                  </a:lnTo>
                  <a:lnTo>
                    <a:pt x="976" y="824"/>
                  </a:lnTo>
                  <a:lnTo>
                    <a:pt x="976" y="824"/>
                  </a:lnTo>
                  <a:lnTo>
                    <a:pt x="976" y="822"/>
                  </a:lnTo>
                  <a:lnTo>
                    <a:pt x="978" y="822"/>
                  </a:lnTo>
                  <a:lnTo>
                    <a:pt x="976" y="816"/>
                  </a:lnTo>
                  <a:lnTo>
                    <a:pt x="970" y="812"/>
                  </a:lnTo>
                  <a:lnTo>
                    <a:pt x="964" y="810"/>
                  </a:lnTo>
                  <a:lnTo>
                    <a:pt x="964" y="810"/>
                  </a:lnTo>
                  <a:lnTo>
                    <a:pt x="962" y="810"/>
                  </a:lnTo>
                  <a:lnTo>
                    <a:pt x="960" y="808"/>
                  </a:lnTo>
                  <a:lnTo>
                    <a:pt x="958" y="804"/>
                  </a:lnTo>
                  <a:lnTo>
                    <a:pt x="960" y="798"/>
                  </a:lnTo>
                  <a:lnTo>
                    <a:pt x="962" y="796"/>
                  </a:lnTo>
                  <a:lnTo>
                    <a:pt x="966" y="796"/>
                  </a:lnTo>
                  <a:lnTo>
                    <a:pt x="966" y="796"/>
                  </a:lnTo>
                  <a:lnTo>
                    <a:pt x="968" y="796"/>
                  </a:lnTo>
                  <a:lnTo>
                    <a:pt x="972" y="798"/>
                  </a:lnTo>
                  <a:lnTo>
                    <a:pt x="978" y="806"/>
                  </a:lnTo>
                  <a:lnTo>
                    <a:pt x="984" y="816"/>
                  </a:lnTo>
                  <a:lnTo>
                    <a:pt x="986" y="822"/>
                  </a:lnTo>
                  <a:lnTo>
                    <a:pt x="986" y="822"/>
                  </a:lnTo>
                  <a:lnTo>
                    <a:pt x="984" y="828"/>
                  </a:lnTo>
                  <a:lnTo>
                    <a:pt x="982" y="830"/>
                  </a:lnTo>
                  <a:lnTo>
                    <a:pt x="978" y="832"/>
                  </a:lnTo>
                  <a:lnTo>
                    <a:pt x="972" y="836"/>
                  </a:lnTo>
                  <a:lnTo>
                    <a:pt x="972" y="836"/>
                  </a:lnTo>
                  <a:lnTo>
                    <a:pt x="970" y="838"/>
                  </a:lnTo>
                  <a:lnTo>
                    <a:pt x="966" y="838"/>
                  </a:lnTo>
                  <a:lnTo>
                    <a:pt x="960" y="834"/>
                  </a:lnTo>
                  <a:lnTo>
                    <a:pt x="954" y="828"/>
                  </a:lnTo>
                  <a:lnTo>
                    <a:pt x="952" y="826"/>
                  </a:lnTo>
                  <a:lnTo>
                    <a:pt x="948" y="826"/>
                  </a:lnTo>
                  <a:lnTo>
                    <a:pt x="948" y="826"/>
                  </a:lnTo>
                  <a:lnTo>
                    <a:pt x="946" y="826"/>
                  </a:lnTo>
                  <a:lnTo>
                    <a:pt x="946" y="828"/>
                  </a:lnTo>
                  <a:lnTo>
                    <a:pt x="946" y="832"/>
                  </a:lnTo>
                  <a:lnTo>
                    <a:pt x="952" y="846"/>
                  </a:lnTo>
                  <a:lnTo>
                    <a:pt x="952" y="846"/>
                  </a:lnTo>
                  <a:lnTo>
                    <a:pt x="952" y="850"/>
                  </a:lnTo>
                  <a:lnTo>
                    <a:pt x="952" y="854"/>
                  </a:lnTo>
                  <a:lnTo>
                    <a:pt x="950" y="860"/>
                  </a:lnTo>
                  <a:lnTo>
                    <a:pt x="948" y="868"/>
                  </a:lnTo>
                  <a:lnTo>
                    <a:pt x="950" y="870"/>
                  </a:lnTo>
                  <a:lnTo>
                    <a:pt x="952" y="874"/>
                  </a:lnTo>
                  <a:lnTo>
                    <a:pt x="952" y="874"/>
                  </a:lnTo>
                  <a:lnTo>
                    <a:pt x="958" y="876"/>
                  </a:lnTo>
                  <a:lnTo>
                    <a:pt x="960" y="872"/>
                  </a:lnTo>
                  <a:lnTo>
                    <a:pt x="962" y="864"/>
                  </a:lnTo>
                  <a:lnTo>
                    <a:pt x="962" y="864"/>
                  </a:lnTo>
                  <a:lnTo>
                    <a:pt x="964" y="862"/>
                  </a:lnTo>
                  <a:lnTo>
                    <a:pt x="968" y="864"/>
                  </a:lnTo>
                  <a:lnTo>
                    <a:pt x="978" y="870"/>
                  </a:lnTo>
                  <a:lnTo>
                    <a:pt x="978" y="870"/>
                  </a:lnTo>
                  <a:lnTo>
                    <a:pt x="978" y="870"/>
                  </a:lnTo>
                  <a:lnTo>
                    <a:pt x="980" y="870"/>
                  </a:lnTo>
                  <a:lnTo>
                    <a:pt x="982" y="866"/>
                  </a:lnTo>
                  <a:lnTo>
                    <a:pt x="984" y="854"/>
                  </a:lnTo>
                  <a:lnTo>
                    <a:pt x="984" y="854"/>
                  </a:lnTo>
                  <a:lnTo>
                    <a:pt x="984" y="852"/>
                  </a:lnTo>
                  <a:lnTo>
                    <a:pt x="988" y="852"/>
                  </a:lnTo>
                  <a:lnTo>
                    <a:pt x="992" y="854"/>
                  </a:lnTo>
                  <a:lnTo>
                    <a:pt x="998" y="860"/>
                  </a:lnTo>
                  <a:lnTo>
                    <a:pt x="998" y="860"/>
                  </a:lnTo>
                  <a:lnTo>
                    <a:pt x="998" y="860"/>
                  </a:lnTo>
                  <a:lnTo>
                    <a:pt x="1000" y="862"/>
                  </a:lnTo>
                  <a:lnTo>
                    <a:pt x="1002" y="858"/>
                  </a:lnTo>
                  <a:lnTo>
                    <a:pt x="1006" y="854"/>
                  </a:lnTo>
                  <a:lnTo>
                    <a:pt x="1008" y="852"/>
                  </a:lnTo>
                  <a:lnTo>
                    <a:pt x="1010" y="852"/>
                  </a:lnTo>
                  <a:lnTo>
                    <a:pt x="1010" y="852"/>
                  </a:lnTo>
                  <a:lnTo>
                    <a:pt x="1012" y="854"/>
                  </a:lnTo>
                  <a:lnTo>
                    <a:pt x="1014" y="856"/>
                  </a:lnTo>
                  <a:lnTo>
                    <a:pt x="1014" y="860"/>
                  </a:lnTo>
                  <a:lnTo>
                    <a:pt x="1012" y="872"/>
                  </a:lnTo>
                  <a:lnTo>
                    <a:pt x="1012" y="872"/>
                  </a:lnTo>
                  <a:lnTo>
                    <a:pt x="1012" y="874"/>
                  </a:lnTo>
                  <a:lnTo>
                    <a:pt x="1014" y="874"/>
                  </a:lnTo>
                  <a:lnTo>
                    <a:pt x="1018" y="872"/>
                  </a:lnTo>
                  <a:lnTo>
                    <a:pt x="1022" y="872"/>
                  </a:lnTo>
                  <a:lnTo>
                    <a:pt x="1024" y="872"/>
                  </a:lnTo>
                  <a:lnTo>
                    <a:pt x="1024" y="874"/>
                  </a:lnTo>
                  <a:lnTo>
                    <a:pt x="1024" y="874"/>
                  </a:lnTo>
                  <a:lnTo>
                    <a:pt x="1024" y="878"/>
                  </a:lnTo>
                  <a:lnTo>
                    <a:pt x="1026" y="882"/>
                  </a:lnTo>
                  <a:lnTo>
                    <a:pt x="1036" y="890"/>
                  </a:lnTo>
                  <a:lnTo>
                    <a:pt x="1036" y="890"/>
                  </a:lnTo>
                  <a:lnTo>
                    <a:pt x="1036" y="892"/>
                  </a:lnTo>
                  <a:lnTo>
                    <a:pt x="1036" y="894"/>
                  </a:lnTo>
                  <a:lnTo>
                    <a:pt x="1032" y="896"/>
                  </a:lnTo>
                  <a:lnTo>
                    <a:pt x="1028" y="898"/>
                  </a:lnTo>
                  <a:lnTo>
                    <a:pt x="1026" y="900"/>
                  </a:lnTo>
                  <a:lnTo>
                    <a:pt x="1028" y="902"/>
                  </a:lnTo>
                  <a:lnTo>
                    <a:pt x="1028" y="902"/>
                  </a:lnTo>
                  <a:lnTo>
                    <a:pt x="1030" y="906"/>
                  </a:lnTo>
                  <a:lnTo>
                    <a:pt x="1030" y="912"/>
                  </a:lnTo>
                  <a:lnTo>
                    <a:pt x="1030" y="918"/>
                  </a:lnTo>
                  <a:lnTo>
                    <a:pt x="1032" y="922"/>
                  </a:lnTo>
                  <a:lnTo>
                    <a:pt x="1032" y="922"/>
                  </a:lnTo>
                  <a:lnTo>
                    <a:pt x="1038" y="926"/>
                  </a:lnTo>
                  <a:lnTo>
                    <a:pt x="1044" y="926"/>
                  </a:lnTo>
                  <a:lnTo>
                    <a:pt x="1050" y="924"/>
                  </a:lnTo>
                  <a:lnTo>
                    <a:pt x="1056" y="922"/>
                  </a:lnTo>
                  <a:lnTo>
                    <a:pt x="1056" y="922"/>
                  </a:lnTo>
                  <a:lnTo>
                    <a:pt x="1058" y="920"/>
                  </a:lnTo>
                  <a:lnTo>
                    <a:pt x="1060" y="920"/>
                  </a:lnTo>
                  <a:lnTo>
                    <a:pt x="1064" y="924"/>
                  </a:lnTo>
                  <a:lnTo>
                    <a:pt x="1064" y="930"/>
                  </a:lnTo>
                  <a:lnTo>
                    <a:pt x="1062" y="938"/>
                  </a:lnTo>
                  <a:lnTo>
                    <a:pt x="1062" y="938"/>
                  </a:lnTo>
                  <a:lnTo>
                    <a:pt x="1062" y="940"/>
                  </a:lnTo>
                  <a:lnTo>
                    <a:pt x="1062" y="944"/>
                  </a:lnTo>
                  <a:lnTo>
                    <a:pt x="1064" y="948"/>
                  </a:lnTo>
                  <a:lnTo>
                    <a:pt x="1068" y="948"/>
                  </a:lnTo>
                  <a:lnTo>
                    <a:pt x="1072" y="948"/>
                  </a:lnTo>
                  <a:lnTo>
                    <a:pt x="1074" y="946"/>
                  </a:lnTo>
                  <a:lnTo>
                    <a:pt x="1074" y="946"/>
                  </a:lnTo>
                  <a:lnTo>
                    <a:pt x="1076" y="944"/>
                  </a:lnTo>
                  <a:lnTo>
                    <a:pt x="1078" y="946"/>
                  </a:lnTo>
                  <a:lnTo>
                    <a:pt x="1084" y="950"/>
                  </a:lnTo>
                  <a:lnTo>
                    <a:pt x="1096" y="960"/>
                  </a:lnTo>
                  <a:lnTo>
                    <a:pt x="1096" y="960"/>
                  </a:lnTo>
                  <a:lnTo>
                    <a:pt x="1100" y="964"/>
                  </a:lnTo>
                  <a:lnTo>
                    <a:pt x="1102" y="968"/>
                  </a:lnTo>
                  <a:lnTo>
                    <a:pt x="1102" y="970"/>
                  </a:lnTo>
                  <a:lnTo>
                    <a:pt x="1098" y="972"/>
                  </a:lnTo>
                  <a:lnTo>
                    <a:pt x="1098" y="972"/>
                  </a:lnTo>
                  <a:lnTo>
                    <a:pt x="1096" y="972"/>
                  </a:lnTo>
                  <a:lnTo>
                    <a:pt x="1094" y="974"/>
                  </a:lnTo>
                  <a:lnTo>
                    <a:pt x="1092" y="980"/>
                  </a:lnTo>
                  <a:lnTo>
                    <a:pt x="1092" y="986"/>
                  </a:lnTo>
                  <a:lnTo>
                    <a:pt x="1094" y="988"/>
                  </a:lnTo>
                  <a:lnTo>
                    <a:pt x="1096" y="988"/>
                  </a:lnTo>
                  <a:lnTo>
                    <a:pt x="1096" y="988"/>
                  </a:lnTo>
                  <a:lnTo>
                    <a:pt x="1100" y="990"/>
                  </a:lnTo>
                  <a:lnTo>
                    <a:pt x="1102" y="994"/>
                  </a:lnTo>
                  <a:lnTo>
                    <a:pt x="1102" y="1004"/>
                  </a:lnTo>
                  <a:lnTo>
                    <a:pt x="1102" y="1004"/>
                  </a:lnTo>
                  <a:lnTo>
                    <a:pt x="1104" y="1006"/>
                  </a:lnTo>
                  <a:lnTo>
                    <a:pt x="1106" y="1008"/>
                  </a:lnTo>
                  <a:lnTo>
                    <a:pt x="1114" y="1012"/>
                  </a:lnTo>
                  <a:lnTo>
                    <a:pt x="1124" y="1014"/>
                  </a:lnTo>
                  <a:lnTo>
                    <a:pt x="1132" y="1014"/>
                  </a:lnTo>
                  <a:lnTo>
                    <a:pt x="1132" y="1014"/>
                  </a:lnTo>
                  <a:lnTo>
                    <a:pt x="1138" y="1014"/>
                  </a:lnTo>
                  <a:lnTo>
                    <a:pt x="1142" y="1016"/>
                  </a:lnTo>
                  <a:lnTo>
                    <a:pt x="1148" y="1020"/>
                  </a:lnTo>
                  <a:lnTo>
                    <a:pt x="1150" y="1026"/>
                  </a:lnTo>
                  <a:lnTo>
                    <a:pt x="1150" y="1026"/>
                  </a:lnTo>
                  <a:lnTo>
                    <a:pt x="1156" y="1030"/>
                  </a:lnTo>
                  <a:lnTo>
                    <a:pt x="1162" y="1034"/>
                  </a:lnTo>
                  <a:lnTo>
                    <a:pt x="1168" y="1034"/>
                  </a:lnTo>
                  <a:lnTo>
                    <a:pt x="1174" y="1032"/>
                  </a:lnTo>
                  <a:lnTo>
                    <a:pt x="1174" y="1032"/>
                  </a:lnTo>
                  <a:lnTo>
                    <a:pt x="1176" y="1032"/>
                  </a:lnTo>
                  <a:lnTo>
                    <a:pt x="1178" y="1032"/>
                  </a:lnTo>
                  <a:lnTo>
                    <a:pt x="1180" y="1036"/>
                  </a:lnTo>
                  <a:lnTo>
                    <a:pt x="1184" y="1048"/>
                  </a:lnTo>
                  <a:lnTo>
                    <a:pt x="1184" y="1048"/>
                  </a:lnTo>
                  <a:lnTo>
                    <a:pt x="1186" y="1052"/>
                  </a:lnTo>
                  <a:lnTo>
                    <a:pt x="1188" y="1054"/>
                  </a:lnTo>
                  <a:lnTo>
                    <a:pt x="1192" y="1054"/>
                  </a:lnTo>
                  <a:lnTo>
                    <a:pt x="1204" y="1052"/>
                  </a:lnTo>
                  <a:lnTo>
                    <a:pt x="1204" y="1052"/>
                  </a:lnTo>
                  <a:lnTo>
                    <a:pt x="1210" y="1054"/>
                  </a:lnTo>
                  <a:lnTo>
                    <a:pt x="1214" y="1056"/>
                  </a:lnTo>
                  <a:lnTo>
                    <a:pt x="1218" y="1060"/>
                  </a:lnTo>
                  <a:lnTo>
                    <a:pt x="1222" y="1060"/>
                  </a:lnTo>
                  <a:lnTo>
                    <a:pt x="1222" y="1060"/>
                  </a:lnTo>
                  <a:lnTo>
                    <a:pt x="1226" y="1060"/>
                  </a:lnTo>
                  <a:lnTo>
                    <a:pt x="1228" y="1062"/>
                  </a:lnTo>
                  <a:lnTo>
                    <a:pt x="1234" y="1070"/>
                  </a:lnTo>
                  <a:lnTo>
                    <a:pt x="1240" y="1080"/>
                  </a:lnTo>
                  <a:lnTo>
                    <a:pt x="1244" y="1088"/>
                  </a:lnTo>
                  <a:lnTo>
                    <a:pt x="1244" y="1088"/>
                  </a:lnTo>
                  <a:lnTo>
                    <a:pt x="1250" y="1096"/>
                  </a:lnTo>
                  <a:lnTo>
                    <a:pt x="1250" y="1102"/>
                  </a:lnTo>
                  <a:lnTo>
                    <a:pt x="1248" y="1110"/>
                  </a:lnTo>
                  <a:lnTo>
                    <a:pt x="1250" y="1118"/>
                  </a:lnTo>
                  <a:lnTo>
                    <a:pt x="1250" y="1118"/>
                  </a:lnTo>
                  <a:lnTo>
                    <a:pt x="1250" y="1126"/>
                  </a:lnTo>
                  <a:lnTo>
                    <a:pt x="1250" y="1136"/>
                  </a:lnTo>
                  <a:lnTo>
                    <a:pt x="1246" y="1142"/>
                  </a:lnTo>
                  <a:lnTo>
                    <a:pt x="1244" y="1144"/>
                  </a:lnTo>
                  <a:lnTo>
                    <a:pt x="1242" y="1146"/>
                  </a:lnTo>
                  <a:lnTo>
                    <a:pt x="1242" y="1146"/>
                  </a:lnTo>
                  <a:lnTo>
                    <a:pt x="1236" y="1144"/>
                  </a:lnTo>
                  <a:lnTo>
                    <a:pt x="1234" y="1140"/>
                  </a:lnTo>
                  <a:lnTo>
                    <a:pt x="1234" y="1134"/>
                  </a:lnTo>
                  <a:lnTo>
                    <a:pt x="1238" y="1132"/>
                  </a:lnTo>
                  <a:lnTo>
                    <a:pt x="1238" y="1132"/>
                  </a:lnTo>
                  <a:lnTo>
                    <a:pt x="1240" y="1128"/>
                  </a:lnTo>
                  <a:lnTo>
                    <a:pt x="1240" y="1122"/>
                  </a:lnTo>
                  <a:lnTo>
                    <a:pt x="1238" y="1116"/>
                  </a:lnTo>
                  <a:lnTo>
                    <a:pt x="1234" y="1114"/>
                  </a:lnTo>
                  <a:lnTo>
                    <a:pt x="1234" y="1114"/>
                  </a:lnTo>
                  <a:lnTo>
                    <a:pt x="1232" y="1114"/>
                  </a:lnTo>
                  <a:lnTo>
                    <a:pt x="1230" y="1112"/>
                  </a:lnTo>
                  <a:lnTo>
                    <a:pt x="1228" y="1106"/>
                  </a:lnTo>
                  <a:lnTo>
                    <a:pt x="1230" y="1100"/>
                  </a:lnTo>
                  <a:lnTo>
                    <a:pt x="1232" y="1094"/>
                  </a:lnTo>
                  <a:lnTo>
                    <a:pt x="1232" y="1094"/>
                  </a:lnTo>
                  <a:lnTo>
                    <a:pt x="1232" y="1090"/>
                  </a:lnTo>
                  <a:lnTo>
                    <a:pt x="1232" y="1090"/>
                  </a:lnTo>
                  <a:lnTo>
                    <a:pt x="1228" y="1088"/>
                  </a:lnTo>
                  <a:lnTo>
                    <a:pt x="1222" y="1086"/>
                  </a:lnTo>
                  <a:lnTo>
                    <a:pt x="1214" y="1082"/>
                  </a:lnTo>
                  <a:lnTo>
                    <a:pt x="1214" y="1082"/>
                  </a:lnTo>
                  <a:lnTo>
                    <a:pt x="1206" y="1078"/>
                  </a:lnTo>
                  <a:lnTo>
                    <a:pt x="1198" y="1074"/>
                  </a:lnTo>
                  <a:lnTo>
                    <a:pt x="1188" y="1072"/>
                  </a:lnTo>
                  <a:lnTo>
                    <a:pt x="1186" y="1070"/>
                  </a:lnTo>
                  <a:lnTo>
                    <a:pt x="1184" y="1068"/>
                  </a:lnTo>
                  <a:lnTo>
                    <a:pt x="1184" y="1068"/>
                  </a:lnTo>
                  <a:lnTo>
                    <a:pt x="1178" y="1058"/>
                  </a:lnTo>
                  <a:lnTo>
                    <a:pt x="1170" y="1046"/>
                  </a:lnTo>
                  <a:lnTo>
                    <a:pt x="1160" y="1036"/>
                  </a:lnTo>
                  <a:lnTo>
                    <a:pt x="1156" y="1034"/>
                  </a:lnTo>
                  <a:lnTo>
                    <a:pt x="1152" y="1032"/>
                  </a:lnTo>
                  <a:lnTo>
                    <a:pt x="1152" y="1032"/>
                  </a:lnTo>
                  <a:lnTo>
                    <a:pt x="1134" y="1032"/>
                  </a:lnTo>
                  <a:lnTo>
                    <a:pt x="1124" y="1030"/>
                  </a:lnTo>
                  <a:lnTo>
                    <a:pt x="1116" y="1024"/>
                  </a:lnTo>
                  <a:lnTo>
                    <a:pt x="1116" y="1024"/>
                  </a:lnTo>
                  <a:lnTo>
                    <a:pt x="1108" y="1018"/>
                  </a:lnTo>
                  <a:lnTo>
                    <a:pt x="1100" y="1016"/>
                  </a:lnTo>
                  <a:lnTo>
                    <a:pt x="1094" y="1018"/>
                  </a:lnTo>
                  <a:lnTo>
                    <a:pt x="1088" y="1020"/>
                  </a:lnTo>
                  <a:lnTo>
                    <a:pt x="1088" y="1020"/>
                  </a:lnTo>
                  <a:lnTo>
                    <a:pt x="1086" y="1022"/>
                  </a:lnTo>
                  <a:lnTo>
                    <a:pt x="1084" y="1024"/>
                  </a:lnTo>
                  <a:lnTo>
                    <a:pt x="1088" y="1026"/>
                  </a:lnTo>
                  <a:lnTo>
                    <a:pt x="1094" y="1028"/>
                  </a:lnTo>
                  <a:lnTo>
                    <a:pt x="1096" y="1030"/>
                  </a:lnTo>
                  <a:lnTo>
                    <a:pt x="1096" y="1032"/>
                  </a:lnTo>
                  <a:lnTo>
                    <a:pt x="1096" y="1032"/>
                  </a:lnTo>
                  <a:lnTo>
                    <a:pt x="1096" y="1036"/>
                  </a:lnTo>
                  <a:lnTo>
                    <a:pt x="1098" y="1040"/>
                  </a:lnTo>
                  <a:lnTo>
                    <a:pt x="1104" y="1042"/>
                  </a:lnTo>
                  <a:lnTo>
                    <a:pt x="1108" y="1042"/>
                  </a:lnTo>
                  <a:lnTo>
                    <a:pt x="1108" y="1042"/>
                  </a:lnTo>
                  <a:lnTo>
                    <a:pt x="1110" y="1042"/>
                  </a:lnTo>
                  <a:lnTo>
                    <a:pt x="1114" y="1042"/>
                  </a:lnTo>
                  <a:lnTo>
                    <a:pt x="1118" y="1048"/>
                  </a:lnTo>
                  <a:lnTo>
                    <a:pt x="1122" y="1052"/>
                  </a:lnTo>
                  <a:lnTo>
                    <a:pt x="1126" y="1056"/>
                  </a:lnTo>
                  <a:lnTo>
                    <a:pt x="1126" y="1056"/>
                  </a:lnTo>
                  <a:lnTo>
                    <a:pt x="1132" y="1058"/>
                  </a:lnTo>
                  <a:lnTo>
                    <a:pt x="1136" y="1062"/>
                  </a:lnTo>
                  <a:lnTo>
                    <a:pt x="1140" y="1066"/>
                  </a:lnTo>
                  <a:lnTo>
                    <a:pt x="1146" y="1068"/>
                  </a:lnTo>
                  <a:lnTo>
                    <a:pt x="1146" y="1068"/>
                  </a:lnTo>
                  <a:lnTo>
                    <a:pt x="1150" y="1070"/>
                  </a:lnTo>
                  <a:lnTo>
                    <a:pt x="1154" y="1074"/>
                  </a:lnTo>
                  <a:lnTo>
                    <a:pt x="1160" y="1082"/>
                  </a:lnTo>
                  <a:lnTo>
                    <a:pt x="1160" y="1082"/>
                  </a:lnTo>
                  <a:lnTo>
                    <a:pt x="1164" y="1086"/>
                  </a:lnTo>
                  <a:lnTo>
                    <a:pt x="1168" y="1086"/>
                  </a:lnTo>
                  <a:lnTo>
                    <a:pt x="1172" y="1086"/>
                  </a:lnTo>
                  <a:lnTo>
                    <a:pt x="1174" y="1088"/>
                  </a:lnTo>
                  <a:lnTo>
                    <a:pt x="1174" y="1088"/>
                  </a:lnTo>
                  <a:lnTo>
                    <a:pt x="1176" y="1092"/>
                  </a:lnTo>
                  <a:lnTo>
                    <a:pt x="1180" y="1096"/>
                  </a:lnTo>
                  <a:lnTo>
                    <a:pt x="1184" y="1102"/>
                  </a:lnTo>
                  <a:lnTo>
                    <a:pt x="1186" y="1106"/>
                  </a:lnTo>
                  <a:lnTo>
                    <a:pt x="1186" y="1106"/>
                  </a:lnTo>
                  <a:lnTo>
                    <a:pt x="1190" y="1122"/>
                  </a:lnTo>
                  <a:lnTo>
                    <a:pt x="1194" y="1132"/>
                  </a:lnTo>
                  <a:lnTo>
                    <a:pt x="1200" y="1142"/>
                  </a:lnTo>
                  <a:lnTo>
                    <a:pt x="1200" y="1142"/>
                  </a:lnTo>
                  <a:lnTo>
                    <a:pt x="1204" y="1152"/>
                  </a:lnTo>
                  <a:lnTo>
                    <a:pt x="1206" y="1158"/>
                  </a:lnTo>
                  <a:lnTo>
                    <a:pt x="1208" y="1164"/>
                  </a:lnTo>
                  <a:lnTo>
                    <a:pt x="1212" y="1168"/>
                  </a:lnTo>
                  <a:lnTo>
                    <a:pt x="1212" y="1168"/>
                  </a:lnTo>
                  <a:lnTo>
                    <a:pt x="1218" y="1172"/>
                  </a:lnTo>
                  <a:lnTo>
                    <a:pt x="1218" y="1174"/>
                  </a:lnTo>
                  <a:lnTo>
                    <a:pt x="1218" y="1176"/>
                  </a:lnTo>
                  <a:lnTo>
                    <a:pt x="1212" y="1178"/>
                  </a:lnTo>
                  <a:lnTo>
                    <a:pt x="1212" y="1178"/>
                  </a:lnTo>
                  <a:lnTo>
                    <a:pt x="1208" y="1178"/>
                  </a:lnTo>
                  <a:lnTo>
                    <a:pt x="1208" y="1182"/>
                  </a:lnTo>
                  <a:lnTo>
                    <a:pt x="1208" y="1190"/>
                  </a:lnTo>
                  <a:lnTo>
                    <a:pt x="1206" y="1202"/>
                  </a:lnTo>
                  <a:lnTo>
                    <a:pt x="1206" y="1202"/>
                  </a:lnTo>
                  <a:lnTo>
                    <a:pt x="1206" y="1218"/>
                  </a:lnTo>
                  <a:lnTo>
                    <a:pt x="1204" y="1238"/>
                  </a:lnTo>
                  <a:lnTo>
                    <a:pt x="1202" y="1270"/>
                  </a:lnTo>
                  <a:lnTo>
                    <a:pt x="1202" y="1270"/>
                  </a:lnTo>
                  <a:lnTo>
                    <a:pt x="1200" y="1278"/>
                  </a:lnTo>
                  <a:lnTo>
                    <a:pt x="1196" y="1290"/>
                  </a:lnTo>
                  <a:lnTo>
                    <a:pt x="1192" y="1302"/>
                  </a:lnTo>
                  <a:lnTo>
                    <a:pt x="1194" y="1306"/>
                  </a:lnTo>
                  <a:lnTo>
                    <a:pt x="1196" y="1312"/>
                  </a:lnTo>
                  <a:lnTo>
                    <a:pt x="1196" y="1312"/>
                  </a:lnTo>
                  <a:lnTo>
                    <a:pt x="1200" y="1322"/>
                  </a:lnTo>
                  <a:lnTo>
                    <a:pt x="1204" y="1332"/>
                  </a:lnTo>
                  <a:lnTo>
                    <a:pt x="1206" y="1344"/>
                  </a:lnTo>
                  <a:lnTo>
                    <a:pt x="1204" y="1356"/>
                  </a:lnTo>
                  <a:lnTo>
                    <a:pt x="1204" y="1356"/>
                  </a:lnTo>
                  <a:lnTo>
                    <a:pt x="1202" y="1366"/>
                  </a:lnTo>
                  <a:lnTo>
                    <a:pt x="1202" y="1374"/>
                  </a:lnTo>
                  <a:lnTo>
                    <a:pt x="1204" y="1382"/>
                  </a:lnTo>
                  <a:lnTo>
                    <a:pt x="1208" y="1392"/>
                  </a:lnTo>
                  <a:lnTo>
                    <a:pt x="1208" y="1392"/>
                  </a:lnTo>
                  <a:lnTo>
                    <a:pt x="1210" y="1400"/>
                  </a:lnTo>
                  <a:lnTo>
                    <a:pt x="1212" y="1412"/>
                  </a:lnTo>
                  <a:lnTo>
                    <a:pt x="1212" y="1422"/>
                  </a:lnTo>
                  <a:lnTo>
                    <a:pt x="1214" y="1424"/>
                  </a:lnTo>
                  <a:lnTo>
                    <a:pt x="1216" y="1426"/>
                  </a:lnTo>
                  <a:lnTo>
                    <a:pt x="1216" y="1426"/>
                  </a:lnTo>
                  <a:lnTo>
                    <a:pt x="1222" y="1430"/>
                  </a:lnTo>
                  <a:lnTo>
                    <a:pt x="1226" y="1436"/>
                  </a:lnTo>
                  <a:lnTo>
                    <a:pt x="1236" y="1450"/>
                  </a:lnTo>
                  <a:lnTo>
                    <a:pt x="1236" y="1450"/>
                  </a:lnTo>
                  <a:lnTo>
                    <a:pt x="1242" y="1456"/>
                  </a:lnTo>
                  <a:lnTo>
                    <a:pt x="1246" y="1458"/>
                  </a:lnTo>
                  <a:lnTo>
                    <a:pt x="1248" y="1460"/>
                  </a:lnTo>
                  <a:lnTo>
                    <a:pt x="1250" y="1466"/>
                  </a:lnTo>
                  <a:lnTo>
                    <a:pt x="1250" y="1466"/>
                  </a:lnTo>
                  <a:lnTo>
                    <a:pt x="1252" y="1472"/>
                  </a:lnTo>
                  <a:lnTo>
                    <a:pt x="1252" y="1476"/>
                  </a:lnTo>
                  <a:lnTo>
                    <a:pt x="1256" y="1480"/>
                  </a:lnTo>
                  <a:lnTo>
                    <a:pt x="1262" y="1482"/>
                  </a:lnTo>
                  <a:lnTo>
                    <a:pt x="1262" y="1482"/>
                  </a:lnTo>
                  <a:lnTo>
                    <a:pt x="1264" y="1484"/>
                  </a:lnTo>
                  <a:lnTo>
                    <a:pt x="1266" y="1486"/>
                  </a:lnTo>
                  <a:lnTo>
                    <a:pt x="1266" y="1492"/>
                  </a:lnTo>
                  <a:lnTo>
                    <a:pt x="1264" y="1504"/>
                  </a:lnTo>
                  <a:lnTo>
                    <a:pt x="1264" y="1504"/>
                  </a:lnTo>
                  <a:lnTo>
                    <a:pt x="1268" y="1508"/>
                  </a:lnTo>
                  <a:lnTo>
                    <a:pt x="1274" y="1516"/>
                  </a:lnTo>
                  <a:lnTo>
                    <a:pt x="1294" y="1534"/>
                  </a:lnTo>
                  <a:lnTo>
                    <a:pt x="1294" y="1534"/>
                  </a:lnTo>
                  <a:lnTo>
                    <a:pt x="1298" y="1540"/>
                  </a:lnTo>
                  <a:lnTo>
                    <a:pt x="1300" y="1544"/>
                  </a:lnTo>
                  <a:lnTo>
                    <a:pt x="1302" y="1552"/>
                  </a:lnTo>
                  <a:lnTo>
                    <a:pt x="1302" y="1558"/>
                  </a:lnTo>
                  <a:lnTo>
                    <a:pt x="1304" y="1560"/>
                  </a:lnTo>
                  <a:lnTo>
                    <a:pt x="1308" y="1560"/>
                  </a:lnTo>
                  <a:lnTo>
                    <a:pt x="1308" y="1560"/>
                  </a:lnTo>
                  <a:lnTo>
                    <a:pt x="1316" y="1560"/>
                  </a:lnTo>
                  <a:lnTo>
                    <a:pt x="1324" y="1564"/>
                  </a:lnTo>
                  <a:lnTo>
                    <a:pt x="1340" y="1574"/>
                  </a:lnTo>
                  <a:lnTo>
                    <a:pt x="1340" y="1574"/>
                  </a:lnTo>
                  <a:lnTo>
                    <a:pt x="1348" y="1578"/>
                  </a:lnTo>
                  <a:lnTo>
                    <a:pt x="1354" y="1578"/>
                  </a:lnTo>
                  <a:lnTo>
                    <a:pt x="1364" y="1578"/>
                  </a:lnTo>
                  <a:lnTo>
                    <a:pt x="1364" y="1578"/>
                  </a:lnTo>
                  <a:lnTo>
                    <a:pt x="1370" y="1582"/>
                  </a:lnTo>
                  <a:lnTo>
                    <a:pt x="1378" y="1590"/>
                  </a:lnTo>
                  <a:lnTo>
                    <a:pt x="1386" y="1600"/>
                  </a:lnTo>
                  <a:lnTo>
                    <a:pt x="1390" y="1608"/>
                  </a:lnTo>
                  <a:lnTo>
                    <a:pt x="1390" y="1608"/>
                  </a:lnTo>
                  <a:lnTo>
                    <a:pt x="1396" y="1628"/>
                  </a:lnTo>
                  <a:lnTo>
                    <a:pt x="1402" y="1638"/>
                  </a:lnTo>
                  <a:lnTo>
                    <a:pt x="1410" y="1648"/>
                  </a:lnTo>
                  <a:lnTo>
                    <a:pt x="1410" y="1648"/>
                  </a:lnTo>
                  <a:lnTo>
                    <a:pt x="1418" y="1662"/>
                  </a:lnTo>
                  <a:lnTo>
                    <a:pt x="1426" y="1678"/>
                  </a:lnTo>
                  <a:lnTo>
                    <a:pt x="1430" y="1692"/>
                  </a:lnTo>
                  <a:lnTo>
                    <a:pt x="1432" y="1702"/>
                  </a:lnTo>
                  <a:lnTo>
                    <a:pt x="1432" y="1702"/>
                  </a:lnTo>
                  <a:lnTo>
                    <a:pt x="1434" y="1706"/>
                  </a:lnTo>
                  <a:lnTo>
                    <a:pt x="1436" y="1708"/>
                  </a:lnTo>
                  <a:lnTo>
                    <a:pt x="1444" y="1716"/>
                  </a:lnTo>
                  <a:lnTo>
                    <a:pt x="1466" y="1728"/>
                  </a:lnTo>
                  <a:lnTo>
                    <a:pt x="1466" y="1728"/>
                  </a:lnTo>
                  <a:lnTo>
                    <a:pt x="1472" y="1734"/>
                  </a:lnTo>
                  <a:lnTo>
                    <a:pt x="1476" y="1738"/>
                  </a:lnTo>
                  <a:lnTo>
                    <a:pt x="1480" y="1748"/>
                  </a:lnTo>
                  <a:lnTo>
                    <a:pt x="1480" y="1758"/>
                  </a:lnTo>
                  <a:lnTo>
                    <a:pt x="1480" y="1766"/>
                  </a:lnTo>
                  <a:lnTo>
                    <a:pt x="1480" y="1766"/>
                  </a:lnTo>
                  <a:lnTo>
                    <a:pt x="1478" y="1766"/>
                  </a:lnTo>
                  <a:lnTo>
                    <a:pt x="1476" y="1768"/>
                  </a:lnTo>
                  <a:lnTo>
                    <a:pt x="1468" y="1766"/>
                  </a:lnTo>
                  <a:lnTo>
                    <a:pt x="1462" y="1766"/>
                  </a:lnTo>
                  <a:lnTo>
                    <a:pt x="1460" y="1766"/>
                  </a:lnTo>
                  <a:lnTo>
                    <a:pt x="1458" y="1768"/>
                  </a:lnTo>
                  <a:lnTo>
                    <a:pt x="1458" y="1768"/>
                  </a:lnTo>
                  <a:lnTo>
                    <a:pt x="1458" y="1770"/>
                  </a:lnTo>
                  <a:lnTo>
                    <a:pt x="1462" y="1774"/>
                  </a:lnTo>
                  <a:lnTo>
                    <a:pt x="1472" y="1782"/>
                  </a:lnTo>
                  <a:lnTo>
                    <a:pt x="1482" y="1790"/>
                  </a:lnTo>
                  <a:lnTo>
                    <a:pt x="1488" y="1792"/>
                  </a:lnTo>
                  <a:lnTo>
                    <a:pt x="1492" y="1792"/>
                  </a:lnTo>
                  <a:lnTo>
                    <a:pt x="1492" y="1792"/>
                  </a:lnTo>
                  <a:lnTo>
                    <a:pt x="1498" y="1792"/>
                  </a:lnTo>
                  <a:lnTo>
                    <a:pt x="1504" y="1796"/>
                  </a:lnTo>
                  <a:lnTo>
                    <a:pt x="1522" y="1810"/>
                  </a:lnTo>
                  <a:lnTo>
                    <a:pt x="1522" y="1810"/>
                  </a:lnTo>
                  <a:lnTo>
                    <a:pt x="1530" y="1820"/>
                  </a:lnTo>
                  <a:lnTo>
                    <a:pt x="1534" y="1830"/>
                  </a:lnTo>
                  <a:lnTo>
                    <a:pt x="1532" y="1838"/>
                  </a:lnTo>
                  <a:lnTo>
                    <a:pt x="1530" y="1844"/>
                  </a:lnTo>
                  <a:lnTo>
                    <a:pt x="1530" y="1844"/>
                  </a:lnTo>
                  <a:lnTo>
                    <a:pt x="1528" y="1846"/>
                  </a:lnTo>
                  <a:lnTo>
                    <a:pt x="1530" y="1850"/>
                  </a:lnTo>
                  <a:lnTo>
                    <a:pt x="1536" y="1856"/>
                  </a:lnTo>
                  <a:lnTo>
                    <a:pt x="1560" y="1872"/>
                  </a:lnTo>
                  <a:lnTo>
                    <a:pt x="1560" y="1872"/>
                  </a:lnTo>
                  <a:lnTo>
                    <a:pt x="1574" y="1882"/>
                  </a:lnTo>
                  <a:lnTo>
                    <a:pt x="1582" y="1892"/>
                  </a:lnTo>
                  <a:lnTo>
                    <a:pt x="1588" y="1900"/>
                  </a:lnTo>
                  <a:lnTo>
                    <a:pt x="1590" y="1908"/>
                  </a:lnTo>
                  <a:lnTo>
                    <a:pt x="1590" y="1908"/>
                  </a:lnTo>
                  <a:lnTo>
                    <a:pt x="1592" y="1910"/>
                  </a:lnTo>
                  <a:lnTo>
                    <a:pt x="1596" y="1908"/>
                  </a:lnTo>
                  <a:lnTo>
                    <a:pt x="1600" y="1904"/>
                  </a:lnTo>
                  <a:lnTo>
                    <a:pt x="1604" y="1898"/>
                  </a:lnTo>
                  <a:lnTo>
                    <a:pt x="1604" y="1898"/>
                  </a:lnTo>
                  <a:lnTo>
                    <a:pt x="1604" y="1894"/>
                  </a:lnTo>
                  <a:lnTo>
                    <a:pt x="1602" y="1888"/>
                  </a:lnTo>
                  <a:lnTo>
                    <a:pt x="1598" y="1884"/>
                  </a:lnTo>
                  <a:lnTo>
                    <a:pt x="1598" y="1878"/>
                  </a:lnTo>
                  <a:lnTo>
                    <a:pt x="1598" y="1878"/>
                  </a:lnTo>
                  <a:lnTo>
                    <a:pt x="1596" y="1874"/>
                  </a:lnTo>
                  <a:lnTo>
                    <a:pt x="1594" y="1872"/>
                  </a:lnTo>
                  <a:lnTo>
                    <a:pt x="1588" y="1868"/>
                  </a:lnTo>
                  <a:lnTo>
                    <a:pt x="1574" y="1868"/>
                  </a:lnTo>
                  <a:lnTo>
                    <a:pt x="1574" y="1868"/>
                  </a:lnTo>
                  <a:lnTo>
                    <a:pt x="1572" y="1866"/>
                  </a:lnTo>
                  <a:lnTo>
                    <a:pt x="1572" y="1864"/>
                  </a:lnTo>
                  <a:lnTo>
                    <a:pt x="1570" y="1858"/>
                  </a:lnTo>
                  <a:lnTo>
                    <a:pt x="1570" y="1850"/>
                  </a:lnTo>
                  <a:lnTo>
                    <a:pt x="1570" y="1846"/>
                  </a:lnTo>
                  <a:lnTo>
                    <a:pt x="1568" y="1844"/>
                  </a:lnTo>
                  <a:lnTo>
                    <a:pt x="1568" y="1844"/>
                  </a:lnTo>
                  <a:lnTo>
                    <a:pt x="1562" y="1836"/>
                  </a:lnTo>
                  <a:lnTo>
                    <a:pt x="1558" y="1826"/>
                  </a:lnTo>
                  <a:lnTo>
                    <a:pt x="1550" y="1804"/>
                  </a:lnTo>
                  <a:lnTo>
                    <a:pt x="1550" y="1804"/>
                  </a:lnTo>
                  <a:lnTo>
                    <a:pt x="1544" y="1794"/>
                  </a:lnTo>
                  <a:lnTo>
                    <a:pt x="1536" y="1784"/>
                  </a:lnTo>
                  <a:lnTo>
                    <a:pt x="1528" y="1774"/>
                  </a:lnTo>
                  <a:lnTo>
                    <a:pt x="1520" y="1764"/>
                  </a:lnTo>
                  <a:lnTo>
                    <a:pt x="1520" y="1764"/>
                  </a:lnTo>
                  <a:lnTo>
                    <a:pt x="1508" y="1744"/>
                  </a:lnTo>
                  <a:lnTo>
                    <a:pt x="1498" y="1734"/>
                  </a:lnTo>
                  <a:lnTo>
                    <a:pt x="1498" y="1734"/>
                  </a:lnTo>
                  <a:lnTo>
                    <a:pt x="1496" y="1732"/>
                  </a:lnTo>
                  <a:lnTo>
                    <a:pt x="1496" y="1730"/>
                  </a:lnTo>
                  <a:lnTo>
                    <a:pt x="1500" y="1728"/>
                  </a:lnTo>
                  <a:lnTo>
                    <a:pt x="1502" y="1724"/>
                  </a:lnTo>
                  <a:lnTo>
                    <a:pt x="1502" y="1722"/>
                  </a:lnTo>
                  <a:lnTo>
                    <a:pt x="1502" y="1720"/>
                  </a:lnTo>
                  <a:lnTo>
                    <a:pt x="1502" y="1720"/>
                  </a:lnTo>
                  <a:lnTo>
                    <a:pt x="1498" y="1716"/>
                  </a:lnTo>
                  <a:lnTo>
                    <a:pt x="1492" y="1714"/>
                  </a:lnTo>
                  <a:lnTo>
                    <a:pt x="1480" y="1710"/>
                  </a:lnTo>
                  <a:lnTo>
                    <a:pt x="1480" y="1710"/>
                  </a:lnTo>
                  <a:lnTo>
                    <a:pt x="1474" y="1706"/>
                  </a:lnTo>
                  <a:lnTo>
                    <a:pt x="1470" y="1702"/>
                  </a:lnTo>
                  <a:lnTo>
                    <a:pt x="1466" y="1696"/>
                  </a:lnTo>
                  <a:lnTo>
                    <a:pt x="1464" y="1690"/>
                  </a:lnTo>
                  <a:lnTo>
                    <a:pt x="1464" y="1690"/>
                  </a:lnTo>
                  <a:lnTo>
                    <a:pt x="1462" y="1668"/>
                  </a:lnTo>
                  <a:lnTo>
                    <a:pt x="1456" y="1648"/>
                  </a:lnTo>
                  <a:lnTo>
                    <a:pt x="1456" y="1648"/>
                  </a:lnTo>
                  <a:lnTo>
                    <a:pt x="1456" y="1644"/>
                  </a:lnTo>
                  <a:lnTo>
                    <a:pt x="1458" y="1642"/>
                  </a:lnTo>
                  <a:lnTo>
                    <a:pt x="1462" y="1644"/>
                  </a:lnTo>
                  <a:lnTo>
                    <a:pt x="1466" y="1646"/>
                  </a:lnTo>
                  <a:lnTo>
                    <a:pt x="1466" y="1646"/>
                  </a:lnTo>
                  <a:lnTo>
                    <a:pt x="1470" y="1650"/>
                  </a:lnTo>
                  <a:lnTo>
                    <a:pt x="1472" y="1652"/>
                  </a:lnTo>
                  <a:lnTo>
                    <a:pt x="1476" y="1650"/>
                  </a:lnTo>
                  <a:lnTo>
                    <a:pt x="1476" y="1650"/>
                  </a:lnTo>
                  <a:lnTo>
                    <a:pt x="1478" y="1650"/>
                  </a:lnTo>
                  <a:lnTo>
                    <a:pt x="1482" y="1650"/>
                  </a:lnTo>
                  <a:lnTo>
                    <a:pt x="1486" y="1652"/>
                  </a:lnTo>
                  <a:lnTo>
                    <a:pt x="1490" y="1656"/>
                  </a:lnTo>
                  <a:lnTo>
                    <a:pt x="1490" y="1656"/>
                  </a:lnTo>
                  <a:lnTo>
                    <a:pt x="1494" y="1660"/>
                  </a:lnTo>
                  <a:lnTo>
                    <a:pt x="1498" y="1660"/>
                  </a:lnTo>
                  <a:lnTo>
                    <a:pt x="1504" y="1660"/>
                  </a:lnTo>
                  <a:lnTo>
                    <a:pt x="1508" y="1660"/>
                  </a:lnTo>
                  <a:lnTo>
                    <a:pt x="1508" y="1660"/>
                  </a:lnTo>
                  <a:lnTo>
                    <a:pt x="1508" y="1662"/>
                  </a:lnTo>
                  <a:lnTo>
                    <a:pt x="1508" y="1662"/>
                  </a:lnTo>
                  <a:lnTo>
                    <a:pt x="1506" y="1668"/>
                  </a:lnTo>
                  <a:lnTo>
                    <a:pt x="1506" y="1672"/>
                  </a:lnTo>
                  <a:lnTo>
                    <a:pt x="1506" y="1678"/>
                  </a:lnTo>
                  <a:lnTo>
                    <a:pt x="1508" y="1686"/>
                  </a:lnTo>
                  <a:lnTo>
                    <a:pt x="1512" y="1694"/>
                  </a:lnTo>
                  <a:lnTo>
                    <a:pt x="1512" y="1694"/>
                  </a:lnTo>
                  <a:lnTo>
                    <a:pt x="1520" y="1708"/>
                  </a:lnTo>
                  <a:lnTo>
                    <a:pt x="1520" y="1714"/>
                  </a:lnTo>
                  <a:lnTo>
                    <a:pt x="1518" y="1716"/>
                  </a:lnTo>
                  <a:lnTo>
                    <a:pt x="1518" y="1726"/>
                  </a:lnTo>
                  <a:lnTo>
                    <a:pt x="1518" y="1726"/>
                  </a:lnTo>
                  <a:lnTo>
                    <a:pt x="1518" y="1734"/>
                  </a:lnTo>
                  <a:lnTo>
                    <a:pt x="1520" y="1736"/>
                  </a:lnTo>
                  <a:lnTo>
                    <a:pt x="1522" y="1738"/>
                  </a:lnTo>
                  <a:lnTo>
                    <a:pt x="1526" y="1736"/>
                  </a:lnTo>
                  <a:lnTo>
                    <a:pt x="1530" y="1732"/>
                  </a:lnTo>
                  <a:lnTo>
                    <a:pt x="1530" y="1732"/>
                  </a:lnTo>
                  <a:lnTo>
                    <a:pt x="1534" y="1732"/>
                  </a:lnTo>
                  <a:lnTo>
                    <a:pt x="1538" y="1736"/>
                  </a:lnTo>
                  <a:lnTo>
                    <a:pt x="1550" y="1748"/>
                  </a:lnTo>
                  <a:lnTo>
                    <a:pt x="1550" y="1748"/>
                  </a:lnTo>
                  <a:lnTo>
                    <a:pt x="1556" y="1754"/>
                  </a:lnTo>
                  <a:lnTo>
                    <a:pt x="1564" y="1758"/>
                  </a:lnTo>
                  <a:lnTo>
                    <a:pt x="1570" y="1760"/>
                  </a:lnTo>
                  <a:lnTo>
                    <a:pt x="1572" y="1762"/>
                  </a:lnTo>
                  <a:lnTo>
                    <a:pt x="1572" y="1764"/>
                  </a:lnTo>
                  <a:lnTo>
                    <a:pt x="1572" y="1764"/>
                  </a:lnTo>
                  <a:lnTo>
                    <a:pt x="1574" y="1768"/>
                  </a:lnTo>
                  <a:lnTo>
                    <a:pt x="1576" y="1774"/>
                  </a:lnTo>
                  <a:lnTo>
                    <a:pt x="1580" y="1780"/>
                  </a:lnTo>
                  <a:lnTo>
                    <a:pt x="1586" y="1782"/>
                  </a:lnTo>
                  <a:lnTo>
                    <a:pt x="1586" y="1782"/>
                  </a:lnTo>
                  <a:lnTo>
                    <a:pt x="1592" y="1786"/>
                  </a:lnTo>
                  <a:lnTo>
                    <a:pt x="1596" y="1790"/>
                  </a:lnTo>
                  <a:lnTo>
                    <a:pt x="1600" y="1794"/>
                  </a:lnTo>
                  <a:lnTo>
                    <a:pt x="1604" y="1796"/>
                  </a:lnTo>
                  <a:lnTo>
                    <a:pt x="1604" y="1796"/>
                  </a:lnTo>
                  <a:lnTo>
                    <a:pt x="1608" y="1798"/>
                  </a:lnTo>
                  <a:lnTo>
                    <a:pt x="1610" y="1802"/>
                  </a:lnTo>
                  <a:lnTo>
                    <a:pt x="1610" y="1808"/>
                  </a:lnTo>
                  <a:lnTo>
                    <a:pt x="1608" y="1812"/>
                  </a:lnTo>
                  <a:lnTo>
                    <a:pt x="1608" y="1812"/>
                  </a:lnTo>
                  <a:lnTo>
                    <a:pt x="1608" y="1818"/>
                  </a:lnTo>
                  <a:lnTo>
                    <a:pt x="1610" y="1824"/>
                  </a:lnTo>
                  <a:lnTo>
                    <a:pt x="1616" y="1830"/>
                  </a:lnTo>
                  <a:lnTo>
                    <a:pt x="1626" y="1834"/>
                  </a:lnTo>
                  <a:lnTo>
                    <a:pt x="1626" y="1834"/>
                  </a:lnTo>
                  <a:lnTo>
                    <a:pt x="1634" y="1838"/>
                  </a:lnTo>
                  <a:lnTo>
                    <a:pt x="1638" y="1842"/>
                  </a:lnTo>
                  <a:lnTo>
                    <a:pt x="1642" y="1848"/>
                  </a:lnTo>
                  <a:lnTo>
                    <a:pt x="1648" y="1854"/>
                  </a:lnTo>
                  <a:lnTo>
                    <a:pt x="1648" y="1854"/>
                  </a:lnTo>
                  <a:lnTo>
                    <a:pt x="1680" y="1888"/>
                  </a:lnTo>
                  <a:lnTo>
                    <a:pt x="1706" y="1920"/>
                  </a:lnTo>
                  <a:lnTo>
                    <a:pt x="1706" y="1920"/>
                  </a:lnTo>
                  <a:lnTo>
                    <a:pt x="1716" y="1936"/>
                  </a:lnTo>
                  <a:lnTo>
                    <a:pt x="1720" y="1950"/>
                  </a:lnTo>
                  <a:lnTo>
                    <a:pt x="1720" y="1950"/>
                  </a:lnTo>
                  <a:lnTo>
                    <a:pt x="1720" y="1956"/>
                  </a:lnTo>
                  <a:lnTo>
                    <a:pt x="1718" y="1960"/>
                  </a:lnTo>
                  <a:lnTo>
                    <a:pt x="1718" y="1964"/>
                  </a:lnTo>
                  <a:lnTo>
                    <a:pt x="1718" y="1970"/>
                  </a:lnTo>
                  <a:lnTo>
                    <a:pt x="1718" y="1970"/>
                  </a:lnTo>
                  <a:lnTo>
                    <a:pt x="1720" y="1972"/>
                  </a:lnTo>
                  <a:lnTo>
                    <a:pt x="1720" y="1974"/>
                  </a:lnTo>
                  <a:lnTo>
                    <a:pt x="1716" y="1976"/>
                  </a:lnTo>
                  <a:lnTo>
                    <a:pt x="1712" y="1976"/>
                  </a:lnTo>
                  <a:lnTo>
                    <a:pt x="1710" y="1978"/>
                  </a:lnTo>
                  <a:lnTo>
                    <a:pt x="1710" y="1980"/>
                  </a:lnTo>
                  <a:lnTo>
                    <a:pt x="1710" y="1980"/>
                  </a:lnTo>
                  <a:lnTo>
                    <a:pt x="1712" y="1986"/>
                  </a:lnTo>
                  <a:lnTo>
                    <a:pt x="1716" y="1998"/>
                  </a:lnTo>
                  <a:lnTo>
                    <a:pt x="1724" y="2008"/>
                  </a:lnTo>
                  <a:lnTo>
                    <a:pt x="1728" y="2012"/>
                  </a:lnTo>
                  <a:lnTo>
                    <a:pt x="1732" y="2014"/>
                  </a:lnTo>
                  <a:lnTo>
                    <a:pt x="1732" y="2014"/>
                  </a:lnTo>
                  <a:lnTo>
                    <a:pt x="1742" y="2016"/>
                  </a:lnTo>
                  <a:lnTo>
                    <a:pt x="1752" y="2024"/>
                  </a:lnTo>
                  <a:lnTo>
                    <a:pt x="1772" y="2040"/>
                  </a:lnTo>
                  <a:lnTo>
                    <a:pt x="1772" y="2040"/>
                  </a:lnTo>
                  <a:lnTo>
                    <a:pt x="1780" y="2044"/>
                  </a:lnTo>
                  <a:lnTo>
                    <a:pt x="1792" y="2048"/>
                  </a:lnTo>
                  <a:lnTo>
                    <a:pt x="1802" y="2050"/>
                  </a:lnTo>
                  <a:lnTo>
                    <a:pt x="1814" y="2052"/>
                  </a:lnTo>
                  <a:lnTo>
                    <a:pt x="1814" y="2052"/>
                  </a:lnTo>
                  <a:lnTo>
                    <a:pt x="1826" y="2058"/>
                  </a:lnTo>
                  <a:lnTo>
                    <a:pt x="1838" y="2066"/>
                  </a:lnTo>
                  <a:lnTo>
                    <a:pt x="1852" y="2074"/>
                  </a:lnTo>
                  <a:lnTo>
                    <a:pt x="1868" y="2080"/>
                  </a:lnTo>
                  <a:lnTo>
                    <a:pt x="1868" y="2080"/>
                  </a:lnTo>
                  <a:lnTo>
                    <a:pt x="1886" y="2086"/>
                  </a:lnTo>
                  <a:lnTo>
                    <a:pt x="1902" y="2092"/>
                  </a:lnTo>
                  <a:lnTo>
                    <a:pt x="1918" y="2100"/>
                  </a:lnTo>
                  <a:lnTo>
                    <a:pt x="1930" y="2106"/>
                  </a:lnTo>
                  <a:lnTo>
                    <a:pt x="1930" y="2106"/>
                  </a:lnTo>
                  <a:lnTo>
                    <a:pt x="1936" y="2110"/>
                  </a:lnTo>
                  <a:lnTo>
                    <a:pt x="1942" y="2112"/>
                  </a:lnTo>
                  <a:lnTo>
                    <a:pt x="1956" y="2112"/>
                  </a:lnTo>
                  <a:lnTo>
                    <a:pt x="1970" y="2110"/>
                  </a:lnTo>
                  <a:lnTo>
                    <a:pt x="1986" y="2104"/>
                  </a:lnTo>
                  <a:lnTo>
                    <a:pt x="1986" y="2104"/>
                  </a:lnTo>
                  <a:lnTo>
                    <a:pt x="1992" y="2102"/>
                  </a:lnTo>
                  <a:lnTo>
                    <a:pt x="2000" y="2100"/>
                  </a:lnTo>
                  <a:lnTo>
                    <a:pt x="2014" y="2102"/>
                  </a:lnTo>
                  <a:lnTo>
                    <a:pt x="2024" y="2106"/>
                  </a:lnTo>
                  <a:lnTo>
                    <a:pt x="2034" y="2110"/>
                  </a:lnTo>
                  <a:lnTo>
                    <a:pt x="2034" y="2110"/>
                  </a:lnTo>
                  <a:lnTo>
                    <a:pt x="2048" y="2120"/>
                  </a:lnTo>
                  <a:lnTo>
                    <a:pt x="2064" y="2134"/>
                  </a:lnTo>
                  <a:lnTo>
                    <a:pt x="2082" y="2150"/>
                  </a:lnTo>
                  <a:lnTo>
                    <a:pt x="2094" y="2160"/>
                  </a:lnTo>
                  <a:lnTo>
                    <a:pt x="2094" y="2160"/>
                  </a:lnTo>
                  <a:lnTo>
                    <a:pt x="2098" y="2162"/>
                  </a:lnTo>
                  <a:lnTo>
                    <a:pt x="2104" y="2162"/>
                  </a:lnTo>
                  <a:lnTo>
                    <a:pt x="2114" y="2162"/>
                  </a:lnTo>
                  <a:lnTo>
                    <a:pt x="2124" y="2162"/>
                  </a:lnTo>
                  <a:lnTo>
                    <a:pt x="2128" y="2164"/>
                  </a:lnTo>
                  <a:lnTo>
                    <a:pt x="2132" y="2166"/>
                  </a:lnTo>
                  <a:lnTo>
                    <a:pt x="2132" y="2166"/>
                  </a:lnTo>
                  <a:lnTo>
                    <a:pt x="2142" y="2172"/>
                  </a:lnTo>
                  <a:lnTo>
                    <a:pt x="2158" y="2178"/>
                  </a:lnTo>
                  <a:lnTo>
                    <a:pt x="2174" y="2182"/>
                  </a:lnTo>
                  <a:lnTo>
                    <a:pt x="2186" y="2184"/>
                  </a:lnTo>
                  <a:lnTo>
                    <a:pt x="2186" y="2184"/>
                  </a:lnTo>
                  <a:lnTo>
                    <a:pt x="2192" y="2184"/>
                  </a:lnTo>
                  <a:lnTo>
                    <a:pt x="2196" y="2180"/>
                  </a:lnTo>
                  <a:lnTo>
                    <a:pt x="2198" y="2180"/>
                  </a:lnTo>
                  <a:lnTo>
                    <a:pt x="2202" y="2182"/>
                  </a:lnTo>
                  <a:lnTo>
                    <a:pt x="2202" y="2182"/>
                  </a:lnTo>
                  <a:lnTo>
                    <a:pt x="2204" y="2184"/>
                  </a:lnTo>
                  <a:lnTo>
                    <a:pt x="2206" y="2186"/>
                  </a:lnTo>
                  <a:lnTo>
                    <a:pt x="2206" y="2192"/>
                  </a:lnTo>
                  <a:lnTo>
                    <a:pt x="2206" y="2196"/>
                  </a:lnTo>
                  <a:lnTo>
                    <a:pt x="2206" y="2200"/>
                  </a:lnTo>
                  <a:lnTo>
                    <a:pt x="2210" y="2202"/>
                  </a:lnTo>
                  <a:lnTo>
                    <a:pt x="2210" y="2202"/>
                  </a:lnTo>
                  <a:lnTo>
                    <a:pt x="2218" y="2208"/>
                  </a:lnTo>
                  <a:lnTo>
                    <a:pt x="2226" y="2218"/>
                  </a:lnTo>
                  <a:lnTo>
                    <a:pt x="2234" y="2228"/>
                  </a:lnTo>
                  <a:lnTo>
                    <a:pt x="2242" y="2234"/>
                  </a:lnTo>
                  <a:lnTo>
                    <a:pt x="2242" y="2234"/>
                  </a:lnTo>
                  <a:lnTo>
                    <a:pt x="2248" y="2238"/>
                  </a:lnTo>
                  <a:lnTo>
                    <a:pt x="2252" y="2246"/>
                  </a:lnTo>
                  <a:lnTo>
                    <a:pt x="2252" y="2252"/>
                  </a:lnTo>
                  <a:lnTo>
                    <a:pt x="2250" y="2256"/>
                  </a:lnTo>
                  <a:lnTo>
                    <a:pt x="2250" y="2256"/>
                  </a:lnTo>
                  <a:lnTo>
                    <a:pt x="2246" y="2260"/>
                  </a:lnTo>
                  <a:lnTo>
                    <a:pt x="2246" y="2266"/>
                  </a:lnTo>
                  <a:lnTo>
                    <a:pt x="2250" y="2274"/>
                  </a:lnTo>
                  <a:lnTo>
                    <a:pt x="2252" y="2276"/>
                  </a:lnTo>
                  <a:lnTo>
                    <a:pt x="2258" y="2278"/>
                  </a:lnTo>
                  <a:lnTo>
                    <a:pt x="2258" y="2278"/>
                  </a:lnTo>
                  <a:lnTo>
                    <a:pt x="2264" y="2280"/>
                  </a:lnTo>
                  <a:lnTo>
                    <a:pt x="2268" y="2280"/>
                  </a:lnTo>
                  <a:lnTo>
                    <a:pt x="2270" y="2278"/>
                  </a:lnTo>
                  <a:lnTo>
                    <a:pt x="2272" y="2276"/>
                  </a:lnTo>
                  <a:lnTo>
                    <a:pt x="2272" y="2276"/>
                  </a:lnTo>
                  <a:lnTo>
                    <a:pt x="2276" y="2278"/>
                  </a:lnTo>
                  <a:lnTo>
                    <a:pt x="2280" y="2282"/>
                  </a:lnTo>
                  <a:lnTo>
                    <a:pt x="2282" y="2284"/>
                  </a:lnTo>
                  <a:lnTo>
                    <a:pt x="2286" y="2286"/>
                  </a:lnTo>
                  <a:lnTo>
                    <a:pt x="2286" y="2286"/>
                  </a:lnTo>
                  <a:lnTo>
                    <a:pt x="2290" y="2288"/>
                  </a:lnTo>
                  <a:lnTo>
                    <a:pt x="2298" y="2292"/>
                  </a:lnTo>
                  <a:lnTo>
                    <a:pt x="2302" y="2296"/>
                  </a:lnTo>
                  <a:lnTo>
                    <a:pt x="2304" y="2300"/>
                  </a:lnTo>
                  <a:lnTo>
                    <a:pt x="2304" y="2304"/>
                  </a:lnTo>
                  <a:lnTo>
                    <a:pt x="2304" y="2304"/>
                  </a:lnTo>
                  <a:lnTo>
                    <a:pt x="2306" y="2310"/>
                  </a:lnTo>
                  <a:lnTo>
                    <a:pt x="2308" y="2314"/>
                  </a:lnTo>
                  <a:lnTo>
                    <a:pt x="2312" y="2316"/>
                  </a:lnTo>
                  <a:lnTo>
                    <a:pt x="2320" y="2318"/>
                  </a:lnTo>
                  <a:lnTo>
                    <a:pt x="2320" y="2318"/>
                  </a:lnTo>
                  <a:lnTo>
                    <a:pt x="2330" y="2318"/>
                  </a:lnTo>
                  <a:lnTo>
                    <a:pt x="2342" y="2322"/>
                  </a:lnTo>
                  <a:lnTo>
                    <a:pt x="2354" y="2326"/>
                  </a:lnTo>
                  <a:lnTo>
                    <a:pt x="2362" y="2334"/>
                  </a:lnTo>
                  <a:lnTo>
                    <a:pt x="2362" y="2334"/>
                  </a:lnTo>
                  <a:lnTo>
                    <a:pt x="2368" y="2338"/>
                  </a:lnTo>
                  <a:lnTo>
                    <a:pt x="2374" y="2340"/>
                  </a:lnTo>
                  <a:lnTo>
                    <a:pt x="2378" y="2342"/>
                  </a:lnTo>
                  <a:lnTo>
                    <a:pt x="2382" y="2346"/>
                  </a:lnTo>
                  <a:lnTo>
                    <a:pt x="2382" y="2346"/>
                  </a:lnTo>
                  <a:lnTo>
                    <a:pt x="2384" y="2350"/>
                  </a:lnTo>
                  <a:lnTo>
                    <a:pt x="2386" y="2350"/>
                  </a:lnTo>
                  <a:lnTo>
                    <a:pt x="2394" y="2350"/>
                  </a:lnTo>
                  <a:lnTo>
                    <a:pt x="2400" y="2346"/>
                  </a:lnTo>
                  <a:lnTo>
                    <a:pt x="2402" y="2342"/>
                  </a:lnTo>
                  <a:lnTo>
                    <a:pt x="2402" y="2342"/>
                  </a:lnTo>
                  <a:lnTo>
                    <a:pt x="2404" y="2338"/>
                  </a:lnTo>
                  <a:lnTo>
                    <a:pt x="2400" y="2334"/>
                  </a:lnTo>
                  <a:lnTo>
                    <a:pt x="2398" y="2330"/>
                  </a:lnTo>
                  <a:lnTo>
                    <a:pt x="2396" y="2326"/>
                  </a:lnTo>
                  <a:lnTo>
                    <a:pt x="2396" y="2326"/>
                  </a:lnTo>
                  <a:lnTo>
                    <a:pt x="2396" y="2324"/>
                  </a:lnTo>
                  <a:lnTo>
                    <a:pt x="2396" y="2322"/>
                  </a:lnTo>
                  <a:lnTo>
                    <a:pt x="2400" y="2320"/>
                  </a:lnTo>
                  <a:lnTo>
                    <a:pt x="2406" y="2318"/>
                  </a:lnTo>
                  <a:lnTo>
                    <a:pt x="2410" y="2312"/>
                  </a:lnTo>
                  <a:lnTo>
                    <a:pt x="2410" y="2312"/>
                  </a:lnTo>
                  <a:lnTo>
                    <a:pt x="2412" y="2310"/>
                  </a:lnTo>
                  <a:lnTo>
                    <a:pt x="2414" y="2306"/>
                  </a:lnTo>
                  <a:lnTo>
                    <a:pt x="2422" y="2304"/>
                  </a:lnTo>
                  <a:lnTo>
                    <a:pt x="2432" y="2302"/>
                  </a:lnTo>
                  <a:lnTo>
                    <a:pt x="2440" y="2304"/>
                  </a:lnTo>
                  <a:lnTo>
                    <a:pt x="2440" y="2304"/>
                  </a:lnTo>
                  <a:lnTo>
                    <a:pt x="2446" y="2306"/>
                  </a:lnTo>
                  <a:lnTo>
                    <a:pt x="2450" y="2310"/>
                  </a:lnTo>
                  <a:lnTo>
                    <a:pt x="2450" y="2316"/>
                  </a:lnTo>
                  <a:lnTo>
                    <a:pt x="2448" y="2322"/>
                  </a:lnTo>
                  <a:lnTo>
                    <a:pt x="2448" y="2322"/>
                  </a:lnTo>
                  <a:lnTo>
                    <a:pt x="2446" y="2326"/>
                  </a:lnTo>
                  <a:lnTo>
                    <a:pt x="2446" y="2330"/>
                  </a:lnTo>
                  <a:lnTo>
                    <a:pt x="2454" y="2340"/>
                  </a:lnTo>
                  <a:lnTo>
                    <a:pt x="2472" y="2358"/>
                  </a:lnTo>
                  <a:lnTo>
                    <a:pt x="2472" y="2358"/>
                  </a:lnTo>
                  <a:lnTo>
                    <a:pt x="2476" y="2366"/>
                  </a:lnTo>
                  <a:lnTo>
                    <a:pt x="2478" y="2370"/>
                  </a:lnTo>
                  <a:lnTo>
                    <a:pt x="2478" y="2376"/>
                  </a:lnTo>
                  <a:lnTo>
                    <a:pt x="2478" y="2380"/>
                  </a:lnTo>
                  <a:lnTo>
                    <a:pt x="2478" y="2380"/>
                  </a:lnTo>
                  <a:lnTo>
                    <a:pt x="2480" y="2388"/>
                  </a:lnTo>
                  <a:lnTo>
                    <a:pt x="2480" y="2392"/>
                  </a:lnTo>
                  <a:lnTo>
                    <a:pt x="2478" y="2396"/>
                  </a:lnTo>
                  <a:lnTo>
                    <a:pt x="2478" y="2396"/>
                  </a:lnTo>
                  <a:lnTo>
                    <a:pt x="2476" y="2398"/>
                  </a:lnTo>
                  <a:lnTo>
                    <a:pt x="2476" y="2402"/>
                  </a:lnTo>
                  <a:lnTo>
                    <a:pt x="2476" y="2416"/>
                  </a:lnTo>
                  <a:lnTo>
                    <a:pt x="2478" y="2428"/>
                  </a:lnTo>
                  <a:lnTo>
                    <a:pt x="2482" y="2438"/>
                  </a:lnTo>
                  <a:lnTo>
                    <a:pt x="2482" y="2438"/>
                  </a:lnTo>
                  <a:lnTo>
                    <a:pt x="2484" y="2442"/>
                  </a:lnTo>
                  <a:lnTo>
                    <a:pt x="2484" y="2446"/>
                  </a:lnTo>
                  <a:lnTo>
                    <a:pt x="2476" y="2460"/>
                  </a:lnTo>
                  <a:lnTo>
                    <a:pt x="2476" y="2460"/>
                  </a:lnTo>
                  <a:lnTo>
                    <a:pt x="2472" y="2468"/>
                  </a:lnTo>
                  <a:lnTo>
                    <a:pt x="2468" y="2474"/>
                  </a:lnTo>
                  <a:lnTo>
                    <a:pt x="2462" y="2478"/>
                  </a:lnTo>
                  <a:lnTo>
                    <a:pt x="2454" y="2480"/>
                  </a:lnTo>
                  <a:lnTo>
                    <a:pt x="2454" y="2480"/>
                  </a:lnTo>
                  <a:lnTo>
                    <a:pt x="2450" y="2480"/>
                  </a:lnTo>
                  <a:lnTo>
                    <a:pt x="2448" y="2482"/>
                  </a:lnTo>
                  <a:lnTo>
                    <a:pt x="2444" y="2488"/>
                  </a:lnTo>
                  <a:lnTo>
                    <a:pt x="2442" y="2494"/>
                  </a:lnTo>
                  <a:lnTo>
                    <a:pt x="2440" y="2496"/>
                  </a:lnTo>
                  <a:lnTo>
                    <a:pt x="2440" y="2496"/>
                  </a:lnTo>
                  <a:lnTo>
                    <a:pt x="2438" y="2498"/>
                  </a:lnTo>
                  <a:lnTo>
                    <a:pt x="2436" y="2502"/>
                  </a:lnTo>
                  <a:lnTo>
                    <a:pt x="2434" y="2512"/>
                  </a:lnTo>
                  <a:lnTo>
                    <a:pt x="2434" y="2512"/>
                  </a:lnTo>
                  <a:lnTo>
                    <a:pt x="2434" y="2516"/>
                  </a:lnTo>
                  <a:lnTo>
                    <a:pt x="2430" y="2518"/>
                  </a:lnTo>
                  <a:lnTo>
                    <a:pt x="2424" y="2520"/>
                  </a:lnTo>
                  <a:lnTo>
                    <a:pt x="2416" y="2522"/>
                  </a:lnTo>
                  <a:lnTo>
                    <a:pt x="2416" y="2522"/>
                  </a:lnTo>
                  <a:lnTo>
                    <a:pt x="2412" y="2522"/>
                  </a:lnTo>
                  <a:lnTo>
                    <a:pt x="2410" y="2524"/>
                  </a:lnTo>
                  <a:lnTo>
                    <a:pt x="2408" y="2528"/>
                  </a:lnTo>
                  <a:lnTo>
                    <a:pt x="2408" y="2542"/>
                  </a:lnTo>
                  <a:lnTo>
                    <a:pt x="2408" y="2542"/>
                  </a:lnTo>
                  <a:lnTo>
                    <a:pt x="2406" y="2546"/>
                  </a:lnTo>
                  <a:lnTo>
                    <a:pt x="2402" y="2550"/>
                  </a:lnTo>
                  <a:lnTo>
                    <a:pt x="2398" y="2552"/>
                  </a:lnTo>
                  <a:lnTo>
                    <a:pt x="2396" y="2558"/>
                  </a:lnTo>
                  <a:lnTo>
                    <a:pt x="2396" y="2558"/>
                  </a:lnTo>
                  <a:lnTo>
                    <a:pt x="2394" y="2562"/>
                  </a:lnTo>
                  <a:lnTo>
                    <a:pt x="2394" y="2566"/>
                  </a:lnTo>
                  <a:lnTo>
                    <a:pt x="2392" y="2570"/>
                  </a:lnTo>
                  <a:lnTo>
                    <a:pt x="2388" y="2572"/>
                  </a:lnTo>
                  <a:lnTo>
                    <a:pt x="2388" y="2572"/>
                  </a:lnTo>
                  <a:lnTo>
                    <a:pt x="2382" y="2576"/>
                  </a:lnTo>
                  <a:lnTo>
                    <a:pt x="2380" y="2580"/>
                  </a:lnTo>
                  <a:lnTo>
                    <a:pt x="2380" y="2586"/>
                  </a:lnTo>
                  <a:lnTo>
                    <a:pt x="2382" y="2590"/>
                  </a:lnTo>
                  <a:lnTo>
                    <a:pt x="2382" y="2590"/>
                  </a:lnTo>
                  <a:lnTo>
                    <a:pt x="2384" y="2596"/>
                  </a:lnTo>
                  <a:lnTo>
                    <a:pt x="2384" y="2602"/>
                  </a:lnTo>
                  <a:lnTo>
                    <a:pt x="2380" y="2608"/>
                  </a:lnTo>
                  <a:lnTo>
                    <a:pt x="2380" y="2608"/>
                  </a:lnTo>
                  <a:lnTo>
                    <a:pt x="2380" y="2612"/>
                  </a:lnTo>
                  <a:lnTo>
                    <a:pt x="2384" y="2614"/>
                  </a:lnTo>
                  <a:lnTo>
                    <a:pt x="2396" y="2622"/>
                  </a:lnTo>
                  <a:lnTo>
                    <a:pt x="2396" y="2622"/>
                  </a:lnTo>
                  <a:lnTo>
                    <a:pt x="2400" y="2626"/>
                  </a:lnTo>
                  <a:lnTo>
                    <a:pt x="2404" y="2626"/>
                  </a:lnTo>
                  <a:lnTo>
                    <a:pt x="2406" y="2624"/>
                  </a:lnTo>
                  <a:lnTo>
                    <a:pt x="2408" y="2626"/>
                  </a:lnTo>
                  <a:lnTo>
                    <a:pt x="2408" y="2626"/>
                  </a:lnTo>
                  <a:lnTo>
                    <a:pt x="2410" y="2632"/>
                  </a:lnTo>
                  <a:lnTo>
                    <a:pt x="2408" y="2636"/>
                  </a:lnTo>
                  <a:lnTo>
                    <a:pt x="2404" y="2642"/>
                  </a:lnTo>
                  <a:lnTo>
                    <a:pt x="2396" y="2642"/>
                  </a:lnTo>
                  <a:lnTo>
                    <a:pt x="2396" y="2642"/>
                  </a:lnTo>
                  <a:lnTo>
                    <a:pt x="2390" y="2646"/>
                  </a:lnTo>
                  <a:lnTo>
                    <a:pt x="2382" y="2652"/>
                  </a:lnTo>
                  <a:lnTo>
                    <a:pt x="2376" y="2658"/>
                  </a:lnTo>
                  <a:lnTo>
                    <a:pt x="2372" y="2666"/>
                  </a:lnTo>
                  <a:lnTo>
                    <a:pt x="2372" y="2666"/>
                  </a:lnTo>
                  <a:lnTo>
                    <a:pt x="2372" y="2672"/>
                  </a:lnTo>
                  <a:lnTo>
                    <a:pt x="2372" y="2676"/>
                  </a:lnTo>
                  <a:lnTo>
                    <a:pt x="2374" y="2686"/>
                  </a:lnTo>
                  <a:lnTo>
                    <a:pt x="2382" y="2704"/>
                  </a:lnTo>
                  <a:lnTo>
                    <a:pt x="2382" y="2704"/>
                  </a:lnTo>
                  <a:lnTo>
                    <a:pt x="2382" y="2708"/>
                  </a:lnTo>
                  <a:lnTo>
                    <a:pt x="2380" y="2708"/>
                  </a:lnTo>
                  <a:lnTo>
                    <a:pt x="2376" y="2708"/>
                  </a:lnTo>
                  <a:lnTo>
                    <a:pt x="2374" y="2712"/>
                  </a:lnTo>
                  <a:lnTo>
                    <a:pt x="2374" y="2712"/>
                  </a:lnTo>
                  <a:lnTo>
                    <a:pt x="2374" y="2714"/>
                  </a:lnTo>
                  <a:lnTo>
                    <a:pt x="2376" y="2718"/>
                  </a:lnTo>
                  <a:lnTo>
                    <a:pt x="2384" y="2724"/>
                  </a:lnTo>
                  <a:lnTo>
                    <a:pt x="2404" y="2736"/>
                  </a:lnTo>
                  <a:lnTo>
                    <a:pt x="2404" y="2736"/>
                  </a:lnTo>
                  <a:lnTo>
                    <a:pt x="2410" y="2742"/>
                  </a:lnTo>
                  <a:lnTo>
                    <a:pt x="2418" y="2754"/>
                  </a:lnTo>
                  <a:lnTo>
                    <a:pt x="2424" y="2764"/>
                  </a:lnTo>
                  <a:lnTo>
                    <a:pt x="2430" y="2772"/>
                  </a:lnTo>
                  <a:lnTo>
                    <a:pt x="2430" y="2772"/>
                  </a:lnTo>
                  <a:lnTo>
                    <a:pt x="2436" y="2780"/>
                  </a:lnTo>
                  <a:lnTo>
                    <a:pt x="2440" y="2788"/>
                  </a:lnTo>
                  <a:lnTo>
                    <a:pt x="2450" y="2814"/>
                  </a:lnTo>
                  <a:lnTo>
                    <a:pt x="2450" y="2814"/>
                  </a:lnTo>
                  <a:lnTo>
                    <a:pt x="2470" y="2858"/>
                  </a:lnTo>
                  <a:lnTo>
                    <a:pt x="2482" y="2878"/>
                  </a:lnTo>
                  <a:lnTo>
                    <a:pt x="2492" y="2894"/>
                  </a:lnTo>
                  <a:lnTo>
                    <a:pt x="2492" y="2894"/>
                  </a:lnTo>
                  <a:lnTo>
                    <a:pt x="2500" y="2906"/>
                  </a:lnTo>
                  <a:lnTo>
                    <a:pt x="2506" y="2916"/>
                  </a:lnTo>
                  <a:lnTo>
                    <a:pt x="2510" y="2924"/>
                  </a:lnTo>
                  <a:lnTo>
                    <a:pt x="2508" y="2930"/>
                  </a:lnTo>
                  <a:lnTo>
                    <a:pt x="2508" y="2930"/>
                  </a:lnTo>
                  <a:lnTo>
                    <a:pt x="2508" y="2934"/>
                  </a:lnTo>
                  <a:lnTo>
                    <a:pt x="2510" y="2942"/>
                  </a:lnTo>
                  <a:lnTo>
                    <a:pt x="2512" y="2948"/>
                  </a:lnTo>
                  <a:lnTo>
                    <a:pt x="2518" y="2954"/>
                  </a:lnTo>
                  <a:lnTo>
                    <a:pt x="2518" y="2954"/>
                  </a:lnTo>
                  <a:lnTo>
                    <a:pt x="2534" y="2968"/>
                  </a:lnTo>
                  <a:lnTo>
                    <a:pt x="2546" y="2976"/>
                  </a:lnTo>
                  <a:lnTo>
                    <a:pt x="2562" y="2984"/>
                  </a:lnTo>
                  <a:lnTo>
                    <a:pt x="2562" y="2984"/>
                  </a:lnTo>
                  <a:lnTo>
                    <a:pt x="2608" y="3010"/>
                  </a:lnTo>
                  <a:lnTo>
                    <a:pt x="2628" y="3022"/>
                  </a:lnTo>
                  <a:lnTo>
                    <a:pt x="2636" y="3028"/>
                  </a:lnTo>
                  <a:lnTo>
                    <a:pt x="2640" y="3034"/>
                  </a:lnTo>
                  <a:lnTo>
                    <a:pt x="2640" y="3034"/>
                  </a:lnTo>
                  <a:lnTo>
                    <a:pt x="2648" y="3042"/>
                  </a:lnTo>
                  <a:lnTo>
                    <a:pt x="2658" y="3050"/>
                  </a:lnTo>
                  <a:lnTo>
                    <a:pt x="2674" y="3058"/>
                  </a:lnTo>
                  <a:lnTo>
                    <a:pt x="2674" y="3058"/>
                  </a:lnTo>
                  <a:lnTo>
                    <a:pt x="2674" y="3062"/>
                  </a:lnTo>
                  <a:lnTo>
                    <a:pt x="2674" y="3070"/>
                  </a:lnTo>
                  <a:lnTo>
                    <a:pt x="2674" y="3080"/>
                  </a:lnTo>
                  <a:lnTo>
                    <a:pt x="2674" y="3088"/>
                  </a:lnTo>
                  <a:lnTo>
                    <a:pt x="2674" y="3088"/>
                  </a:lnTo>
                  <a:lnTo>
                    <a:pt x="2678" y="3100"/>
                  </a:lnTo>
                  <a:lnTo>
                    <a:pt x="2678" y="3120"/>
                  </a:lnTo>
                  <a:lnTo>
                    <a:pt x="2678" y="3140"/>
                  </a:lnTo>
                  <a:lnTo>
                    <a:pt x="2676" y="3158"/>
                  </a:lnTo>
                  <a:lnTo>
                    <a:pt x="2676" y="3158"/>
                  </a:lnTo>
                  <a:lnTo>
                    <a:pt x="2672" y="3180"/>
                  </a:lnTo>
                  <a:lnTo>
                    <a:pt x="2666" y="3198"/>
                  </a:lnTo>
                  <a:lnTo>
                    <a:pt x="2666" y="3198"/>
                  </a:lnTo>
                  <a:lnTo>
                    <a:pt x="2666" y="3204"/>
                  </a:lnTo>
                  <a:lnTo>
                    <a:pt x="2668" y="3208"/>
                  </a:lnTo>
                  <a:lnTo>
                    <a:pt x="2670" y="3212"/>
                  </a:lnTo>
                  <a:lnTo>
                    <a:pt x="2670" y="3214"/>
                  </a:lnTo>
                  <a:lnTo>
                    <a:pt x="2670" y="3214"/>
                  </a:lnTo>
                  <a:lnTo>
                    <a:pt x="2666" y="3220"/>
                  </a:lnTo>
                  <a:lnTo>
                    <a:pt x="2666" y="3228"/>
                  </a:lnTo>
                  <a:lnTo>
                    <a:pt x="2666" y="3250"/>
                  </a:lnTo>
                  <a:lnTo>
                    <a:pt x="2666" y="3250"/>
                  </a:lnTo>
                  <a:lnTo>
                    <a:pt x="2664" y="3268"/>
                  </a:lnTo>
                  <a:lnTo>
                    <a:pt x="2660" y="3286"/>
                  </a:lnTo>
                  <a:lnTo>
                    <a:pt x="2656" y="3302"/>
                  </a:lnTo>
                  <a:lnTo>
                    <a:pt x="2654" y="3314"/>
                  </a:lnTo>
                  <a:lnTo>
                    <a:pt x="2654" y="3314"/>
                  </a:lnTo>
                  <a:lnTo>
                    <a:pt x="2652" y="3320"/>
                  </a:lnTo>
                  <a:lnTo>
                    <a:pt x="2650" y="3326"/>
                  </a:lnTo>
                  <a:lnTo>
                    <a:pt x="2648" y="3334"/>
                  </a:lnTo>
                  <a:lnTo>
                    <a:pt x="2648" y="3342"/>
                  </a:lnTo>
                  <a:lnTo>
                    <a:pt x="2648" y="3342"/>
                  </a:lnTo>
                  <a:lnTo>
                    <a:pt x="2646" y="3350"/>
                  </a:lnTo>
                  <a:lnTo>
                    <a:pt x="2644" y="3356"/>
                  </a:lnTo>
                  <a:lnTo>
                    <a:pt x="2640" y="3360"/>
                  </a:lnTo>
                  <a:lnTo>
                    <a:pt x="2634" y="3366"/>
                  </a:lnTo>
                  <a:lnTo>
                    <a:pt x="2634" y="3366"/>
                  </a:lnTo>
                  <a:lnTo>
                    <a:pt x="2634" y="3368"/>
                  </a:lnTo>
                  <a:lnTo>
                    <a:pt x="2634" y="3372"/>
                  </a:lnTo>
                  <a:lnTo>
                    <a:pt x="2638" y="3380"/>
                  </a:lnTo>
                  <a:lnTo>
                    <a:pt x="2642" y="3390"/>
                  </a:lnTo>
                  <a:lnTo>
                    <a:pt x="2646" y="3398"/>
                  </a:lnTo>
                  <a:lnTo>
                    <a:pt x="2646" y="3398"/>
                  </a:lnTo>
                  <a:lnTo>
                    <a:pt x="2642" y="3404"/>
                  </a:lnTo>
                  <a:lnTo>
                    <a:pt x="2638" y="3410"/>
                  </a:lnTo>
                  <a:lnTo>
                    <a:pt x="2636" y="3418"/>
                  </a:lnTo>
                  <a:lnTo>
                    <a:pt x="2634" y="3422"/>
                  </a:lnTo>
                  <a:lnTo>
                    <a:pt x="2634" y="3428"/>
                  </a:lnTo>
                  <a:lnTo>
                    <a:pt x="2634" y="3428"/>
                  </a:lnTo>
                  <a:lnTo>
                    <a:pt x="2636" y="3444"/>
                  </a:lnTo>
                  <a:lnTo>
                    <a:pt x="2636" y="3462"/>
                  </a:lnTo>
                  <a:lnTo>
                    <a:pt x="2634" y="3488"/>
                  </a:lnTo>
                  <a:lnTo>
                    <a:pt x="2634" y="3488"/>
                  </a:lnTo>
                  <a:lnTo>
                    <a:pt x="2634" y="3492"/>
                  </a:lnTo>
                  <a:lnTo>
                    <a:pt x="2632" y="3494"/>
                  </a:lnTo>
                  <a:lnTo>
                    <a:pt x="2630" y="3498"/>
                  </a:lnTo>
                  <a:lnTo>
                    <a:pt x="2628" y="3506"/>
                  </a:lnTo>
                  <a:lnTo>
                    <a:pt x="2628" y="3506"/>
                  </a:lnTo>
                  <a:lnTo>
                    <a:pt x="2628" y="3514"/>
                  </a:lnTo>
                  <a:lnTo>
                    <a:pt x="2626" y="3520"/>
                  </a:lnTo>
                  <a:lnTo>
                    <a:pt x="2622" y="3528"/>
                  </a:lnTo>
                  <a:lnTo>
                    <a:pt x="2620" y="3540"/>
                  </a:lnTo>
                  <a:lnTo>
                    <a:pt x="2620" y="3540"/>
                  </a:lnTo>
                  <a:lnTo>
                    <a:pt x="2616" y="3554"/>
                  </a:lnTo>
                  <a:lnTo>
                    <a:pt x="2610" y="3570"/>
                  </a:lnTo>
                  <a:lnTo>
                    <a:pt x="2598" y="3598"/>
                  </a:lnTo>
                  <a:lnTo>
                    <a:pt x="2598" y="3598"/>
                  </a:lnTo>
                  <a:lnTo>
                    <a:pt x="2592" y="3614"/>
                  </a:lnTo>
                  <a:lnTo>
                    <a:pt x="2590" y="3618"/>
                  </a:lnTo>
                  <a:lnTo>
                    <a:pt x="2586" y="3620"/>
                  </a:lnTo>
                  <a:lnTo>
                    <a:pt x="2586" y="3620"/>
                  </a:lnTo>
                  <a:lnTo>
                    <a:pt x="2582" y="3620"/>
                  </a:lnTo>
                  <a:lnTo>
                    <a:pt x="2578" y="3624"/>
                  </a:lnTo>
                  <a:lnTo>
                    <a:pt x="2580" y="3632"/>
                  </a:lnTo>
                  <a:lnTo>
                    <a:pt x="2582" y="3640"/>
                  </a:lnTo>
                  <a:lnTo>
                    <a:pt x="2582" y="3640"/>
                  </a:lnTo>
                  <a:lnTo>
                    <a:pt x="2584" y="3648"/>
                  </a:lnTo>
                  <a:lnTo>
                    <a:pt x="2582" y="3656"/>
                  </a:lnTo>
                  <a:lnTo>
                    <a:pt x="2582" y="3666"/>
                  </a:lnTo>
                  <a:lnTo>
                    <a:pt x="2586" y="3674"/>
                  </a:lnTo>
                  <a:lnTo>
                    <a:pt x="2586" y="3674"/>
                  </a:lnTo>
                  <a:lnTo>
                    <a:pt x="2590" y="3682"/>
                  </a:lnTo>
                  <a:lnTo>
                    <a:pt x="2590" y="3688"/>
                  </a:lnTo>
                  <a:lnTo>
                    <a:pt x="2588" y="3694"/>
                  </a:lnTo>
                  <a:lnTo>
                    <a:pt x="2586" y="3702"/>
                  </a:lnTo>
                  <a:lnTo>
                    <a:pt x="2586" y="3702"/>
                  </a:lnTo>
                  <a:lnTo>
                    <a:pt x="2584" y="3708"/>
                  </a:lnTo>
                  <a:lnTo>
                    <a:pt x="2582" y="3714"/>
                  </a:lnTo>
                  <a:lnTo>
                    <a:pt x="2578" y="3718"/>
                  </a:lnTo>
                  <a:lnTo>
                    <a:pt x="2578" y="3724"/>
                  </a:lnTo>
                  <a:lnTo>
                    <a:pt x="2578" y="3724"/>
                  </a:lnTo>
                  <a:lnTo>
                    <a:pt x="2576" y="3732"/>
                  </a:lnTo>
                  <a:lnTo>
                    <a:pt x="2574" y="3740"/>
                  </a:lnTo>
                  <a:lnTo>
                    <a:pt x="2574" y="3748"/>
                  </a:lnTo>
                  <a:lnTo>
                    <a:pt x="2574" y="3756"/>
                  </a:lnTo>
                  <a:lnTo>
                    <a:pt x="2574" y="3756"/>
                  </a:lnTo>
                  <a:lnTo>
                    <a:pt x="2578" y="3764"/>
                  </a:lnTo>
                  <a:lnTo>
                    <a:pt x="2578" y="3770"/>
                  </a:lnTo>
                  <a:lnTo>
                    <a:pt x="2576" y="3772"/>
                  </a:lnTo>
                  <a:lnTo>
                    <a:pt x="2572" y="3774"/>
                  </a:lnTo>
                  <a:lnTo>
                    <a:pt x="2572" y="3774"/>
                  </a:lnTo>
                  <a:lnTo>
                    <a:pt x="2568" y="3774"/>
                  </a:lnTo>
                  <a:lnTo>
                    <a:pt x="2566" y="3780"/>
                  </a:lnTo>
                  <a:lnTo>
                    <a:pt x="2562" y="3790"/>
                  </a:lnTo>
                  <a:lnTo>
                    <a:pt x="2560" y="3802"/>
                  </a:lnTo>
                  <a:lnTo>
                    <a:pt x="2560" y="3802"/>
                  </a:lnTo>
                  <a:lnTo>
                    <a:pt x="2560" y="3814"/>
                  </a:lnTo>
                  <a:lnTo>
                    <a:pt x="2560" y="3820"/>
                  </a:lnTo>
                  <a:lnTo>
                    <a:pt x="2564" y="3822"/>
                  </a:lnTo>
                  <a:lnTo>
                    <a:pt x="2574" y="3820"/>
                  </a:lnTo>
                  <a:lnTo>
                    <a:pt x="2574" y="3820"/>
                  </a:lnTo>
                  <a:lnTo>
                    <a:pt x="2578" y="3818"/>
                  </a:lnTo>
                  <a:lnTo>
                    <a:pt x="2580" y="3812"/>
                  </a:lnTo>
                  <a:lnTo>
                    <a:pt x="2582" y="3796"/>
                  </a:lnTo>
                  <a:lnTo>
                    <a:pt x="2582" y="3780"/>
                  </a:lnTo>
                  <a:lnTo>
                    <a:pt x="2582" y="3774"/>
                  </a:lnTo>
                  <a:lnTo>
                    <a:pt x="2586" y="3772"/>
                  </a:lnTo>
                  <a:lnTo>
                    <a:pt x="2586" y="3772"/>
                  </a:lnTo>
                  <a:lnTo>
                    <a:pt x="2590" y="3770"/>
                  </a:lnTo>
                  <a:lnTo>
                    <a:pt x="2590" y="3768"/>
                  </a:lnTo>
                  <a:lnTo>
                    <a:pt x="2592" y="3764"/>
                  </a:lnTo>
                  <a:lnTo>
                    <a:pt x="2596" y="3762"/>
                  </a:lnTo>
                  <a:lnTo>
                    <a:pt x="2596" y="3762"/>
                  </a:lnTo>
                  <a:lnTo>
                    <a:pt x="2600" y="3762"/>
                  </a:lnTo>
                  <a:lnTo>
                    <a:pt x="2600" y="3766"/>
                  </a:lnTo>
                  <a:lnTo>
                    <a:pt x="2600" y="3770"/>
                  </a:lnTo>
                  <a:lnTo>
                    <a:pt x="2602" y="3770"/>
                  </a:lnTo>
                  <a:lnTo>
                    <a:pt x="2602" y="3772"/>
                  </a:lnTo>
                  <a:lnTo>
                    <a:pt x="2602" y="3772"/>
                  </a:lnTo>
                  <a:lnTo>
                    <a:pt x="2606" y="3774"/>
                  </a:lnTo>
                  <a:lnTo>
                    <a:pt x="2610" y="3776"/>
                  </a:lnTo>
                  <a:lnTo>
                    <a:pt x="2608" y="3780"/>
                  </a:lnTo>
                  <a:lnTo>
                    <a:pt x="2604" y="3784"/>
                  </a:lnTo>
                  <a:lnTo>
                    <a:pt x="2604" y="3784"/>
                  </a:lnTo>
                  <a:lnTo>
                    <a:pt x="2602" y="3786"/>
                  </a:lnTo>
                  <a:lnTo>
                    <a:pt x="2602" y="3788"/>
                  </a:lnTo>
                  <a:lnTo>
                    <a:pt x="2602" y="3794"/>
                  </a:lnTo>
                  <a:lnTo>
                    <a:pt x="2604" y="3802"/>
                  </a:lnTo>
                  <a:lnTo>
                    <a:pt x="2602" y="3806"/>
                  </a:lnTo>
                  <a:lnTo>
                    <a:pt x="2602" y="3806"/>
                  </a:lnTo>
                  <a:lnTo>
                    <a:pt x="2596" y="3818"/>
                  </a:lnTo>
                  <a:lnTo>
                    <a:pt x="2594" y="3822"/>
                  </a:lnTo>
                  <a:lnTo>
                    <a:pt x="2596" y="3828"/>
                  </a:lnTo>
                  <a:lnTo>
                    <a:pt x="2596" y="3828"/>
                  </a:lnTo>
                  <a:lnTo>
                    <a:pt x="2596" y="3834"/>
                  </a:lnTo>
                  <a:lnTo>
                    <a:pt x="2594" y="3836"/>
                  </a:lnTo>
                  <a:lnTo>
                    <a:pt x="2592" y="3840"/>
                  </a:lnTo>
                  <a:lnTo>
                    <a:pt x="2590" y="3846"/>
                  </a:lnTo>
                  <a:lnTo>
                    <a:pt x="2590" y="3846"/>
                  </a:lnTo>
                  <a:lnTo>
                    <a:pt x="2592" y="3852"/>
                  </a:lnTo>
                  <a:lnTo>
                    <a:pt x="2592" y="3856"/>
                  </a:lnTo>
                  <a:lnTo>
                    <a:pt x="2594" y="3858"/>
                  </a:lnTo>
                  <a:lnTo>
                    <a:pt x="2592" y="3860"/>
                  </a:lnTo>
                  <a:lnTo>
                    <a:pt x="2592" y="3860"/>
                  </a:lnTo>
                  <a:lnTo>
                    <a:pt x="2592" y="3862"/>
                  </a:lnTo>
                  <a:lnTo>
                    <a:pt x="2592" y="3866"/>
                  </a:lnTo>
                  <a:lnTo>
                    <a:pt x="2594" y="3870"/>
                  </a:lnTo>
                  <a:lnTo>
                    <a:pt x="2594" y="3870"/>
                  </a:lnTo>
                  <a:lnTo>
                    <a:pt x="2592" y="3870"/>
                  </a:lnTo>
                  <a:lnTo>
                    <a:pt x="2592" y="3870"/>
                  </a:lnTo>
                  <a:lnTo>
                    <a:pt x="2588" y="3874"/>
                  </a:lnTo>
                  <a:lnTo>
                    <a:pt x="2588" y="3876"/>
                  </a:lnTo>
                  <a:lnTo>
                    <a:pt x="2592" y="3888"/>
                  </a:lnTo>
                  <a:lnTo>
                    <a:pt x="2592" y="3888"/>
                  </a:lnTo>
                  <a:lnTo>
                    <a:pt x="2594" y="3890"/>
                  </a:lnTo>
                  <a:lnTo>
                    <a:pt x="2592" y="3890"/>
                  </a:lnTo>
                  <a:lnTo>
                    <a:pt x="2590" y="3892"/>
                  </a:lnTo>
                  <a:lnTo>
                    <a:pt x="2584" y="3892"/>
                  </a:lnTo>
                  <a:lnTo>
                    <a:pt x="2578" y="3896"/>
                  </a:lnTo>
                  <a:lnTo>
                    <a:pt x="2578" y="3896"/>
                  </a:lnTo>
                  <a:lnTo>
                    <a:pt x="2578" y="3898"/>
                  </a:lnTo>
                  <a:lnTo>
                    <a:pt x="2578" y="3900"/>
                  </a:lnTo>
                  <a:lnTo>
                    <a:pt x="2580" y="3904"/>
                  </a:lnTo>
                  <a:lnTo>
                    <a:pt x="2582" y="3908"/>
                  </a:lnTo>
                  <a:lnTo>
                    <a:pt x="2582" y="3910"/>
                  </a:lnTo>
                  <a:lnTo>
                    <a:pt x="2582" y="3914"/>
                  </a:lnTo>
                  <a:lnTo>
                    <a:pt x="2582" y="3914"/>
                  </a:lnTo>
                  <a:lnTo>
                    <a:pt x="2580" y="3916"/>
                  </a:lnTo>
                  <a:lnTo>
                    <a:pt x="2578" y="3916"/>
                  </a:lnTo>
                  <a:lnTo>
                    <a:pt x="2572" y="3914"/>
                  </a:lnTo>
                  <a:lnTo>
                    <a:pt x="2564" y="3906"/>
                  </a:lnTo>
                  <a:lnTo>
                    <a:pt x="2564" y="3906"/>
                  </a:lnTo>
                  <a:lnTo>
                    <a:pt x="2562" y="3904"/>
                  </a:lnTo>
                  <a:lnTo>
                    <a:pt x="2564" y="3902"/>
                  </a:lnTo>
                  <a:lnTo>
                    <a:pt x="2566" y="3898"/>
                  </a:lnTo>
                  <a:lnTo>
                    <a:pt x="2576" y="3888"/>
                  </a:lnTo>
                  <a:lnTo>
                    <a:pt x="2576" y="3888"/>
                  </a:lnTo>
                  <a:lnTo>
                    <a:pt x="2578" y="3884"/>
                  </a:lnTo>
                  <a:lnTo>
                    <a:pt x="2578" y="3882"/>
                  </a:lnTo>
                  <a:lnTo>
                    <a:pt x="2574" y="3874"/>
                  </a:lnTo>
                  <a:lnTo>
                    <a:pt x="2568" y="3868"/>
                  </a:lnTo>
                  <a:lnTo>
                    <a:pt x="2564" y="3868"/>
                  </a:lnTo>
                  <a:lnTo>
                    <a:pt x="2562" y="3868"/>
                  </a:lnTo>
                  <a:lnTo>
                    <a:pt x="2562" y="3868"/>
                  </a:lnTo>
                  <a:lnTo>
                    <a:pt x="2560" y="3870"/>
                  </a:lnTo>
                  <a:lnTo>
                    <a:pt x="2558" y="3872"/>
                  </a:lnTo>
                  <a:lnTo>
                    <a:pt x="2562" y="3878"/>
                  </a:lnTo>
                  <a:lnTo>
                    <a:pt x="2568" y="3884"/>
                  </a:lnTo>
                  <a:lnTo>
                    <a:pt x="2570" y="3890"/>
                  </a:lnTo>
                  <a:lnTo>
                    <a:pt x="2570" y="3890"/>
                  </a:lnTo>
                  <a:lnTo>
                    <a:pt x="2570" y="3892"/>
                  </a:lnTo>
                  <a:lnTo>
                    <a:pt x="2568" y="3892"/>
                  </a:lnTo>
                  <a:lnTo>
                    <a:pt x="2562" y="3892"/>
                  </a:lnTo>
                  <a:lnTo>
                    <a:pt x="2558" y="3892"/>
                  </a:lnTo>
                  <a:lnTo>
                    <a:pt x="2556" y="3894"/>
                  </a:lnTo>
                  <a:lnTo>
                    <a:pt x="2556" y="3896"/>
                  </a:lnTo>
                  <a:lnTo>
                    <a:pt x="2556" y="3896"/>
                  </a:lnTo>
                  <a:lnTo>
                    <a:pt x="2554" y="3900"/>
                  </a:lnTo>
                  <a:lnTo>
                    <a:pt x="2550" y="3904"/>
                  </a:lnTo>
                  <a:lnTo>
                    <a:pt x="2544" y="3904"/>
                  </a:lnTo>
                  <a:lnTo>
                    <a:pt x="2540" y="3908"/>
                  </a:lnTo>
                  <a:lnTo>
                    <a:pt x="2540" y="3908"/>
                  </a:lnTo>
                  <a:lnTo>
                    <a:pt x="2538" y="3910"/>
                  </a:lnTo>
                  <a:lnTo>
                    <a:pt x="2538" y="3912"/>
                  </a:lnTo>
                  <a:lnTo>
                    <a:pt x="2540" y="3916"/>
                  </a:lnTo>
                  <a:lnTo>
                    <a:pt x="2542" y="3920"/>
                  </a:lnTo>
                  <a:lnTo>
                    <a:pt x="2542" y="3920"/>
                  </a:lnTo>
                  <a:lnTo>
                    <a:pt x="2542" y="3922"/>
                  </a:lnTo>
                  <a:lnTo>
                    <a:pt x="2542" y="3922"/>
                  </a:lnTo>
                  <a:lnTo>
                    <a:pt x="2536" y="3924"/>
                  </a:lnTo>
                  <a:lnTo>
                    <a:pt x="2530" y="3928"/>
                  </a:lnTo>
                  <a:lnTo>
                    <a:pt x="2526" y="3932"/>
                  </a:lnTo>
                  <a:lnTo>
                    <a:pt x="2524" y="3938"/>
                  </a:lnTo>
                  <a:lnTo>
                    <a:pt x="2524" y="3938"/>
                  </a:lnTo>
                  <a:lnTo>
                    <a:pt x="2526" y="3942"/>
                  </a:lnTo>
                  <a:lnTo>
                    <a:pt x="2528" y="3942"/>
                  </a:lnTo>
                  <a:lnTo>
                    <a:pt x="2530" y="3942"/>
                  </a:lnTo>
                  <a:lnTo>
                    <a:pt x="2532" y="3938"/>
                  </a:lnTo>
                  <a:lnTo>
                    <a:pt x="2532" y="3938"/>
                  </a:lnTo>
                  <a:lnTo>
                    <a:pt x="2532" y="3936"/>
                  </a:lnTo>
                  <a:lnTo>
                    <a:pt x="2536" y="3934"/>
                  </a:lnTo>
                  <a:lnTo>
                    <a:pt x="2540" y="3934"/>
                  </a:lnTo>
                  <a:lnTo>
                    <a:pt x="2544" y="3938"/>
                  </a:lnTo>
                  <a:lnTo>
                    <a:pt x="2544" y="3938"/>
                  </a:lnTo>
                  <a:lnTo>
                    <a:pt x="2546" y="3942"/>
                  </a:lnTo>
                  <a:lnTo>
                    <a:pt x="2550" y="3942"/>
                  </a:lnTo>
                  <a:lnTo>
                    <a:pt x="2554" y="3940"/>
                  </a:lnTo>
                  <a:lnTo>
                    <a:pt x="2560" y="3940"/>
                  </a:lnTo>
                  <a:lnTo>
                    <a:pt x="2560" y="3940"/>
                  </a:lnTo>
                  <a:lnTo>
                    <a:pt x="2564" y="3944"/>
                  </a:lnTo>
                  <a:lnTo>
                    <a:pt x="2566" y="3948"/>
                  </a:lnTo>
                  <a:lnTo>
                    <a:pt x="2564" y="3952"/>
                  </a:lnTo>
                  <a:lnTo>
                    <a:pt x="2562" y="3954"/>
                  </a:lnTo>
                  <a:lnTo>
                    <a:pt x="2562" y="3954"/>
                  </a:lnTo>
                  <a:lnTo>
                    <a:pt x="2558" y="3956"/>
                  </a:lnTo>
                  <a:lnTo>
                    <a:pt x="2556" y="3960"/>
                  </a:lnTo>
                  <a:lnTo>
                    <a:pt x="2554" y="3964"/>
                  </a:lnTo>
                  <a:lnTo>
                    <a:pt x="2554" y="3972"/>
                  </a:lnTo>
                  <a:lnTo>
                    <a:pt x="2554" y="3972"/>
                  </a:lnTo>
                  <a:lnTo>
                    <a:pt x="2554" y="3974"/>
                  </a:lnTo>
                  <a:lnTo>
                    <a:pt x="2556" y="3976"/>
                  </a:lnTo>
                  <a:lnTo>
                    <a:pt x="2564" y="3976"/>
                  </a:lnTo>
                  <a:lnTo>
                    <a:pt x="2572" y="3974"/>
                  </a:lnTo>
                  <a:lnTo>
                    <a:pt x="2578" y="3974"/>
                  </a:lnTo>
                  <a:lnTo>
                    <a:pt x="2578" y="3974"/>
                  </a:lnTo>
                  <a:lnTo>
                    <a:pt x="2582" y="3978"/>
                  </a:lnTo>
                  <a:lnTo>
                    <a:pt x="2584" y="3982"/>
                  </a:lnTo>
                  <a:lnTo>
                    <a:pt x="2582" y="3986"/>
                  </a:lnTo>
                  <a:lnTo>
                    <a:pt x="2580" y="3986"/>
                  </a:lnTo>
                  <a:lnTo>
                    <a:pt x="2580" y="3984"/>
                  </a:lnTo>
                  <a:lnTo>
                    <a:pt x="2580" y="3984"/>
                  </a:lnTo>
                  <a:lnTo>
                    <a:pt x="2576" y="3982"/>
                  </a:lnTo>
                  <a:lnTo>
                    <a:pt x="2570" y="3978"/>
                  </a:lnTo>
                  <a:lnTo>
                    <a:pt x="2566" y="3978"/>
                  </a:lnTo>
                  <a:lnTo>
                    <a:pt x="2564" y="3978"/>
                  </a:lnTo>
                  <a:lnTo>
                    <a:pt x="2562" y="3980"/>
                  </a:lnTo>
                  <a:lnTo>
                    <a:pt x="2562" y="3980"/>
                  </a:lnTo>
                  <a:lnTo>
                    <a:pt x="2558" y="3984"/>
                  </a:lnTo>
                  <a:lnTo>
                    <a:pt x="2554" y="3984"/>
                  </a:lnTo>
                  <a:lnTo>
                    <a:pt x="2544" y="3982"/>
                  </a:lnTo>
                  <a:lnTo>
                    <a:pt x="2544" y="3982"/>
                  </a:lnTo>
                  <a:lnTo>
                    <a:pt x="2538" y="3982"/>
                  </a:lnTo>
                  <a:lnTo>
                    <a:pt x="2532" y="3986"/>
                  </a:lnTo>
                  <a:lnTo>
                    <a:pt x="2526" y="3992"/>
                  </a:lnTo>
                  <a:lnTo>
                    <a:pt x="2526" y="3994"/>
                  </a:lnTo>
                  <a:lnTo>
                    <a:pt x="2526" y="3996"/>
                  </a:lnTo>
                  <a:lnTo>
                    <a:pt x="2526" y="3996"/>
                  </a:lnTo>
                  <a:lnTo>
                    <a:pt x="2530" y="4000"/>
                  </a:lnTo>
                  <a:lnTo>
                    <a:pt x="2532" y="4004"/>
                  </a:lnTo>
                  <a:lnTo>
                    <a:pt x="2534" y="4008"/>
                  </a:lnTo>
                  <a:lnTo>
                    <a:pt x="2538" y="4008"/>
                  </a:lnTo>
                  <a:lnTo>
                    <a:pt x="2538" y="4008"/>
                  </a:lnTo>
                  <a:lnTo>
                    <a:pt x="2544" y="4006"/>
                  </a:lnTo>
                  <a:lnTo>
                    <a:pt x="2548" y="4004"/>
                  </a:lnTo>
                  <a:lnTo>
                    <a:pt x="2550" y="4000"/>
                  </a:lnTo>
                  <a:lnTo>
                    <a:pt x="2550" y="4000"/>
                  </a:lnTo>
                  <a:lnTo>
                    <a:pt x="2554" y="3996"/>
                  </a:lnTo>
                  <a:lnTo>
                    <a:pt x="2556" y="3996"/>
                  </a:lnTo>
                  <a:lnTo>
                    <a:pt x="2560" y="3996"/>
                  </a:lnTo>
                  <a:lnTo>
                    <a:pt x="2562" y="4002"/>
                  </a:lnTo>
                  <a:lnTo>
                    <a:pt x="2562" y="4002"/>
                  </a:lnTo>
                  <a:lnTo>
                    <a:pt x="2562" y="4004"/>
                  </a:lnTo>
                  <a:lnTo>
                    <a:pt x="2560" y="4008"/>
                  </a:lnTo>
                  <a:lnTo>
                    <a:pt x="2556" y="4010"/>
                  </a:lnTo>
                  <a:lnTo>
                    <a:pt x="2552" y="4010"/>
                  </a:lnTo>
                  <a:lnTo>
                    <a:pt x="2548" y="4014"/>
                  </a:lnTo>
                  <a:lnTo>
                    <a:pt x="2548" y="4014"/>
                  </a:lnTo>
                  <a:lnTo>
                    <a:pt x="2542" y="4022"/>
                  </a:lnTo>
                  <a:lnTo>
                    <a:pt x="2534" y="4030"/>
                  </a:lnTo>
                  <a:lnTo>
                    <a:pt x="2534" y="4030"/>
                  </a:lnTo>
                  <a:lnTo>
                    <a:pt x="2530" y="4034"/>
                  </a:lnTo>
                  <a:lnTo>
                    <a:pt x="2532" y="4038"/>
                  </a:lnTo>
                  <a:lnTo>
                    <a:pt x="2534" y="4042"/>
                  </a:lnTo>
                  <a:lnTo>
                    <a:pt x="2540" y="4040"/>
                  </a:lnTo>
                  <a:lnTo>
                    <a:pt x="2540" y="4040"/>
                  </a:lnTo>
                  <a:lnTo>
                    <a:pt x="2542" y="4040"/>
                  </a:lnTo>
                  <a:lnTo>
                    <a:pt x="2542" y="4044"/>
                  </a:lnTo>
                  <a:lnTo>
                    <a:pt x="2542" y="4048"/>
                  </a:lnTo>
                  <a:lnTo>
                    <a:pt x="2544" y="4048"/>
                  </a:lnTo>
                  <a:lnTo>
                    <a:pt x="2546" y="4050"/>
                  </a:lnTo>
                  <a:lnTo>
                    <a:pt x="2546" y="4050"/>
                  </a:lnTo>
                  <a:lnTo>
                    <a:pt x="2552" y="4048"/>
                  </a:lnTo>
                  <a:lnTo>
                    <a:pt x="2554" y="4046"/>
                  </a:lnTo>
                  <a:lnTo>
                    <a:pt x="2556" y="4042"/>
                  </a:lnTo>
                  <a:lnTo>
                    <a:pt x="2554" y="4038"/>
                  </a:lnTo>
                  <a:lnTo>
                    <a:pt x="2554" y="4038"/>
                  </a:lnTo>
                  <a:lnTo>
                    <a:pt x="2554" y="4032"/>
                  </a:lnTo>
                  <a:lnTo>
                    <a:pt x="2556" y="4028"/>
                  </a:lnTo>
                  <a:lnTo>
                    <a:pt x="2560" y="4024"/>
                  </a:lnTo>
                  <a:lnTo>
                    <a:pt x="2564" y="4024"/>
                  </a:lnTo>
                  <a:lnTo>
                    <a:pt x="2566" y="4026"/>
                  </a:lnTo>
                  <a:lnTo>
                    <a:pt x="2566" y="4026"/>
                  </a:lnTo>
                  <a:lnTo>
                    <a:pt x="2568" y="4028"/>
                  </a:lnTo>
                  <a:lnTo>
                    <a:pt x="2568" y="4030"/>
                  </a:lnTo>
                  <a:lnTo>
                    <a:pt x="2566" y="4036"/>
                  </a:lnTo>
                  <a:lnTo>
                    <a:pt x="2564" y="4040"/>
                  </a:lnTo>
                  <a:lnTo>
                    <a:pt x="2562" y="4046"/>
                  </a:lnTo>
                  <a:lnTo>
                    <a:pt x="2562" y="4046"/>
                  </a:lnTo>
                  <a:lnTo>
                    <a:pt x="2560" y="4056"/>
                  </a:lnTo>
                  <a:lnTo>
                    <a:pt x="2558" y="4066"/>
                  </a:lnTo>
                  <a:lnTo>
                    <a:pt x="2558" y="4066"/>
                  </a:lnTo>
                  <a:lnTo>
                    <a:pt x="2558" y="4068"/>
                  </a:lnTo>
                  <a:lnTo>
                    <a:pt x="2554" y="4070"/>
                  </a:lnTo>
                  <a:lnTo>
                    <a:pt x="2552" y="4072"/>
                  </a:lnTo>
                  <a:lnTo>
                    <a:pt x="2550" y="4076"/>
                  </a:lnTo>
                  <a:lnTo>
                    <a:pt x="2550" y="4076"/>
                  </a:lnTo>
                  <a:lnTo>
                    <a:pt x="2550" y="4078"/>
                  </a:lnTo>
                  <a:lnTo>
                    <a:pt x="2548" y="4080"/>
                  </a:lnTo>
                  <a:lnTo>
                    <a:pt x="2544" y="4080"/>
                  </a:lnTo>
                  <a:lnTo>
                    <a:pt x="2540" y="4080"/>
                  </a:lnTo>
                  <a:lnTo>
                    <a:pt x="2542" y="4084"/>
                  </a:lnTo>
                  <a:lnTo>
                    <a:pt x="2542" y="4084"/>
                  </a:lnTo>
                  <a:lnTo>
                    <a:pt x="2544" y="4086"/>
                  </a:lnTo>
                  <a:lnTo>
                    <a:pt x="2544" y="4088"/>
                  </a:lnTo>
                  <a:lnTo>
                    <a:pt x="2542" y="4092"/>
                  </a:lnTo>
                  <a:lnTo>
                    <a:pt x="2540" y="4096"/>
                  </a:lnTo>
                  <a:lnTo>
                    <a:pt x="2540" y="4098"/>
                  </a:lnTo>
                  <a:lnTo>
                    <a:pt x="2542" y="4100"/>
                  </a:lnTo>
                  <a:lnTo>
                    <a:pt x="2542" y="4100"/>
                  </a:lnTo>
                  <a:lnTo>
                    <a:pt x="2542" y="4100"/>
                  </a:lnTo>
                  <a:lnTo>
                    <a:pt x="2544" y="4100"/>
                  </a:lnTo>
                  <a:lnTo>
                    <a:pt x="2548" y="4098"/>
                  </a:lnTo>
                  <a:lnTo>
                    <a:pt x="2552" y="4096"/>
                  </a:lnTo>
                  <a:lnTo>
                    <a:pt x="2556" y="4096"/>
                  </a:lnTo>
                  <a:lnTo>
                    <a:pt x="2556" y="4096"/>
                  </a:lnTo>
                  <a:lnTo>
                    <a:pt x="2562" y="4098"/>
                  </a:lnTo>
                  <a:lnTo>
                    <a:pt x="2570" y="4096"/>
                  </a:lnTo>
                  <a:lnTo>
                    <a:pt x="2570" y="4096"/>
                  </a:lnTo>
                  <a:lnTo>
                    <a:pt x="2576" y="4096"/>
                  </a:lnTo>
                  <a:lnTo>
                    <a:pt x="2578" y="4098"/>
                  </a:lnTo>
                  <a:lnTo>
                    <a:pt x="2578" y="4102"/>
                  </a:lnTo>
                  <a:lnTo>
                    <a:pt x="2576" y="4104"/>
                  </a:lnTo>
                  <a:lnTo>
                    <a:pt x="2576" y="4104"/>
                  </a:lnTo>
                  <a:lnTo>
                    <a:pt x="2570" y="4108"/>
                  </a:lnTo>
                  <a:lnTo>
                    <a:pt x="2564" y="4112"/>
                  </a:lnTo>
                  <a:lnTo>
                    <a:pt x="2562" y="4116"/>
                  </a:lnTo>
                  <a:lnTo>
                    <a:pt x="2562" y="4118"/>
                  </a:lnTo>
                  <a:lnTo>
                    <a:pt x="2562" y="4118"/>
                  </a:lnTo>
                  <a:lnTo>
                    <a:pt x="2566" y="4118"/>
                  </a:lnTo>
                  <a:lnTo>
                    <a:pt x="2572" y="4116"/>
                  </a:lnTo>
                  <a:lnTo>
                    <a:pt x="2576" y="4116"/>
                  </a:lnTo>
                  <a:lnTo>
                    <a:pt x="2578" y="4118"/>
                  </a:lnTo>
                  <a:lnTo>
                    <a:pt x="2578" y="4120"/>
                  </a:lnTo>
                  <a:lnTo>
                    <a:pt x="2578" y="4120"/>
                  </a:lnTo>
                  <a:lnTo>
                    <a:pt x="2582" y="4124"/>
                  </a:lnTo>
                  <a:lnTo>
                    <a:pt x="2584" y="4124"/>
                  </a:lnTo>
                  <a:lnTo>
                    <a:pt x="2586" y="4122"/>
                  </a:lnTo>
                  <a:lnTo>
                    <a:pt x="2588" y="4116"/>
                  </a:lnTo>
                  <a:lnTo>
                    <a:pt x="2588" y="4116"/>
                  </a:lnTo>
                  <a:lnTo>
                    <a:pt x="2588" y="4114"/>
                  </a:lnTo>
                  <a:lnTo>
                    <a:pt x="2590" y="4112"/>
                  </a:lnTo>
                  <a:lnTo>
                    <a:pt x="2596" y="4114"/>
                  </a:lnTo>
                  <a:lnTo>
                    <a:pt x="2602" y="4118"/>
                  </a:lnTo>
                  <a:lnTo>
                    <a:pt x="2606" y="4122"/>
                  </a:lnTo>
                  <a:lnTo>
                    <a:pt x="2606" y="4122"/>
                  </a:lnTo>
                  <a:lnTo>
                    <a:pt x="2606" y="4124"/>
                  </a:lnTo>
                  <a:lnTo>
                    <a:pt x="2604" y="4128"/>
                  </a:lnTo>
                  <a:lnTo>
                    <a:pt x="2598" y="4130"/>
                  </a:lnTo>
                  <a:lnTo>
                    <a:pt x="2590" y="4132"/>
                  </a:lnTo>
                  <a:lnTo>
                    <a:pt x="2582" y="4132"/>
                  </a:lnTo>
                  <a:lnTo>
                    <a:pt x="2582" y="4132"/>
                  </a:lnTo>
                  <a:lnTo>
                    <a:pt x="2576" y="4132"/>
                  </a:lnTo>
                  <a:lnTo>
                    <a:pt x="2572" y="4136"/>
                  </a:lnTo>
                  <a:lnTo>
                    <a:pt x="2570" y="4142"/>
                  </a:lnTo>
                  <a:lnTo>
                    <a:pt x="2574" y="4148"/>
                  </a:lnTo>
                  <a:lnTo>
                    <a:pt x="2574" y="4148"/>
                  </a:lnTo>
                  <a:lnTo>
                    <a:pt x="2578" y="4152"/>
                  </a:lnTo>
                  <a:lnTo>
                    <a:pt x="2584" y="4150"/>
                  </a:lnTo>
                  <a:lnTo>
                    <a:pt x="2588" y="4146"/>
                  </a:lnTo>
                  <a:lnTo>
                    <a:pt x="2594" y="4142"/>
                  </a:lnTo>
                  <a:lnTo>
                    <a:pt x="2594" y="4142"/>
                  </a:lnTo>
                  <a:lnTo>
                    <a:pt x="2596" y="4140"/>
                  </a:lnTo>
                  <a:lnTo>
                    <a:pt x="2602" y="4138"/>
                  </a:lnTo>
                  <a:lnTo>
                    <a:pt x="2616" y="4138"/>
                  </a:lnTo>
                  <a:lnTo>
                    <a:pt x="2628" y="4140"/>
                  </a:lnTo>
                  <a:lnTo>
                    <a:pt x="2632" y="4142"/>
                  </a:lnTo>
                  <a:lnTo>
                    <a:pt x="2634" y="4144"/>
                  </a:lnTo>
                  <a:lnTo>
                    <a:pt x="2634" y="4144"/>
                  </a:lnTo>
                  <a:lnTo>
                    <a:pt x="2636" y="4146"/>
                  </a:lnTo>
                  <a:lnTo>
                    <a:pt x="2634" y="4148"/>
                  </a:lnTo>
                  <a:lnTo>
                    <a:pt x="2628" y="4148"/>
                  </a:lnTo>
                  <a:lnTo>
                    <a:pt x="2622" y="4148"/>
                  </a:lnTo>
                  <a:lnTo>
                    <a:pt x="2618" y="4150"/>
                  </a:lnTo>
                  <a:lnTo>
                    <a:pt x="2618" y="4150"/>
                  </a:lnTo>
                  <a:lnTo>
                    <a:pt x="2614" y="4152"/>
                  </a:lnTo>
                  <a:lnTo>
                    <a:pt x="2610" y="4154"/>
                  </a:lnTo>
                  <a:lnTo>
                    <a:pt x="2604" y="4154"/>
                  </a:lnTo>
                  <a:lnTo>
                    <a:pt x="2602" y="4152"/>
                  </a:lnTo>
                  <a:lnTo>
                    <a:pt x="2602" y="4152"/>
                  </a:lnTo>
                  <a:lnTo>
                    <a:pt x="2600" y="4152"/>
                  </a:lnTo>
                  <a:lnTo>
                    <a:pt x="2598" y="4152"/>
                  </a:lnTo>
                  <a:lnTo>
                    <a:pt x="2594" y="4152"/>
                  </a:lnTo>
                  <a:lnTo>
                    <a:pt x="2588" y="4156"/>
                  </a:lnTo>
                  <a:lnTo>
                    <a:pt x="2586" y="4162"/>
                  </a:lnTo>
                  <a:lnTo>
                    <a:pt x="2586" y="4162"/>
                  </a:lnTo>
                  <a:lnTo>
                    <a:pt x="2584" y="4166"/>
                  </a:lnTo>
                  <a:lnTo>
                    <a:pt x="2582" y="4170"/>
                  </a:lnTo>
                  <a:lnTo>
                    <a:pt x="2582" y="4172"/>
                  </a:lnTo>
                  <a:lnTo>
                    <a:pt x="2586" y="4174"/>
                  </a:lnTo>
                  <a:lnTo>
                    <a:pt x="2586" y="4174"/>
                  </a:lnTo>
                  <a:lnTo>
                    <a:pt x="2590" y="4174"/>
                  </a:lnTo>
                  <a:lnTo>
                    <a:pt x="2592" y="4172"/>
                  </a:lnTo>
                  <a:lnTo>
                    <a:pt x="2596" y="4168"/>
                  </a:lnTo>
                  <a:lnTo>
                    <a:pt x="2602" y="4164"/>
                  </a:lnTo>
                  <a:lnTo>
                    <a:pt x="2606" y="4164"/>
                  </a:lnTo>
                  <a:lnTo>
                    <a:pt x="2612" y="4162"/>
                  </a:lnTo>
                  <a:lnTo>
                    <a:pt x="2612" y="4162"/>
                  </a:lnTo>
                  <a:lnTo>
                    <a:pt x="2618" y="4162"/>
                  </a:lnTo>
                  <a:lnTo>
                    <a:pt x="2622" y="4162"/>
                  </a:lnTo>
                  <a:lnTo>
                    <a:pt x="2632" y="4156"/>
                  </a:lnTo>
                  <a:lnTo>
                    <a:pt x="2638" y="4154"/>
                  </a:lnTo>
                  <a:lnTo>
                    <a:pt x="2640" y="4154"/>
                  </a:lnTo>
                  <a:lnTo>
                    <a:pt x="2642" y="4156"/>
                  </a:lnTo>
                  <a:lnTo>
                    <a:pt x="2642" y="4156"/>
                  </a:lnTo>
                  <a:lnTo>
                    <a:pt x="2644" y="4160"/>
                  </a:lnTo>
                  <a:lnTo>
                    <a:pt x="2642" y="4164"/>
                  </a:lnTo>
                  <a:lnTo>
                    <a:pt x="2636" y="4168"/>
                  </a:lnTo>
                  <a:lnTo>
                    <a:pt x="2628" y="4170"/>
                  </a:lnTo>
                  <a:lnTo>
                    <a:pt x="2624" y="4170"/>
                  </a:lnTo>
                  <a:lnTo>
                    <a:pt x="2622" y="4168"/>
                  </a:lnTo>
                  <a:lnTo>
                    <a:pt x="2622" y="4168"/>
                  </a:lnTo>
                  <a:lnTo>
                    <a:pt x="2620" y="4166"/>
                  </a:lnTo>
                  <a:lnTo>
                    <a:pt x="2616" y="4166"/>
                  </a:lnTo>
                  <a:lnTo>
                    <a:pt x="2612" y="4170"/>
                  </a:lnTo>
                  <a:lnTo>
                    <a:pt x="2608" y="4174"/>
                  </a:lnTo>
                  <a:lnTo>
                    <a:pt x="2608" y="4182"/>
                  </a:lnTo>
                  <a:lnTo>
                    <a:pt x="2608" y="4182"/>
                  </a:lnTo>
                  <a:lnTo>
                    <a:pt x="2608" y="4184"/>
                  </a:lnTo>
                  <a:lnTo>
                    <a:pt x="2604" y="4186"/>
                  </a:lnTo>
                  <a:lnTo>
                    <a:pt x="2598" y="4184"/>
                  </a:lnTo>
                  <a:lnTo>
                    <a:pt x="2588" y="4180"/>
                  </a:lnTo>
                  <a:lnTo>
                    <a:pt x="2578" y="4178"/>
                  </a:lnTo>
                  <a:lnTo>
                    <a:pt x="2578" y="4178"/>
                  </a:lnTo>
                  <a:lnTo>
                    <a:pt x="2576" y="4178"/>
                  </a:lnTo>
                  <a:lnTo>
                    <a:pt x="2574" y="4180"/>
                  </a:lnTo>
                  <a:lnTo>
                    <a:pt x="2574" y="4184"/>
                  </a:lnTo>
                  <a:lnTo>
                    <a:pt x="2576" y="4190"/>
                  </a:lnTo>
                  <a:lnTo>
                    <a:pt x="2582" y="4196"/>
                  </a:lnTo>
                  <a:lnTo>
                    <a:pt x="2582" y="4196"/>
                  </a:lnTo>
                  <a:lnTo>
                    <a:pt x="2588" y="4200"/>
                  </a:lnTo>
                  <a:lnTo>
                    <a:pt x="2592" y="4200"/>
                  </a:lnTo>
                  <a:lnTo>
                    <a:pt x="2598" y="4200"/>
                  </a:lnTo>
                  <a:lnTo>
                    <a:pt x="2606" y="4202"/>
                  </a:lnTo>
                  <a:lnTo>
                    <a:pt x="2606" y="4202"/>
                  </a:lnTo>
                  <a:lnTo>
                    <a:pt x="2612" y="4206"/>
                  </a:lnTo>
                  <a:lnTo>
                    <a:pt x="2616" y="4210"/>
                  </a:lnTo>
                  <a:lnTo>
                    <a:pt x="2618" y="4212"/>
                  </a:lnTo>
                  <a:lnTo>
                    <a:pt x="2622" y="4208"/>
                  </a:lnTo>
                  <a:lnTo>
                    <a:pt x="2622" y="4208"/>
                  </a:lnTo>
                  <a:lnTo>
                    <a:pt x="2626" y="4206"/>
                  </a:lnTo>
                  <a:lnTo>
                    <a:pt x="2626" y="4202"/>
                  </a:lnTo>
                  <a:lnTo>
                    <a:pt x="2618" y="4200"/>
                  </a:lnTo>
                  <a:lnTo>
                    <a:pt x="2618" y="4200"/>
                  </a:lnTo>
                  <a:lnTo>
                    <a:pt x="2616" y="4196"/>
                  </a:lnTo>
                  <a:lnTo>
                    <a:pt x="2618" y="4192"/>
                  </a:lnTo>
                  <a:lnTo>
                    <a:pt x="2622" y="4190"/>
                  </a:lnTo>
                  <a:lnTo>
                    <a:pt x="2628" y="4192"/>
                  </a:lnTo>
                  <a:lnTo>
                    <a:pt x="2628" y="4192"/>
                  </a:lnTo>
                  <a:lnTo>
                    <a:pt x="2634" y="4194"/>
                  </a:lnTo>
                  <a:lnTo>
                    <a:pt x="2638" y="4194"/>
                  </a:lnTo>
                  <a:lnTo>
                    <a:pt x="2646" y="4190"/>
                  </a:lnTo>
                  <a:lnTo>
                    <a:pt x="2648" y="4186"/>
                  </a:lnTo>
                  <a:lnTo>
                    <a:pt x="2650" y="4182"/>
                  </a:lnTo>
                  <a:lnTo>
                    <a:pt x="2650" y="4178"/>
                  </a:lnTo>
                  <a:lnTo>
                    <a:pt x="2650" y="4172"/>
                  </a:lnTo>
                  <a:lnTo>
                    <a:pt x="2650" y="4172"/>
                  </a:lnTo>
                  <a:lnTo>
                    <a:pt x="2650" y="4168"/>
                  </a:lnTo>
                  <a:lnTo>
                    <a:pt x="2650" y="4164"/>
                  </a:lnTo>
                  <a:lnTo>
                    <a:pt x="2652" y="4160"/>
                  </a:lnTo>
                  <a:lnTo>
                    <a:pt x="2656" y="4156"/>
                  </a:lnTo>
                  <a:lnTo>
                    <a:pt x="2664" y="4150"/>
                  </a:lnTo>
                  <a:lnTo>
                    <a:pt x="2674" y="4146"/>
                  </a:lnTo>
                  <a:lnTo>
                    <a:pt x="2674" y="4146"/>
                  </a:lnTo>
                  <a:lnTo>
                    <a:pt x="2678" y="4146"/>
                  </a:lnTo>
                  <a:lnTo>
                    <a:pt x="2682" y="4146"/>
                  </a:lnTo>
                  <a:lnTo>
                    <a:pt x="2682" y="4148"/>
                  </a:lnTo>
                  <a:lnTo>
                    <a:pt x="2682" y="4150"/>
                  </a:lnTo>
                  <a:lnTo>
                    <a:pt x="2678" y="4156"/>
                  </a:lnTo>
                  <a:lnTo>
                    <a:pt x="2670" y="4160"/>
                  </a:lnTo>
                  <a:lnTo>
                    <a:pt x="2670" y="4160"/>
                  </a:lnTo>
                  <a:lnTo>
                    <a:pt x="2664" y="4162"/>
                  </a:lnTo>
                  <a:lnTo>
                    <a:pt x="2662" y="4166"/>
                  </a:lnTo>
                  <a:lnTo>
                    <a:pt x="2662" y="4170"/>
                  </a:lnTo>
                  <a:lnTo>
                    <a:pt x="2666" y="4176"/>
                  </a:lnTo>
                  <a:lnTo>
                    <a:pt x="2666" y="4176"/>
                  </a:lnTo>
                  <a:lnTo>
                    <a:pt x="2670" y="4178"/>
                  </a:lnTo>
                  <a:lnTo>
                    <a:pt x="2672" y="4178"/>
                  </a:lnTo>
                  <a:lnTo>
                    <a:pt x="2680" y="4176"/>
                  </a:lnTo>
                  <a:lnTo>
                    <a:pt x="2686" y="4176"/>
                  </a:lnTo>
                  <a:lnTo>
                    <a:pt x="2688" y="4176"/>
                  </a:lnTo>
                  <a:lnTo>
                    <a:pt x="2692" y="4176"/>
                  </a:lnTo>
                  <a:lnTo>
                    <a:pt x="2692" y="4176"/>
                  </a:lnTo>
                  <a:lnTo>
                    <a:pt x="2692" y="4178"/>
                  </a:lnTo>
                  <a:lnTo>
                    <a:pt x="2692" y="4180"/>
                  </a:lnTo>
                  <a:lnTo>
                    <a:pt x="2688" y="4182"/>
                  </a:lnTo>
                  <a:lnTo>
                    <a:pt x="2680" y="4186"/>
                  </a:lnTo>
                  <a:lnTo>
                    <a:pt x="2678" y="4186"/>
                  </a:lnTo>
                  <a:lnTo>
                    <a:pt x="2676" y="4188"/>
                  </a:lnTo>
                  <a:lnTo>
                    <a:pt x="2676" y="4188"/>
                  </a:lnTo>
                  <a:lnTo>
                    <a:pt x="2676" y="4192"/>
                  </a:lnTo>
                  <a:lnTo>
                    <a:pt x="2676" y="4194"/>
                  </a:lnTo>
                  <a:lnTo>
                    <a:pt x="2680" y="4200"/>
                  </a:lnTo>
                  <a:lnTo>
                    <a:pt x="2682" y="4204"/>
                  </a:lnTo>
                  <a:lnTo>
                    <a:pt x="2680" y="4206"/>
                  </a:lnTo>
                  <a:lnTo>
                    <a:pt x="2678" y="4208"/>
                  </a:lnTo>
                  <a:lnTo>
                    <a:pt x="2678" y="4208"/>
                  </a:lnTo>
                  <a:lnTo>
                    <a:pt x="2674" y="4208"/>
                  </a:lnTo>
                  <a:lnTo>
                    <a:pt x="2672" y="4208"/>
                  </a:lnTo>
                  <a:lnTo>
                    <a:pt x="2670" y="4200"/>
                  </a:lnTo>
                  <a:lnTo>
                    <a:pt x="2668" y="4192"/>
                  </a:lnTo>
                  <a:lnTo>
                    <a:pt x="2668" y="4188"/>
                  </a:lnTo>
                  <a:lnTo>
                    <a:pt x="2666" y="4186"/>
                  </a:lnTo>
                  <a:lnTo>
                    <a:pt x="2666" y="4186"/>
                  </a:lnTo>
                  <a:lnTo>
                    <a:pt x="2662" y="4186"/>
                  </a:lnTo>
                  <a:lnTo>
                    <a:pt x="2658" y="4188"/>
                  </a:lnTo>
                  <a:lnTo>
                    <a:pt x="2658" y="4194"/>
                  </a:lnTo>
                  <a:lnTo>
                    <a:pt x="2660" y="4202"/>
                  </a:lnTo>
                  <a:lnTo>
                    <a:pt x="2660" y="4202"/>
                  </a:lnTo>
                  <a:lnTo>
                    <a:pt x="2662" y="4208"/>
                  </a:lnTo>
                  <a:lnTo>
                    <a:pt x="2660" y="4210"/>
                  </a:lnTo>
                  <a:lnTo>
                    <a:pt x="2658" y="4208"/>
                  </a:lnTo>
                  <a:lnTo>
                    <a:pt x="2648" y="4198"/>
                  </a:lnTo>
                  <a:lnTo>
                    <a:pt x="2648" y="4198"/>
                  </a:lnTo>
                  <a:lnTo>
                    <a:pt x="2644" y="4196"/>
                  </a:lnTo>
                  <a:lnTo>
                    <a:pt x="2642" y="4196"/>
                  </a:lnTo>
                  <a:lnTo>
                    <a:pt x="2638" y="4198"/>
                  </a:lnTo>
                  <a:lnTo>
                    <a:pt x="2638" y="4202"/>
                  </a:lnTo>
                  <a:lnTo>
                    <a:pt x="2638" y="4206"/>
                  </a:lnTo>
                  <a:lnTo>
                    <a:pt x="2640" y="4208"/>
                  </a:lnTo>
                  <a:lnTo>
                    <a:pt x="2640" y="4208"/>
                  </a:lnTo>
                  <a:lnTo>
                    <a:pt x="2642" y="4210"/>
                  </a:lnTo>
                  <a:lnTo>
                    <a:pt x="2640" y="4212"/>
                  </a:lnTo>
                  <a:lnTo>
                    <a:pt x="2636" y="4212"/>
                  </a:lnTo>
                  <a:lnTo>
                    <a:pt x="2630" y="4214"/>
                  </a:lnTo>
                  <a:lnTo>
                    <a:pt x="2626" y="4216"/>
                  </a:lnTo>
                  <a:lnTo>
                    <a:pt x="2626" y="4220"/>
                  </a:lnTo>
                  <a:lnTo>
                    <a:pt x="2626" y="4220"/>
                  </a:lnTo>
                  <a:lnTo>
                    <a:pt x="2626" y="4222"/>
                  </a:lnTo>
                  <a:lnTo>
                    <a:pt x="2628" y="4224"/>
                  </a:lnTo>
                  <a:lnTo>
                    <a:pt x="2632" y="4224"/>
                  </a:lnTo>
                  <a:lnTo>
                    <a:pt x="2638" y="4224"/>
                  </a:lnTo>
                  <a:lnTo>
                    <a:pt x="2646" y="4224"/>
                  </a:lnTo>
                  <a:lnTo>
                    <a:pt x="2646" y="4224"/>
                  </a:lnTo>
                  <a:lnTo>
                    <a:pt x="2650" y="4224"/>
                  </a:lnTo>
                  <a:lnTo>
                    <a:pt x="2652" y="4228"/>
                  </a:lnTo>
                  <a:lnTo>
                    <a:pt x="2654" y="4234"/>
                  </a:lnTo>
                  <a:lnTo>
                    <a:pt x="2656" y="4242"/>
                  </a:lnTo>
                  <a:lnTo>
                    <a:pt x="2658" y="4244"/>
                  </a:lnTo>
                  <a:lnTo>
                    <a:pt x="2660" y="4248"/>
                  </a:lnTo>
                  <a:lnTo>
                    <a:pt x="2660" y="4248"/>
                  </a:lnTo>
                  <a:lnTo>
                    <a:pt x="2662" y="4248"/>
                  </a:lnTo>
                  <a:lnTo>
                    <a:pt x="2664" y="4248"/>
                  </a:lnTo>
                  <a:lnTo>
                    <a:pt x="2664" y="4240"/>
                  </a:lnTo>
                  <a:lnTo>
                    <a:pt x="2666" y="4232"/>
                  </a:lnTo>
                  <a:lnTo>
                    <a:pt x="2666" y="4228"/>
                  </a:lnTo>
                  <a:lnTo>
                    <a:pt x="2670" y="4226"/>
                  </a:lnTo>
                  <a:lnTo>
                    <a:pt x="2670" y="4226"/>
                  </a:lnTo>
                  <a:lnTo>
                    <a:pt x="2672" y="4226"/>
                  </a:lnTo>
                  <a:lnTo>
                    <a:pt x="2674" y="4228"/>
                  </a:lnTo>
                  <a:lnTo>
                    <a:pt x="2676" y="4236"/>
                  </a:lnTo>
                  <a:lnTo>
                    <a:pt x="2680" y="4244"/>
                  </a:lnTo>
                  <a:lnTo>
                    <a:pt x="2682" y="4248"/>
                  </a:lnTo>
                  <a:lnTo>
                    <a:pt x="2688" y="4252"/>
                  </a:lnTo>
                  <a:lnTo>
                    <a:pt x="2688" y="4252"/>
                  </a:lnTo>
                  <a:lnTo>
                    <a:pt x="2698" y="4254"/>
                  </a:lnTo>
                  <a:lnTo>
                    <a:pt x="2698" y="4252"/>
                  </a:lnTo>
                  <a:lnTo>
                    <a:pt x="2698" y="4252"/>
                  </a:lnTo>
                  <a:lnTo>
                    <a:pt x="2696" y="4248"/>
                  </a:lnTo>
                  <a:lnTo>
                    <a:pt x="2696" y="4244"/>
                  </a:lnTo>
                  <a:lnTo>
                    <a:pt x="2698" y="4242"/>
                  </a:lnTo>
                  <a:lnTo>
                    <a:pt x="2698" y="4242"/>
                  </a:lnTo>
                  <a:lnTo>
                    <a:pt x="2702" y="4242"/>
                  </a:lnTo>
                  <a:lnTo>
                    <a:pt x="2706" y="4242"/>
                  </a:lnTo>
                  <a:lnTo>
                    <a:pt x="2712" y="4250"/>
                  </a:lnTo>
                  <a:lnTo>
                    <a:pt x="2720" y="4258"/>
                  </a:lnTo>
                  <a:lnTo>
                    <a:pt x="2724" y="4260"/>
                  </a:lnTo>
                  <a:lnTo>
                    <a:pt x="2726" y="4262"/>
                  </a:lnTo>
                  <a:lnTo>
                    <a:pt x="2726" y="4262"/>
                  </a:lnTo>
                  <a:lnTo>
                    <a:pt x="2730" y="4262"/>
                  </a:lnTo>
                  <a:lnTo>
                    <a:pt x="2732" y="4262"/>
                  </a:lnTo>
                  <a:lnTo>
                    <a:pt x="2730" y="4258"/>
                  </a:lnTo>
                  <a:lnTo>
                    <a:pt x="2728" y="4250"/>
                  </a:lnTo>
                  <a:lnTo>
                    <a:pt x="2724" y="4244"/>
                  </a:lnTo>
                  <a:lnTo>
                    <a:pt x="2724" y="4244"/>
                  </a:lnTo>
                  <a:lnTo>
                    <a:pt x="2722" y="4242"/>
                  </a:lnTo>
                  <a:lnTo>
                    <a:pt x="2726" y="4240"/>
                  </a:lnTo>
                  <a:lnTo>
                    <a:pt x="2738" y="4244"/>
                  </a:lnTo>
                  <a:lnTo>
                    <a:pt x="2738" y="4244"/>
                  </a:lnTo>
                  <a:lnTo>
                    <a:pt x="2750" y="4246"/>
                  </a:lnTo>
                  <a:lnTo>
                    <a:pt x="2754" y="4246"/>
                  </a:lnTo>
                  <a:lnTo>
                    <a:pt x="2758" y="4242"/>
                  </a:lnTo>
                  <a:lnTo>
                    <a:pt x="2758" y="4242"/>
                  </a:lnTo>
                  <a:lnTo>
                    <a:pt x="2758" y="4240"/>
                  </a:lnTo>
                  <a:lnTo>
                    <a:pt x="2760" y="4240"/>
                  </a:lnTo>
                  <a:lnTo>
                    <a:pt x="2764" y="4242"/>
                  </a:lnTo>
                  <a:lnTo>
                    <a:pt x="2770" y="4242"/>
                  </a:lnTo>
                  <a:lnTo>
                    <a:pt x="2772" y="4242"/>
                  </a:lnTo>
                  <a:lnTo>
                    <a:pt x="2774" y="4240"/>
                  </a:lnTo>
                  <a:lnTo>
                    <a:pt x="2774" y="4240"/>
                  </a:lnTo>
                  <a:lnTo>
                    <a:pt x="2780" y="4236"/>
                  </a:lnTo>
                  <a:lnTo>
                    <a:pt x="2790" y="4236"/>
                  </a:lnTo>
                  <a:lnTo>
                    <a:pt x="2800" y="4234"/>
                  </a:lnTo>
                  <a:lnTo>
                    <a:pt x="2808" y="4232"/>
                  </a:lnTo>
                  <a:lnTo>
                    <a:pt x="2808" y="4232"/>
                  </a:lnTo>
                  <a:lnTo>
                    <a:pt x="2810" y="4230"/>
                  </a:lnTo>
                  <a:lnTo>
                    <a:pt x="2812" y="4228"/>
                  </a:lnTo>
                  <a:lnTo>
                    <a:pt x="2808" y="4224"/>
                  </a:lnTo>
                  <a:lnTo>
                    <a:pt x="2800" y="4224"/>
                  </a:lnTo>
                  <a:lnTo>
                    <a:pt x="2790" y="4222"/>
                  </a:lnTo>
                  <a:lnTo>
                    <a:pt x="2790" y="4222"/>
                  </a:lnTo>
                  <a:lnTo>
                    <a:pt x="2784" y="4222"/>
                  </a:lnTo>
                  <a:lnTo>
                    <a:pt x="2776" y="4218"/>
                  </a:lnTo>
                  <a:lnTo>
                    <a:pt x="2760" y="4208"/>
                  </a:lnTo>
                  <a:lnTo>
                    <a:pt x="2736" y="4188"/>
                  </a:lnTo>
                  <a:lnTo>
                    <a:pt x="2736" y="4188"/>
                  </a:lnTo>
                  <a:lnTo>
                    <a:pt x="2732" y="4182"/>
                  </a:lnTo>
                  <a:lnTo>
                    <a:pt x="2730" y="4178"/>
                  </a:lnTo>
                  <a:lnTo>
                    <a:pt x="2728" y="4174"/>
                  </a:lnTo>
                  <a:lnTo>
                    <a:pt x="2722" y="4174"/>
                  </a:lnTo>
                  <a:lnTo>
                    <a:pt x="2722" y="4174"/>
                  </a:lnTo>
                  <a:lnTo>
                    <a:pt x="2718" y="4174"/>
                  </a:lnTo>
                  <a:lnTo>
                    <a:pt x="2718" y="4170"/>
                  </a:lnTo>
                  <a:lnTo>
                    <a:pt x="2720" y="4166"/>
                  </a:lnTo>
                  <a:lnTo>
                    <a:pt x="2726" y="4162"/>
                  </a:lnTo>
                  <a:lnTo>
                    <a:pt x="2726" y="4162"/>
                  </a:lnTo>
                  <a:lnTo>
                    <a:pt x="2726" y="4162"/>
                  </a:lnTo>
                  <a:lnTo>
                    <a:pt x="2726" y="4160"/>
                  </a:lnTo>
                  <a:lnTo>
                    <a:pt x="2724" y="4154"/>
                  </a:lnTo>
                  <a:lnTo>
                    <a:pt x="2720" y="4150"/>
                  </a:lnTo>
                  <a:lnTo>
                    <a:pt x="2714" y="4148"/>
                  </a:lnTo>
                  <a:lnTo>
                    <a:pt x="2714" y="4148"/>
                  </a:lnTo>
                  <a:lnTo>
                    <a:pt x="2706" y="4148"/>
                  </a:lnTo>
                  <a:lnTo>
                    <a:pt x="2698" y="4148"/>
                  </a:lnTo>
                  <a:lnTo>
                    <a:pt x="2692" y="4144"/>
                  </a:lnTo>
                  <a:lnTo>
                    <a:pt x="2690" y="4142"/>
                  </a:lnTo>
                  <a:lnTo>
                    <a:pt x="2692" y="4138"/>
                  </a:lnTo>
                  <a:lnTo>
                    <a:pt x="2692" y="4138"/>
                  </a:lnTo>
                  <a:lnTo>
                    <a:pt x="2694" y="4134"/>
                  </a:lnTo>
                  <a:lnTo>
                    <a:pt x="2696" y="4132"/>
                  </a:lnTo>
                  <a:lnTo>
                    <a:pt x="2706" y="4134"/>
                  </a:lnTo>
                  <a:lnTo>
                    <a:pt x="2714" y="4138"/>
                  </a:lnTo>
                  <a:lnTo>
                    <a:pt x="2718" y="4138"/>
                  </a:lnTo>
                  <a:lnTo>
                    <a:pt x="2720" y="4136"/>
                  </a:lnTo>
                  <a:lnTo>
                    <a:pt x="2720" y="4136"/>
                  </a:lnTo>
                  <a:lnTo>
                    <a:pt x="2720" y="4134"/>
                  </a:lnTo>
                  <a:lnTo>
                    <a:pt x="2720" y="4132"/>
                  </a:lnTo>
                  <a:lnTo>
                    <a:pt x="2714" y="4124"/>
                  </a:lnTo>
                  <a:lnTo>
                    <a:pt x="2708" y="4118"/>
                  </a:lnTo>
                  <a:lnTo>
                    <a:pt x="2706" y="4112"/>
                  </a:lnTo>
                  <a:lnTo>
                    <a:pt x="2706" y="4112"/>
                  </a:lnTo>
                  <a:lnTo>
                    <a:pt x="2704" y="4102"/>
                  </a:lnTo>
                  <a:lnTo>
                    <a:pt x="2702" y="4090"/>
                  </a:lnTo>
                  <a:lnTo>
                    <a:pt x="2702" y="4090"/>
                  </a:lnTo>
                  <a:lnTo>
                    <a:pt x="2702" y="4078"/>
                  </a:lnTo>
                  <a:lnTo>
                    <a:pt x="2704" y="4072"/>
                  </a:lnTo>
                  <a:lnTo>
                    <a:pt x="2708" y="4066"/>
                  </a:lnTo>
                  <a:lnTo>
                    <a:pt x="2708" y="4066"/>
                  </a:lnTo>
                  <a:lnTo>
                    <a:pt x="2716" y="4058"/>
                  </a:lnTo>
                  <a:lnTo>
                    <a:pt x="2720" y="4056"/>
                  </a:lnTo>
                  <a:lnTo>
                    <a:pt x="2722" y="4054"/>
                  </a:lnTo>
                  <a:lnTo>
                    <a:pt x="2722" y="4054"/>
                  </a:lnTo>
                  <a:lnTo>
                    <a:pt x="2728" y="4054"/>
                  </a:lnTo>
                  <a:lnTo>
                    <a:pt x="2732" y="4050"/>
                  </a:lnTo>
                  <a:lnTo>
                    <a:pt x="2738" y="4044"/>
                  </a:lnTo>
                  <a:lnTo>
                    <a:pt x="2740" y="4036"/>
                  </a:lnTo>
                  <a:lnTo>
                    <a:pt x="2740" y="4036"/>
                  </a:lnTo>
                  <a:lnTo>
                    <a:pt x="2742" y="4026"/>
                  </a:lnTo>
                  <a:lnTo>
                    <a:pt x="2744" y="4018"/>
                  </a:lnTo>
                  <a:lnTo>
                    <a:pt x="2750" y="4012"/>
                  </a:lnTo>
                  <a:lnTo>
                    <a:pt x="2758" y="4006"/>
                  </a:lnTo>
                  <a:lnTo>
                    <a:pt x="2758" y="4006"/>
                  </a:lnTo>
                  <a:lnTo>
                    <a:pt x="2780" y="3990"/>
                  </a:lnTo>
                  <a:lnTo>
                    <a:pt x="2790" y="3984"/>
                  </a:lnTo>
                  <a:lnTo>
                    <a:pt x="2790" y="3980"/>
                  </a:lnTo>
                  <a:lnTo>
                    <a:pt x="2790" y="3978"/>
                  </a:lnTo>
                  <a:lnTo>
                    <a:pt x="2790" y="3978"/>
                  </a:lnTo>
                  <a:lnTo>
                    <a:pt x="2790" y="3974"/>
                  </a:lnTo>
                  <a:lnTo>
                    <a:pt x="2792" y="3966"/>
                  </a:lnTo>
                  <a:lnTo>
                    <a:pt x="2796" y="3952"/>
                  </a:lnTo>
                  <a:lnTo>
                    <a:pt x="2796" y="3952"/>
                  </a:lnTo>
                  <a:lnTo>
                    <a:pt x="2794" y="3950"/>
                  </a:lnTo>
                  <a:lnTo>
                    <a:pt x="2792" y="3948"/>
                  </a:lnTo>
                  <a:lnTo>
                    <a:pt x="2784" y="3946"/>
                  </a:lnTo>
                  <a:lnTo>
                    <a:pt x="2768" y="3944"/>
                  </a:lnTo>
                  <a:lnTo>
                    <a:pt x="2768" y="3944"/>
                  </a:lnTo>
                  <a:lnTo>
                    <a:pt x="2762" y="3940"/>
                  </a:lnTo>
                  <a:lnTo>
                    <a:pt x="2752" y="3932"/>
                  </a:lnTo>
                  <a:lnTo>
                    <a:pt x="2748" y="3926"/>
                  </a:lnTo>
                  <a:lnTo>
                    <a:pt x="2746" y="3918"/>
                  </a:lnTo>
                  <a:lnTo>
                    <a:pt x="2746" y="3912"/>
                  </a:lnTo>
                  <a:lnTo>
                    <a:pt x="2750" y="3904"/>
                  </a:lnTo>
                  <a:lnTo>
                    <a:pt x="2750" y="3904"/>
                  </a:lnTo>
                  <a:lnTo>
                    <a:pt x="2754" y="3896"/>
                  </a:lnTo>
                  <a:lnTo>
                    <a:pt x="2760" y="3890"/>
                  </a:lnTo>
                  <a:lnTo>
                    <a:pt x="2768" y="3886"/>
                  </a:lnTo>
                  <a:lnTo>
                    <a:pt x="2774" y="3882"/>
                  </a:lnTo>
                  <a:lnTo>
                    <a:pt x="2786" y="3878"/>
                  </a:lnTo>
                  <a:lnTo>
                    <a:pt x="2794" y="3878"/>
                  </a:lnTo>
                  <a:lnTo>
                    <a:pt x="2794" y="3878"/>
                  </a:lnTo>
                  <a:lnTo>
                    <a:pt x="2796" y="3876"/>
                  </a:lnTo>
                  <a:lnTo>
                    <a:pt x="2798" y="3876"/>
                  </a:lnTo>
                  <a:lnTo>
                    <a:pt x="2798" y="3872"/>
                  </a:lnTo>
                  <a:lnTo>
                    <a:pt x="2798" y="3866"/>
                  </a:lnTo>
                  <a:lnTo>
                    <a:pt x="2802" y="3864"/>
                  </a:lnTo>
                  <a:lnTo>
                    <a:pt x="2802" y="3864"/>
                  </a:lnTo>
                  <a:lnTo>
                    <a:pt x="2804" y="3860"/>
                  </a:lnTo>
                  <a:lnTo>
                    <a:pt x="2808" y="3856"/>
                  </a:lnTo>
                  <a:lnTo>
                    <a:pt x="2808" y="3844"/>
                  </a:lnTo>
                  <a:lnTo>
                    <a:pt x="2808" y="3844"/>
                  </a:lnTo>
                  <a:lnTo>
                    <a:pt x="2808" y="3836"/>
                  </a:lnTo>
                  <a:lnTo>
                    <a:pt x="2810" y="3828"/>
                  </a:lnTo>
                  <a:lnTo>
                    <a:pt x="2814" y="3820"/>
                  </a:lnTo>
                  <a:lnTo>
                    <a:pt x="2816" y="3818"/>
                  </a:lnTo>
                  <a:lnTo>
                    <a:pt x="2820" y="3816"/>
                  </a:lnTo>
                  <a:lnTo>
                    <a:pt x="2820" y="3816"/>
                  </a:lnTo>
                  <a:lnTo>
                    <a:pt x="2826" y="3814"/>
                  </a:lnTo>
                  <a:lnTo>
                    <a:pt x="2830" y="3812"/>
                  </a:lnTo>
                  <a:lnTo>
                    <a:pt x="2830" y="3810"/>
                  </a:lnTo>
                  <a:lnTo>
                    <a:pt x="2826" y="3808"/>
                  </a:lnTo>
                  <a:lnTo>
                    <a:pt x="2826" y="3808"/>
                  </a:lnTo>
                  <a:lnTo>
                    <a:pt x="2822" y="3806"/>
                  </a:lnTo>
                  <a:lnTo>
                    <a:pt x="2820" y="3802"/>
                  </a:lnTo>
                  <a:lnTo>
                    <a:pt x="2822" y="3798"/>
                  </a:lnTo>
                  <a:lnTo>
                    <a:pt x="2828" y="3796"/>
                  </a:lnTo>
                  <a:lnTo>
                    <a:pt x="2828" y="3796"/>
                  </a:lnTo>
                  <a:lnTo>
                    <a:pt x="2834" y="3798"/>
                  </a:lnTo>
                  <a:lnTo>
                    <a:pt x="2836" y="3800"/>
                  </a:lnTo>
                  <a:lnTo>
                    <a:pt x="2838" y="3804"/>
                  </a:lnTo>
                  <a:lnTo>
                    <a:pt x="2842" y="3806"/>
                  </a:lnTo>
                  <a:lnTo>
                    <a:pt x="2842" y="3806"/>
                  </a:lnTo>
                  <a:lnTo>
                    <a:pt x="2850" y="3804"/>
                  </a:lnTo>
                  <a:lnTo>
                    <a:pt x="2856" y="3798"/>
                  </a:lnTo>
                  <a:lnTo>
                    <a:pt x="2856" y="3794"/>
                  </a:lnTo>
                  <a:lnTo>
                    <a:pt x="2858" y="3792"/>
                  </a:lnTo>
                  <a:lnTo>
                    <a:pt x="2856" y="3788"/>
                  </a:lnTo>
                  <a:lnTo>
                    <a:pt x="2854" y="3784"/>
                  </a:lnTo>
                  <a:lnTo>
                    <a:pt x="2854" y="3784"/>
                  </a:lnTo>
                  <a:lnTo>
                    <a:pt x="2850" y="3782"/>
                  </a:lnTo>
                  <a:lnTo>
                    <a:pt x="2848" y="3782"/>
                  </a:lnTo>
                  <a:lnTo>
                    <a:pt x="2842" y="3784"/>
                  </a:lnTo>
                  <a:lnTo>
                    <a:pt x="2838" y="3788"/>
                  </a:lnTo>
                  <a:lnTo>
                    <a:pt x="2836" y="3790"/>
                  </a:lnTo>
                  <a:lnTo>
                    <a:pt x="2836" y="3790"/>
                  </a:lnTo>
                  <a:lnTo>
                    <a:pt x="2832" y="3788"/>
                  </a:lnTo>
                  <a:lnTo>
                    <a:pt x="2828" y="3786"/>
                  </a:lnTo>
                  <a:lnTo>
                    <a:pt x="2824" y="3784"/>
                  </a:lnTo>
                  <a:lnTo>
                    <a:pt x="2820" y="3782"/>
                  </a:lnTo>
                  <a:lnTo>
                    <a:pt x="2820" y="3782"/>
                  </a:lnTo>
                  <a:lnTo>
                    <a:pt x="2818" y="3782"/>
                  </a:lnTo>
                  <a:lnTo>
                    <a:pt x="2818" y="3780"/>
                  </a:lnTo>
                  <a:lnTo>
                    <a:pt x="2816" y="3774"/>
                  </a:lnTo>
                  <a:lnTo>
                    <a:pt x="2816" y="3768"/>
                  </a:lnTo>
                  <a:lnTo>
                    <a:pt x="2816" y="3762"/>
                  </a:lnTo>
                  <a:lnTo>
                    <a:pt x="2816" y="3762"/>
                  </a:lnTo>
                  <a:lnTo>
                    <a:pt x="2812" y="3750"/>
                  </a:lnTo>
                  <a:lnTo>
                    <a:pt x="2812" y="3742"/>
                  </a:lnTo>
                  <a:lnTo>
                    <a:pt x="2814" y="3736"/>
                  </a:lnTo>
                  <a:lnTo>
                    <a:pt x="2814" y="3736"/>
                  </a:lnTo>
                  <a:lnTo>
                    <a:pt x="2818" y="3734"/>
                  </a:lnTo>
                  <a:lnTo>
                    <a:pt x="2820" y="3736"/>
                  </a:lnTo>
                  <a:lnTo>
                    <a:pt x="2832" y="3738"/>
                  </a:lnTo>
                  <a:lnTo>
                    <a:pt x="2844" y="3744"/>
                  </a:lnTo>
                  <a:lnTo>
                    <a:pt x="2858" y="3748"/>
                  </a:lnTo>
                  <a:lnTo>
                    <a:pt x="2858" y="3748"/>
                  </a:lnTo>
                  <a:lnTo>
                    <a:pt x="2870" y="3746"/>
                  </a:lnTo>
                  <a:lnTo>
                    <a:pt x="2880" y="3742"/>
                  </a:lnTo>
                  <a:lnTo>
                    <a:pt x="2888" y="3738"/>
                  </a:lnTo>
                  <a:lnTo>
                    <a:pt x="2890" y="3732"/>
                  </a:lnTo>
                  <a:lnTo>
                    <a:pt x="2890" y="3732"/>
                  </a:lnTo>
                  <a:lnTo>
                    <a:pt x="2886" y="3720"/>
                  </a:lnTo>
                  <a:lnTo>
                    <a:pt x="2886" y="3712"/>
                  </a:lnTo>
                  <a:lnTo>
                    <a:pt x="2888" y="3708"/>
                  </a:lnTo>
                  <a:lnTo>
                    <a:pt x="2892" y="3706"/>
                  </a:lnTo>
                  <a:lnTo>
                    <a:pt x="2892" y="3706"/>
                  </a:lnTo>
                  <a:lnTo>
                    <a:pt x="2896" y="3702"/>
                  </a:lnTo>
                  <a:lnTo>
                    <a:pt x="2896" y="3698"/>
                  </a:lnTo>
                  <a:lnTo>
                    <a:pt x="2894" y="3692"/>
                  </a:lnTo>
                  <a:lnTo>
                    <a:pt x="2890" y="3686"/>
                  </a:lnTo>
                  <a:lnTo>
                    <a:pt x="2890" y="3686"/>
                  </a:lnTo>
                  <a:lnTo>
                    <a:pt x="2890" y="3680"/>
                  </a:lnTo>
                  <a:lnTo>
                    <a:pt x="2892" y="3676"/>
                  </a:lnTo>
                  <a:lnTo>
                    <a:pt x="2896" y="3674"/>
                  </a:lnTo>
                  <a:lnTo>
                    <a:pt x="2900" y="3676"/>
                  </a:lnTo>
                  <a:lnTo>
                    <a:pt x="2900" y="3676"/>
                  </a:lnTo>
                  <a:lnTo>
                    <a:pt x="2904" y="3678"/>
                  </a:lnTo>
                  <a:lnTo>
                    <a:pt x="2910" y="3678"/>
                  </a:lnTo>
                  <a:lnTo>
                    <a:pt x="2926" y="3678"/>
                  </a:lnTo>
                  <a:lnTo>
                    <a:pt x="2948" y="3676"/>
                  </a:lnTo>
                  <a:lnTo>
                    <a:pt x="2970" y="3672"/>
                  </a:lnTo>
                  <a:lnTo>
                    <a:pt x="2970" y="3672"/>
                  </a:lnTo>
                  <a:lnTo>
                    <a:pt x="2990" y="3666"/>
                  </a:lnTo>
                  <a:lnTo>
                    <a:pt x="3006" y="3660"/>
                  </a:lnTo>
                  <a:lnTo>
                    <a:pt x="3018" y="3652"/>
                  </a:lnTo>
                  <a:lnTo>
                    <a:pt x="3020" y="3650"/>
                  </a:lnTo>
                  <a:lnTo>
                    <a:pt x="3022" y="3646"/>
                  </a:lnTo>
                  <a:lnTo>
                    <a:pt x="3022" y="3646"/>
                  </a:lnTo>
                  <a:lnTo>
                    <a:pt x="3026" y="3638"/>
                  </a:lnTo>
                  <a:lnTo>
                    <a:pt x="3034" y="3628"/>
                  </a:lnTo>
                  <a:lnTo>
                    <a:pt x="3048" y="3610"/>
                  </a:lnTo>
                  <a:lnTo>
                    <a:pt x="3048" y="3610"/>
                  </a:lnTo>
                  <a:lnTo>
                    <a:pt x="3048" y="3604"/>
                  </a:lnTo>
                  <a:lnTo>
                    <a:pt x="3048" y="3600"/>
                  </a:lnTo>
                  <a:lnTo>
                    <a:pt x="3044" y="3594"/>
                  </a:lnTo>
                  <a:lnTo>
                    <a:pt x="3036" y="3592"/>
                  </a:lnTo>
                  <a:lnTo>
                    <a:pt x="3036" y="3592"/>
                  </a:lnTo>
                  <a:lnTo>
                    <a:pt x="3032" y="3592"/>
                  </a:lnTo>
                  <a:lnTo>
                    <a:pt x="3028" y="3590"/>
                  </a:lnTo>
                  <a:lnTo>
                    <a:pt x="3026" y="3582"/>
                  </a:lnTo>
                  <a:lnTo>
                    <a:pt x="3028" y="3576"/>
                  </a:lnTo>
                  <a:lnTo>
                    <a:pt x="3030" y="3568"/>
                  </a:lnTo>
                  <a:lnTo>
                    <a:pt x="3030" y="3568"/>
                  </a:lnTo>
                  <a:lnTo>
                    <a:pt x="3032" y="3566"/>
                  </a:lnTo>
                  <a:lnTo>
                    <a:pt x="3032" y="3564"/>
                  </a:lnTo>
                  <a:lnTo>
                    <a:pt x="3030" y="3558"/>
                  </a:lnTo>
                  <a:lnTo>
                    <a:pt x="3024" y="3554"/>
                  </a:lnTo>
                  <a:lnTo>
                    <a:pt x="3016" y="3552"/>
                  </a:lnTo>
                  <a:lnTo>
                    <a:pt x="3016" y="3552"/>
                  </a:lnTo>
                  <a:lnTo>
                    <a:pt x="3006" y="3550"/>
                  </a:lnTo>
                  <a:lnTo>
                    <a:pt x="2998" y="3546"/>
                  </a:lnTo>
                  <a:lnTo>
                    <a:pt x="2994" y="3544"/>
                  </a:lnTo>
                  <a:lnTo>
                    <a:pt x="2994" y="3540"/>
                  </a:lnTo>
                  <a:lnTo>
                    <a:pt x="2994" y="3538"/>
                  </a:lnTo>
                  <a:lnTo>
                    <a:pt x="2996" y="3534"/>
                  </a:lnTo>
                  <a:lnTo>
                    <a:pt x="2996" y="3534"/>
                  </a:lnTo>
                  <a:lnTo>
                    <a:pt x="3000" y="3532"/>
                  </a:lnTo>
                  <a:lnTo>
                    <a:pt x="3002" y="3530"/>
                  </a:lnTo>
                  <a:lnTo>
                    <a:pt x="3006" y="3532"/>
                  </a:lnTo>
                  <a:lnTo>
                    <a:pt x="3010" y="3536"/>
                  </a:lnTo>
                  <a:lnTo>
                    <a:pt x="3014" y="3538"/>
                  </a:lnTo>
                  <a:lnTo>
                    <a:pt x="3016" y="3538"/>
                  </a:lnTo>
                  <a:lnTo>
                    <a:pt x="3016" y="3538"/>
                  </a:lnTo>
                  <a:lnTo>
                    <a:pt x="3026" y="3538"/>
                  </a:lnTo>
                  <a:lnTo>
                    <a:pt x="3034" y="3540"/>
                  </a:lnTo>
                  <a:lnTo>
                    <a:pt x="3052" y="3546"/>
                  </a:lnTo>
                  <a:lnTo>
                    <a:pt x="3052" y="3546"/>
                  </a:lnTo>
                  <a:lnTo>
                    <a:pt x="3060" y="3548"/>
                  </a:lnTo>
                  <a:lnTo>
                    <a:pt x="3062" y="3548"/>
                  </a:lnTo>
                  <a:lnTo>
                    <a:pt x="3066" y="3546"/>
                  </a:lnTo>
                  <a:lnTo>
                    <a:pt x="3074" y="3546"/>
                  </a:lnTo>
                  <a:lnTo>
                    <a:pt x="3074" y="3546"/>
                  </a:lnTo>
                  <a:lnTo>
                    <a:pt x="3084" y="3548"/>
                  </a:lnTo>
                  <a:lnTo>
                    <a:pt x="3094" y="3548"/>
                  </a:lnTo>
                  <a:lnTo>
                    <a:pt x="3104" y="3546"/>
                  </a:lnTo>
                  <a:lnTo>
                    <a:pt x="3114" y="3540"/>
                  </a:lnTo>
                  <a:lnTo>
                    <a:pt x="3114" y="3540"/>
                  </a:lnTo>
                  <a:lnTo>
                    <a:pt x="3124" y="3534"/>
                  </a:lnTo>
                  <a:lnTo>
                    <a:pt x="3130" y="3524"/>
                  </a:lnTo>
                  <a:lnTo>
                    <a:pt x="3138" y="3512"/>
                  </a:lnTo>
                  <a:lnTo>
                    <a:pt x="3148" y="3502"/>
                  </a:lnTo>
                  <a:lnTo>
                    <a:pt x="3148" y="3502"/>
                  </a:lnTo>
                  <a:lnTo>
                    <a:pt x="3158" y="3494"/>
                  </a:lnTo>
                  <a:lnTo>
                    <a:pt x="3162" y="3486"/>
                  </a:lnTo>
                  <a:lnTo>
                    <a:pt x="3166" y="3478"/>
                  </a:lnTo>
                  <a:lnTo>
                    <a:pt x="3170" y="3470"/>
                  </a:lnTo>
                  <a:lnTo>
                    <a:pt x="3170" y="3470"/>
                  </a:lnTo>
                  <a:lnTo>
                    <a:pt x="3172" y="3460"/>
                  </a:lnTo>
                  <a:lnTo>
                    <a:pt x="3174" y="3452"/>
                  </a:lnTo>
                  <a:lnTo>
                    <a:pt x="3178" y="3444"/>
                  </a:lnTo>
                  <a:lnTo>
                    <a:pt x="3184" y="3436"/>
                  </a:lnTo>
                  <a:lnTo>
                    <a:pt x="3184" y="3436"/>
                  </a:lnTo>
                  <a:lnTo>
                    <a:pt x="3188" y="3432"/>
                  </a:lnTo>
                  <a:lnTo>
                    <a:pt x="3190" y="3428"/>
                  </a:lnTo>
                  <a:lnTo>
                    <a:pt x="3190" y="3420"/>
                  </a:lnTo>
                  <a:lnTo>
                    <a:pt x="3190" y="3412"/>
                  </a:lnTo>
                  <a:lnTo>
                    <a:pt x="3194" y="3410"/>
                  </a:lnTo>
                  <a:lnTo>
                    <a:pt x="3198" y="3406"/>
                  </a:lnTo>
                  <a:lnTo>
                    <a:pt x="3198" y="3406"/>
                  </a:lnTo>
                  <a:lnTo>
                    <a:pt x="3204" y="3404"/>
                  </a:lnTo>
                  <a:lnTo>
                    <a:pt x="3208" y="3404"/>
                  </a:lnTo>
                  <a:lnTo>
                    <a:pt x="3210" y="3406"/>
                  </a:lnTo>
                  <a:lnTo>
                    <a:pt x="3210" y="3410"/>
                  </a:lnTo>
                  <a:lnTo>
                    <a:pt x="3208" y="3420"/>
                  </a:lnTo>
                  <a:lnTo>
                    <a:pt x="3198" y="3432"/>
                  </a:lnTo>
                  <a:lnTo>
                    <a:pt x="3198" y="3432"/>
                  </a:lnTo>
                  <a:lnTo>
                    <a:pt x="3190" y="3442"/>
                  </a:lnTo>
                  <a:lnTo>
                    <a:pt x="3188" y="3448"/>
                  </a:lnTo>
                  <a:lnTo>
                    <a:pt x="3188" y="3448"/>
                  </a:lnTo>
                  <a:lnTo>
                    <a:pt x="3190" y="3448"/>
                  </a:lnTo>
                  <a:lnTo>
                    <a:pt x="3200" y="3440"/>
                  </a:lnTo>
                  <a:lnTo>
                    <a:pt x="3200" y="3440"/>
                  </a:lnTo>
                  <a:lnTo>
                    <a:pt x="3212" y="3430"/>
                  </a:lnTo>
                  <a:lnTo>
                    <a:pt x="3222" y="3416"/>
                  </a:lnTo>
                  <a:lnTo>
                    <a:pt x="3236" y="3388"/>
                  </a:lnTo>
                  <a:lnTo>
                    <a:pt x="3236" y="3388"/>
                  </a:lnTo>
                  <a:lnTo>
                    <a:pt x="3244" y="3374"/>
                  </a:lnTo>
                  <a:lnTo>
                    <a:pt x="3250" y="3366"/>
                  </a:lnTo>
                  <a:lnTo>
                    <a:pt x="3256" y="3360"/>
                  </a:lnTo>
                  <a:lnTo>
                    <a:pt x="3262" y="3358"/>
                  </a:lnTo>
                  <a:lnTo>
                    <a:pt x="3262" y="3358"/>
                  </a:lnTo>
                  <a:lnTo>
                    <a:pt x="3266" y="3358"/>
                  </a:lnTo>
                  <a:lnTo>
                    <a:pt x="3268" y="3354"/>
                  </a:lnTo>
                  <a:lnTo>
                    <a:pt x="3270" y="3344"/>
                  </a:lnTo>
                  <a:lnTo>
                    <a:pt x="3272" y="3332"/>
                  </a:lnTo>
                  <a:lnTo>
                    <a:pt x="3270" y="3320"/>
                  </a:lnTo>
                  <a:lnTo>
                    <a:pt x="3270" y="3320"/>
                  </a:lnTo>
                  <a:lnTo>
                    <a:pt x="3268" y="3296"/>
                  </a:lnTo>
                  <a:lnTo>
                    <a:pt x="3268" y="3288"/>
                  </a:lnTo>
                  <a:lnTo>
                    <a:pt x="3272" y="3278"/>
                  </a:lnTo>
                  <a:lnTo>
                    <a:pt x="3272" y="3278"/>
                  </a:lnTo>
                  <a:lnTo>
                    <a:pt x="3274" y="3272"/>
                  </a:lnTo>
                  <a:lnTo>
                    <a:pt x="3274" y="3264"/>
                  </a:lnTo>
                  <a:lnTo>
                    <a:pt x="3276" y="3260"/>
                  </a:lnTo>
                  <a:lnTo>
                    <a:pt x="3278" y="3260"/>
                  </a:lnTo>
                  <a:lnTo>
                    <a:pt x="3280" y="3258"/>
                  </a:lnTo>
                  <a:lnTo>
                    <a:pt x="3280" y="3258"/>
                  </a:lnTo>
                  <a:lnTo>
                    <a:pt x="3286" y="3256"/>
                  </a:lnTo>
                  <a:lnTo>
                    <a:pt x="3296" y="3250"/>
                  </a:lnTo>
                  <a:lnTo>
                    <a:pt x="3314" y="3232"/>
                  </a:lnTo>
                  <a:lnTo>
                    <a:pt x="3314" y="3232"/>
                  </a:lnTo>
                  <a:lnTo>
                    <a:pt x="3324" y="3224"/>
                  </a:lnTo>
                  <a:lnTo>
                    <a:pt x="3332" y="3220"/>
                  </a:lnTo>
                  <a:lnTo>
                    <a:pt x="3340" y="3218"/>
                  </a:lnTo>
                  <a:lnTo>
                    <a:pt x="3350" y="3218"/>
                  </a:lnTo>
                  <a:lnTo>
                    <a:pt x="3350" y="3218"/>
                  </a:lnTo>
                  <a:lnTo>
                    <a:pt x="3356" y="3216"/>
                  </a:lnTo>
                  <a:lnTo>
                    <a:pt x="3360" y="3214"/>
                  </a:lnTo>
                  <a:lnTo>
                    <a:pt x="3360" y="3210"/>
                  </a:lnTo>
                  <a:lnTo>
                    <a:pt x="3366" y="3208"/>
                  </a:lnTo>
                  <a:lnTo>
                    <a:pt x="3366" y="3208"/>
                  </a:lnTo>
                  <a:lnTo>
                    <a:pt x="3372" y="3206"/>
                  </a:lnTo>
                  <a:lnTo>
                    <a:pt x="3376" y="3202"/>
                  </a:lnTo>
                  <a:lnTo>
                    <a:pt x="3386" y="3192"/>
                  </a:lnTo>
                  <a:lnTo>
                    <a:pt x="3386" y="3192"/>
                  </a:lnTo>
                  <a:lnTo>
                    <a:pt x="3390" y="3190"/>
                  </a:lnTo>
                  <a:lnTo>
                    <a:pt x="3394" y="3190"/>
                  </a:lnTo>
                  <a:lnTo>
                    <a:pt x="3406" y="3190"/>
                  </a:lnTo>
                  <a:lnTo>
                    <a:pt x="3432" y="3192"/>
                  </a:lnTo>
                  <a:lnTo>
                    <a:pt x="3432" y="3192"/>
                  </a:lnTo>
                  <a:lnTo>
                    <a:pt x="3450" y="3192"/>
                  </a:lnTo>
                  <a:lnTo>
                    <a:pt x="3454" y="3190"/>
                  </a:lnTo>
                  <a:lnTo>
                    <a:pt x="3456" y="3184"/>
                  </a:lnTo>
                  <a:lnTo>
                    <a:pt x="3456" y="3184"/>
                  </a:lnTo>
                  <a:lnTo>
                    <a:pt x="3456" y="3178"/>
                  </a:lnTo>
                  <a:lnTo>
                    <a:pt x="3460" y="3174"/>
                  </a:lnTo>
                  <a:lnTo>
                    <a:pt x="3464" y="3170"/>
                  </a:lnTo>
                  <a:lnTo>
                    <a:pt x="3470" y="3168"/>
                  </a:lnTo>
                  <a:lnTo>
                    <a:pt x="3470" y="3168"/>
                  </a:lnTo>
                  <a:lnTo>
                    <a:pt x="3476" y="3168"/>
                  </a:lnTo>
                  <a:lnTo>
                    <a:pt x="3480" y="3166"/>
                  </a:lnTo>
                  <a:lnTo>
                    <a:pt x="3482" y="3162"/>
                  </a:lnTo>
                  <a:lnTo>
                    <a:pt x="3482" y="3154"/>
                  </a:lnTo>
                  <a:lnTo>
                    <a:pt x="3482" y="3154"/>
                  </a:lnTo>
                  <a:lnTo>
                    <a:pt x="3484" y="3146"/>
                  </a:lnTo>
                  <a:lnTo>
                    <a:pt x="3486" y="3140"/>
                  </a:lnTo>
                  <a:lnTo>
                    <a:pt x="3490" y="3134"/>
                  </a:lnTo>
                  <a:lnTo>
                    <a:pt x="3494" y="3130"/>
                  </a:lnTo>
                  <a:lnTo>
                    <a:pt x="3494" y="3130"/>
                  </a:lnTo>
                  <a:lnTo>
                    <a:pt x="3498" y="3124"/>
                  </a:lnTo>
                  <a:lnTo>
                    <a:pt x="3502" y="3118"/>
                  </a:lnTo>
                  <a:lnTo>
                    <a:pt x="3504" y="3104"/>
                  </a:lnTo>
                  <a:lnTo>
                    <a:pt x="3504" y="3104"/>
                  </a:lnTo>
                  <a:lnTo>
                    <a:pt x="3508" y="3100"/>
                  </a:lnTo>
                  <a:lnTo>
                    <a:pt x="3510" y="3098"/>
                  </a:lnTo>
                  <a:lnTo>
                    <a:pt x="3514" y="3096"/>
                  </a:lnTo>
                  <a:lnTo>
                    <a:pt x="3516" y="3090"/>
                  </a:lnTo>
                  <a:lnTo>
                    <a:pt x="3516" y="3090"/>
                  </a:lnTo>
                  <a:lnTo>
                    <a:pt x="3518" y="3072"/>
                  </a:lnTo>
                  <a:lnTo>
                    <a:pt x="3520" y="3056"/>
                  </a:lnTo>
                  <a:lnTo>
                    <a:pt x="3520" y="3056"/>
                  </a:lnTo>
                  <a:lnTo>
                    <a:pt x="3520" y="3052"/>
                  </a:lnTo>
                  <a:lnTo>
                    <a:pt x="3524" y="3048"/>
                  </a:lnTo>
                  <a:lnTo>
                    <a:pt x="3530" y="3046"/>
                  </a:lnTo>
                  <a:lnTo>
                    <a:pt x="3534" y="3042"/>
                  </a:lnTo>
                  <a:lnTo>
                    <a:pt x="3534" y="3042"/>
                  </a:lnTo>
                  <a:lnTo>
                    <a:pt x="3534" y="3036"/>
                  </a:lnTo>
                  <a:lnTo>
                    <a:pt x="3534" y="3030"/>
                  </a:lnTo>
                  <a:lnTo>
                    <a:pt x="3534" y="3020"/>
                  </a:lnTo>
                  <a:lnTo>
                    <a:pt x="3536" y="3008"/>
                  </a:lnTo>
                  <a:lnTo>
                    <a:pt x="3536" y="3008"/>
                  </a:lnTo>
                  <a:lnTo>
                    <a:pt x="3538" y="2994"/>
                  </a:lnTo>
                  <a:lnTo>
                    <a:pt x="3538" y="2980"/>
                  </a:lnTo>
                  <a:lnTo>
                    <a:pt x="3538" y="2968"/>
                  </a:lnTo>
                  <a:lnTo>
                    <a:pt x="3536" y="2954"/>
                  </a:lnTo>
                  <a:lnTo>
                    <a:pt x="3536" y="2954"/>
                  </a:lnTo>
                  <a:lnTo>
                    <a:pt x="3536" y="2930"/>
                  </a:lnTo>
                  <a:lnTo>
                    <a:pt x="3538" y="2920"/>
                  </a:lnTo>
                  <a:lnTo>
                    <a:pt x="3542" y="2914"/>
                  </a:lnTo>
                  <a:lnTo>
                    <a:pt x="3542" y="2914"/>
                  </a:lnTo>
                  <a:lnTo>
                    <a:pt x="3546" y="2912"/>
                  </a:lnTo>
                  <a:lnTo>
                    <a:pt x="3546" y="2908"/>
                  </a:lnTo>
                  <a:lnTo>
                    <a:pt x="3544" y="2906"/>
                  </a:lnTo>
                  <a:lnTo>
                    <a:pt x="3540" y="2904"/>
                  </a:lnTo>
                  <a:lnTo>
                    <a:pt x="3540" y="2904"/>
                  </a:lnTo>
                  <a:lnTo>
                    <a:pt x="3538" y="2902"/>
                  </a:lnTo>
                  <a:lnTo>
                    <a:pt x="3540" y="2898"/>
                  </a:lnTo>
                  <a:lnTo>
                    <a:pt x="3542" y="2896"/>
                  </a:lnTo>
                  <a:lnTo>
                    <a:pt x="3546" y="2896"/>
                  </a:lnTo>
                  <a:lnTo>
                    <a:pt x="3546" y="2896"/>
                  </a:lnTo>
                  <a:lnTo>
                    <a:pt x="3552" y="2902"/>
                  </a:lnTo>
                  <a:lnTo>
                    <a:pt x="3556" y="2902"/>
                  </a:lnTo>
                  <a:lnTo>
                    <a:pt x="3562" y="2902"/>
                  </a:lnTo>
                  <a:lnTo>
                    <a:pt x="3562" y="2902"/>
                  </a:lnTo>
                  <a:lnTo>
                    <a:pt x="3568" y="2896"/>
                  </a:lnTo>
                  <a:lnTo>
                    <a:pt x="3574" y="2884"/>
                  </a:lnTo>
                  <a:lnTo>
                    <a:pt x="3584" y="2860"/>
                  </a:lnTo>
                  <a:lnTo>
                    <a:pt x="3584" y="2860"/>
                  </a:lnTo>
                  <a:lnTo>
                    <a:pt x="3590" y="2850"/>
                  </a:lnTo>
                  <a:lnTo>
                    <a:pt x="3596" y="2844"/>
                  </a:lnTo>
                  <a:lnTo>
                    <a:pt x="3610" y="2840"/>
                  </a:lnTo>
                  <a:lnTo>
                    <a:pt x="3610" y="2840"/>
                  </a:lnTo>
                  <a:lnTo>
                    <a:pt x="3618" y="2834"/>
                  </a:lnTo>
                  <a:lnTo>
                    <a:pt x="3628" y="2822"/>
                  </a:lnTo>
                  <a:lnTo>
                    <a:pt x="3638" y="2806"/>
                  </a:lnTo>
                  <a:lnTo>
                    <a:pt x="3648" y="2786"/>
                  </a:lnTo>
                  <a:lnTo>
                    <a:pt x="3648" y="2786"/>
                  </a:lnTo>
                  <a:lnTo>
                    <a:pt x="3652" y="2774"/>
                  </a:lnTo>
                  <a:lnTo>
                    <a:pt x="3652" y="2764"/>
                  </a:lnTo>
                  <a:lnTo>
                    <a:pt x="3652" y="2752"/>
                  </a:lnTo>
                  <a:lnTo>
                    <a:pt x="3652" y="2742"/>
                  </a:lnTo>
                  <a:lnTo>
                    <a:pt x="3648" y="2724"/>
                  </a:lnTo>
                  <a:lnTo>
                    <a:pt x="3642" y="2706"/>
                  </a:lnTo>
                  <a:lnTo>
                    <a:pt x="3642" y="2706"/>
                  </a:lnTo>
                  <a:lnTo>
                    <a:pt x="3638" y="2696"/>
                  </a:lnTo>
                  <a:lnTo>
                    <a:pt x="3636" y="2692"/>
                  </a:lnTo>
                  <a:lnTo>
                    <a:pt x="3634" y="2690"/>
                  </a:lnTo>
                  <a:lnTo>
                    <a:pt x="3628" y="2690"/>
                  </a:lnTo>
                  <a:lnTo>
                    <a:pt x="3618" y="2690"/>
                  </a:lnTo>
                  <a:lnTo>
                    <a:pt x="3618" y="2690"/>
                  </a:lnTo>
                  <a:close/>
                  <a:moveTo>
                    <a:pt x="2472" y="1250"/>
                  </a:moveTo>
                  <a:lnTo>
                    <a:pt x="2472" y="1250"/>
                  </a:lnTo>
                  <a:lnTo>
                    <a:pt x="2478" y="1252"/>
                  </a:lnTo>
                  <a:lnTo>
                    <a:pt x="2486" y="1250"/>
                  </a:lnTo>
                  <a:lnTo>
                    <a:pt x="2496" y="1248"/>
                  </a:lnTo>
                  <a:lnTo>
                    <a:pt x="2504" y="1246"/>
                  </a:lnTo>
                  <a:lnTo>
                    <a:pt x="2508" y="1246"/>
                  </a:lnTo>
                  <a:lnTo>
                    <a:pt x="2510" y="1250"/>
                  </a:lnTo>
                  <a:lnTo>
                    <a:pt x="2510" y="1250"/>
                  </a:lnTo>
                  <a:lnTo>
                    <a:pt x="2512" y="1256"/>
                  </a:lnTo>
                  <a:lnTo>
                    <a:pt x="2510" y="1260"/>
                  </a:lnTo>
                  <a:lnTo>
                    <a:pt x="2506" y="1264"/>
                  </a:lnTo>
                  <a:lnTo>
                    <a:pt x="2498" y="1268"/>
                  </a:lnTo>
                  <a:lnTo>
                    <a:pt x="2480" y="1274"/>
                  </a:lnTo>
                  <a:lnTo>
                    <a:pt x="2458" y="1276"/>
                  </a:lnTo>
                  <a:lnTo>
                    <a:pt x="2458" y="1276"/>
                  </a:lnTo>
                  <a:lnTo>
                    <a:pt x="2438" y="1278"/>
                  </a:lnTo>
                  <a:lnTo>
                    <a:pt x="2428" y="1280"/>
                  </a:lnTo>
                  <a:lnTo>
                    <a:pt x="2420" y="1278"/>
                  </a:lnTo>
                  <a:lnTo>
                    <a:pt x="2418" y="1276"/>
                  </a:lnTo>
                  <a:lnTo>
                    <a:pt x="2416" y="1272"/>
                  </a:lnTo>
                  <a:lnTo>
                    <a:pt x="2416" y="1272"/>
                  </a:lnTo>
                  <a:lnTo>
                    <a:pt x="2416" y="1268"/>
                  </a:lnTo>
                  <a:lnTo>
                    <a:pt x="2420" y="1264"/>
                  </a:lnTo>
                  <a:lnTo>
                    <a:pt x="2426" y="1260"/>
                  </a:lnTo>
                  <a:lnTo>
                    <a:pt x="2434" y="1256"/>
                  </a:lnTo>
                  <a:lnTo>
                    <a:pt x="2454" y="1252"/>
                  </a:lnTo>
                  <a:lnTo>
                    <a:pt x="2472" y="1250"/>
                  </a:lnTo>
                  <a:lnTo>
                    <a:pt x="2472" y="1250"/>
                  </a:lnTo>
                  <a:close/>
                  <a:moveTo>
                    <a:pt x="2430" y="1294"/>
                  </a:moveTo>
                  <a:lnTo>
                    <a:pt x="2430" y="1294"/>
                  </a:lnTo>
                  <a:lnTo>
                    <a:pt x="2428" y="1296"/>
                  </a:lnTo>
                  <a:lnTo>
                    <a:pt x="2424" y="1302"/>
                  </a:lnTo>
                  <a:lnTo>
                    <a:pt x="2408" y="1312"/>
                  </a:lnTo>
                  <a:lnTo>
                    <a:pt x="2366" y="1334"/>
                  </a:lnTo>
                  <a:lnTo>
                    <a:pt x="2366" y="1334"/>
                  </a:lnTo>
                  <a:lnTo>
                    <a:pt x="2358" y="1338"/>
                  </a:lnTo>
                  <a:lnTo>
                    <a:pt x="2348" y="1340"/>
                  </a:lnTo>
                  <a:lnTo>
                    <a:pt x="2340" y="1340"/>
                  </a:lnTo>
                  <a:lnTo>
                    <a:pt x="2330" y="1340"/>
                  </a:lnTo>
                  <a:lnTo>
                    <a:pt x="2324" y="1338"/>
                  </a:lnTo>
                  <a:lnTo>
                    <a:pt x="2318" y="1334"/>
                  </a:lnTo>
                  <a:lnTo>
                    <a:pt x="2314" y="1328"/>
                  </a:lnTo>
                  <a:lnTo>
                    <a:pt x="2312" y="1322"/>
                  </a:lnTo>
                  <a:lnTo>
                    <a:pt x="2312" y="1322"/>
                  </a:lnTo>
                  <a:lnTo>
                    <a:pt x="2312" y="1316"/>
                  </a:lnTo>
                  <a:lnTo>
                    <a:pt x="2314" y="1312"/>
                  </a:lnTo>
                  <a:lnTo>
                    <a:pt x="2318" y="1310"/>
                  </a:lnTo>
                  <a:lnTo>
                    <a:pt x="2322" y="1310"/>
                  </a:lnTo>
                  <a:lnTo>
                    <a:pt x="2328" y="1310"/>
                  </a:lnTo>
                  <a:lnTo>
                    <a:pt x="2332" y="1316"/>
                  </a:lnTo>
                  <a:lnTo>
                    <a:pt x="2332" y="1316"/>
                  </a:lnTo>
                  <a:lnTo>
                    <a:pt x="2336" y="1318"/>
                  </a:lnTo>
                  <a:lnTo>
                    <a:pt x="2338" y="1316"/>
                  </a:lnTo>
                  <a:lnTo>
                    <a:pt x="2350" y="1308"/>
                  </a:lnTo>
                  <a:lnTo>
                    <a:pt x="2364" y="1300"/>
                  </a:lnTo>
                  <a:lnTo>
                    <a:pt x="2370" y="1296"/>
                  </a:lnTo>
                  <a:lnTo>
                    <a:pt x="2378" y="1296"/>
                  </a:lnTo>
                  <a:lnTo>
                    <a:pt x="2378" y="1296"/>
                  </a:lnTo>
                  <a:lnTo>
                    <a:pt x="2388" y="1298"/>
                  </a:lnTo>
                  <a:lnTo>
                    <a:pt x="2398" y="1302"/>
                  </a:lnTo>
                  <a:lnTo>
                    <a:pt x="2404" y="1302"/>
                  </a:lnTo>
                  <a:lnTo>
                    <a:pt x="2408" y="1302"/>
                  </a:lnTo>
                  <a:lnTo>
                    <a:pt x="2412" y="1300"/>
                  </a:lnTo>
                  <a:lnTo>
                    <a:pt x="2412" y="1300"/>
                  </a:lnTo>
                  <a:lnTo>
                    <a:pt x="2424" y="1290"/>
                  </a:lnTo>
                  <a:lnTo>
                    <a:pt x="2428" y="1290"/>
                  </a:lnTo>
                  <a:lnTo>
                    <a:pt x="2430" y="1294"/>
                  </a:lnTo>
                  <a:lnTo>
                    <a:pt x="2430" y="1294"/>
                  </a:lnTo>
                  <a:close/>
                  <a:moveTo>
                    <a:pt x="2298" y="1180"/>
                  </a:moveTo>
                  <a:lnTo>
                    <a:pt x="2298" y="1180"/>
                  </a:lnTo>
                  <a:lnTo>
                    <a:pt x="2298" y="1178"/>
                  </a:lnTo>
                  <a:lnTo>
                    <a:pt x="2302" y="1178"/>
                  </a:lnTo>
                  <a:lnTo>
                    <a:pt x="2314" y="1176"/>
                  </a:lnTo>
                  <a:lnTo>
                    <a:pt x="2328" y="1180"/>
                  </a:lnTo>
                  <a:lnTo>
                    <a:pt x="2342" y="1184"/>
                  </a:lnTo>
                  <a:lnTo>
                    <a:pt x="2342" y="1184"/>
                  </a:lnTo>
                  <a:lnTo>
                    <a:pt x="2350" y="1184"/>
                  </a:lnTo>
                  <a:lnTo>
                    <a:pt x="2356" y="1184"/>
                  </a:lnTo>
                  <a:lnTo>
                    <a:pt x="2372" y="1184"/>
                  </a:lnTo>
                  <a:lnTo>
                    <a:pt x="2378" y="1184"/>
                  </a:lnTo>
                  <a:lnTo>
                    <a:pt x="2384" y="1186"/>
                  </a:lnTo>
                  <a:lnTo>
                    <a:pt x="2390" y="1190"/>
                  </a:lnTo>
                  <a:lnTo>
                    <a:pt x="2394" y="1196"/>
                  </a:lnTo>
                  <a:lnTo>
                    <a:pt x="2394" y="1196"/>
                  </a:lnTo>
                  <a:lnTo>
                    <a:pt x="2400" y="1210"/>
                  </a:lnTo>
                  <a:lnTo>
                    <a:pt x="2408" y="1222"/>
                  </a:lnTo>
                  <a:lnTo>
                    <a:pt x="2410" y="1226"/>
                  </a:lnTo>
                  <a:lnTo>
                    <a:pt x="2410" y="1230"/>
                  </a:lnTo>
                  <a:lnTo>
                    <a:pt x="2408" y="1232"/>
                  </a:lnTo>
                  <a:lnTo>
                    <a:pt x="2402" y="1234"/>
                  </a:lnTo>
                  <a:lnTo>
                    <a:pt x="2402" y="1234"/>
                  </a:lnTo>
                  <a:lnTo>
                    <a:pt x="2396" y="1234"/>
                  </a:lnTo>
                  <a:lnTo>
                    <a:pt x="2390" y="1232"/>
                  </a:lnTo>
                  <a:lnTo>
                    <a:pt x="2380" y="1226"/>
                  </a:lnTo>
                  <a:lnTo>
                    <a:pt x="2370" y="1222"/>
                  </a:lnTo>
                  <a:lnTo>
                    <a:pt x="2368" y="1222"/>
                  </a:lnTo>
                  <a:lnTo>
                    <a:pt x="2368" y="1226"/>
                  </a:lnTo>
                  <a:lnTo>
                    <a:pt x="2368" y="1226"/>
                  </a:lnTo>
                  <a:lnTo>
                    <a:pt x="2368" y="1232"/>
                  </a:lnTo>
                  <a:lnTo>
                    <a:pt x="2364" y="1236"/>
                  </a:lnTo>
                  <a:lnTo>
                    <a:pt x="2360" y="1240"/>
                  </a:lnTo>
                  <a:lnTo>
                    <a:pt x="2360" y="1250"/>
                  </a:lnTo>
                  <a:lnTo>
                    <a:pt x="2360" y="1250"/>
                  </a:lnTo>
                  <a:lnTo>
                    <a:pt x="2358" y="1264"/>
                  </a:lnTo>
                  <a:lnTo>
                    <a:pt x="2352" y="1278"/>
                  </a:lnTo>
                  <a:lnTo>
                    <a:pt x="2346" y="1288"/>
                  </a:lnTo>
                  <a:lnTo>
                    <a:pt x="2342" y="1292"/>
                  </a:lnTo>
                  <a:lnTo>
                    <a:pt x="2340" y="1292"/>
                  </a:lnTo>
                  <a:lnTo>
                    <a:pt x="2340" y="1292"/>
                  </a:lnTo>
                  <a:lnTo>
                    <a:pt x="2338" y="1290"/>
                  </a:lnTo>
                  <a:lnTo>
                    <a:pt x="2336" y="1286"/>
                  </a:lnTo>
                  <a:lnTo>
                    <a:pt x="2336" y="1276"/>
                  </a:lnTo>
                  <a:lnTo>
                    <a:pt x="2336" y="1264"/>
                  </a:lnTo>
                  <a:lnTo>
                    <a:pt x="2334" y="1260"/>
                  </a:lnTo>
                  <a:lnTo>
                    <a:pt x="2330" y="1256"/>
                  </a:lnTo>
                  <a:lnTo>
                    <a:pt x="2330" y="1256"/>
                  </a:lnTo>
                  <a:lnTo>
                    <a:pt x="2324" y="1256"/>
                  </a:lnTo>
                  <a:lnTo>
                    <a:pt x="2318" y="1258"/>
                  </a:lnTo>
                  <a:lnTo>
                    <a:pt x="2308" y="1264"/>
                  </a:lnTo>
                  <a:lnTo>
                    <a:pt x="2302" y="1266"/>
                  </a:lnTo>
                  <a:lnTo>
                    <a:pt x="2300" y="1266"/>
                  </a:lnTo>
                  <a:lnTo>
                    <a:pt x="2300" y="1262"/>
                  </a:lnTo>
                  <a:lnTo>
                    <a:pt x="2300" y="1262"/>
                  </a:lnTo>
                  <a:lnTo>
                    <a:pt x="2302" y="1256"/>
                  </a:lnTo>
                  <a:lnTo>
                    <a:pt x="2304" y="1250"/>
                  </a:lnTo>
                  <a:lnTo>
                    <a:pt x="2312" y="1238"/>
                  </a:lnTo>
                  <a:lnTo>
                    <a:pt x="2314" y="1232"/>
                  </a:lnTo>
                  <a:lnTo>
                    <a:pt x="2316" y="1226"/>
                  </a:lnTo>
                  <a:lnTo>
                    <a:pt x="2314" y="1220"/>
                  </a:lnTo>
                  <a:lnTo>
                    <a:pt x="2312" y="1212"/>
                  </a:lnTo>
                  <a:lnTo>
                    <a:pt x="2312" y="1212"/>
                  </a:lnTo>
                  <a:lnTo>
                    <a:pt x="2306" y="1206"/>
                  </a:lnTo>
                  <a:lnTo>
                    <a:pt x="2300" y="1200"/>
                  </a:lnTo>
                  <a:lnTo>
                    <a:pt x="2294" y="1198"/>
                  </a:lnTo>
                  <a:lnTo>
                    <a:pt x="2286" y="1196"/>
                  </a:lnTo>
                  <a:lnTo>
                    <a:pt x="2280" y="1196"/>
                  </a:lnTo>
                  <a:lnTo>
                    <a:pt x="2276" y="1198"/>
                  </a:lnTo>
                  <a:lnTo>
                    <a:pt x="2272" y="1202"/>
                  </a:lnTo>
                  <a:lnTo>
                    <a:pt x="2268" y="1208"/>
                  </a:lnTo>
                  <a:lnTo>
                    <a:pt x="2268" y="1208"/>
                  </a:lnTo>
                  <a:lnTo>
                    <a:pt x="2266" y="1212"/>
                  </a:lnTo>
                  <a:lnTo>
                    <a:pt x="2264" y="1216"/>
                  </a:lnTo>
                  <a:lnTo>
                    <a:pt x="2256" y="1218"/>
                  </a:lnTo>
                  <a:lnTo>
                    <a:pt x="2248" y="1222"/>
                  </a:lnTo>
                  <a:lnTo>
                    <a:pt x="2244" y="1224"/>
                  </a:lnTo>
                  <a:lnTo>
                    <a:pt x="2240" y="1228"/>
                  </a:lnTo>
                  <a:lnTo>
                    <a:pt x="2240" y="1228"/>
                  </a:lnTo>
                  <a:lnTo>
                    <a:pt x="2236" y="1240"/>
                  </a:lnTo>
                  <a:lnTo>
                    <a:pt x="2234" y="1254"/>
                  </a:lnTo>
                  <a:lnTo>
                    <a:pt x="2232" y="1270"/>
                  </a:lnTo>
                  <a:lnTo>
                    <a:pt x="2234" y="1286"/>
                  </a:lnTo>
                  <a:lnTo>
                    <a:pt x="2234" y="1286"/>
                  </a:lnTo>
                  <a:lnTo>
                    <a:pt x="2236" y="1298"/>
                  </a:lnTo>
                  <a:lnTo>
                    <a:pt x="2232" y="1310"/>
                  </a:lnTo>
                  <a:lnTo>
                    <a:pt x="2226" y="1318"/>
                  </a:lnTo>
                  <a:lnTo>
                    <a:pt x="2214" y="1326"/>
                  </a:lnTo>
                  <a:lnTo>
                    <a:pt x="2214" y="1326"/>
                  </a:lnTo>
                  <a:lnTo>
                    <a:pt x="2208" y="1328"/>
                  </a:lnTo>
                  <a:lnTo>
                    <a:pt x="2202" y="1328"/>
                  </a:lnTo>
                  <a:lnTo>
                    <a:pt x="2198" y="1324"/>
                  </a:lnTo>
                  <a:lnTo>
                    <a:pt x="2194" y="1318"/>
                  </a:lnTo>
                  <a:lnTo>
                    <a:pt x="2192" y="1308"/>
                  </a:lnTo>
                  <a:lnTo>
                    <a:pt x="2192" y="1298"/>
                  </a:lnTo>
                  <a:lnTo>
                    <a:pt x="2192" y="1286"/>
                  </a:lnTo>
                  <a:lnTo>
                    <a:pt x="2194" y="1274"/>
                  </a:lnTo>
                  <a:lnTo>
                    <a:pt x="2194" y="1274"/>
                  </a:lnTo>
                  <a:lnTo>
                    <a:pt x="2198" y="1256"/>
                  </a:lnTo>
                  <a:lnTo>
                    <a:pt x="2204" y="1242"/>
                  </a:lnTo>
                  <a:lnTo>
                    <a:pt x="2204" y="1230"/>
                  </a:lnTo>
                  <a:lnTo>
                    <a:pt x="2204" y="1228"/>
                  </a:lnTo>
                  <a:lnTo>
                    <a:pt x="2200" y="1226"/>
                  </a:lnTo>
                  <a:lnTo>
                    <a:pt x="2200" y="1226"/>
                  </a:lnTo>
                  <a:lnTo>
                    <a:pt x="2198" y="1226"/>
                  </a:lnTo>
                  <a:lnTo>
                    <a:pt x="2198" y="1222"/>
                  </a:lnTo>
                  <a:lnTo>
                    <a:pt x="2206" y="1212"/>
                  </a:lnTo>
                  <a:lnTo>
                    <a:pt x="2222" y="1200"/>
                  </a:lnTo>
                  <a:lnTo>
                    <a:pt x="2232" y="1194"/>
                  </a:lnTo>
                  <a:lnTo>
                    <a:pt x="2240" y="1192"/>
                  </a:lnTo>
                  <a:lnTo>
                    <a:pt x="2240" y="1192"/>
                  </a:lnTo>
                  <a:lnTo>
                    <a:pt x="2260" y="1188"/>
                  </a:lnTo>
                  <a:lnTo>
                    <a:pt x="2278" y="1186"/>
                  </a:lnTo>
                  <a:lnTo>
                    <a:pt x="2292" y="1184"/>
                  </a:lnTo>
                  <a:lnTo>
                    <a:pt x="2296" y="1184"/>
                  </a:lnTo>
                  <a:lnTo>
                    <a:pt x="2298" y="1180"/>
                  </a:lnTo>
                  <a:lnTo>
                    <a:pt x="2298" y="1180"/>
                  </a:lnTo>
                  <a:close/>
                  <a:moveTo>
                    <a:pt x="2134" y="1122"/>
                  </a:moveTo>
                  <a:lnTo>
                    <a:pt x="2134" y="1122"/>
                  </a:lnTo>
                  <a:lnTo>
                    <a:pt x="2140" y="1122"/>
                  </a:lnTo>
                  <a:lnTo>
                    <a:pt x="2148" y="1118"/>
                  </a:lnTo>
                  <a:lnTo>
                    <a:pt x="2160" y="1104"/>
                  </a:lnTo>
                  <a:lnTo>
                    <a:pt x="2172" y="1090"/>
                  </a:lnTo>
                  <a:lnTo>
                    <a:pt x="2178" y="1086"/>
                  </a:lnTo>
                  <a:lnTo>
                    <a:pt x="2182" y="1084"/>
                  </a:lnTo>
                  <a:lnTo>
                    <a:pt x="2182" y="1084"/>
                  </a:lnTo>
                  <a:lnTo>
                    <a:pt x="2198" y="1084"/>
                  </a:lnTo>
                  <a:lnTo>
                    <a:pt x="2216" y="1088"/>
                  </a:lnTo>
                  <a:lnTo>
                    <a:pt x="2226" y="1092"/>
                  </a:lnTo>
                  <a:lnTo>
                    <a:pt x="2234" y="1096"/>
                  </a:lnTo>
                  <a:lnTo>
                    <a:pt x="2238" y="1102"/>
                  </a:lnTo>
                  <a:lnTo>
                    <a:pt x="2240" y="1108"/>
                  </a:lnTo>
                  <a:lnTo>
                    <a:pt x="2240" y="1108"/>
                  </a:lnTo>
                  <a:lnTo>
                    <a:pt x="2242" y="1114"/>
                  </a:lnTo>
                  <a:lnTo>
                    <a:pt x="2246" y="1118"/>
                  </a:lnTo>
                  <a:lnTo>
                    <a:pt x="2250" y="1118"/>
                  </a:lnTo>
                  <a:lnTo>
                    <a:pt x="2256" y="1118"/>
                  </a:lnTo>
                  <a:lnTo>
                    <a:pt x="2260" y="1120"/>
                  </a:lnTo>
                  <a:lnTo>
                    <a:pt x="2264" y="1120"/>
                  </a:lnTo>
                  <a:lnTo>
                    <a:pt x="2268" y="1124"/>
                  </a:lnTo>
                  <a:lnTo>
                    <a:pt x="2270" y="1128"/>
                  </a:lnTo>
                  <a:lnTo>
                    <a:pt x="2270" y="1128"/>
                  </a:lnTo>
                  <a:lnTo>
                    <a:pt x="2272" y="1136"/>
                  </a:lnTo>
                  <a:lnTo>
                    <a:pt x="2274" y="1142"/>
                  </a:lnTo>
                  <a:lnTo>
                    <a:pt x="2282" y="1154"/>
                  </a:lnTo>
                  <a:lnTo>
                    <a:pt x="2286" y="1164"/>
                  </a:lnTo>
                  <a:lnTo>
                    <a:pt x="2286" y="1168"/>
                  </a:lnTo>
                  <a:lnTo>
                    <a:pt x="2282" y="1172"/>
                  </a:lnTo>
                  <a:lnTo>
                    <a:pt x="2282" y="1172"/>
                  </a:lnTo>
                  <a:lnTo>
                    <a:pt x="2278" y="1172"/>
                  </a:lnTo>
                  <a:lnTo>
                    <a:pt x="2276" y="1172"/>
                  </a:lnTo>
                  <a:lnTo>
                    <a:pt x="2272" y="1168"/>
                  </a:lnTo>
                  <a:lnTo>
                    <a:pt x="2266" y="1162"/>
                  </a:lnTo>
                  <a:lnTo>
                    <a:pt x="2262" y="1160"/>
                  </a:lnTo>
                  <a:lnTo>
                    <a:pt x="2256" y="1160"/>
                  </a:lnTo>
                  <a:lnTo>
                    <a:pt x="2256" y="1160"/>
                  </a:lnTo>
                  <a:lnTo>
                    <a:pt x="2250" y="1160"/>
                  </a:lnTo>
                  <a:lnTo>
                    <a:pt x="2244" y="1162"/>
                  </a:lnTo>
                  <a:lnTo>
                    <a:pt x="2230" y="1168"/>
                  </a:lnTo>
                  <a:lnTo>
                    <a:pt x="2218" y="1172"/>
                  </a:lnTo>
                  <a:lnTo>
                    <a:pt x="2212" y="1172"/>
                  </a:lnTo>
                  <a:lnTo>
                    <a:pt x="2206" y="1170"/>
                  </a:lnTo>
                  <a:lnTo>
                    <a:pt x="2206" y="1170"/>
                  </a:lnTo>
                  <a:lnTo>
                    <a:pt x="2198" y="1164"/>
                  </a:lnTo>
                  <a:lnTo>
                    <a:pt x="2196" y="1158"/>
                  </a:lnTo>
                  <a:lnTo>
                    <a:pt x="2192" y="1154"/>
                  </a:lnTo>
                  <a:lnTo>
                    <a:pt x="2186" y="1152"/>
                  </a:lnTo>
                  <a:lnTo>
                    <a:pt x="2186" y="1152"/>
                  </a:lnTo>
                  <a:lnTo>
                    <a:pt x="2182" y="1152"/>
                  </a:lnTo>
                  <a:lnTo>
                    <a:pt x="2180" y="1150"/>
                  </a:lnTo>
                  <a:lnTo>
                    <a:pt x="2182" y="1142"/>
                  </a:lnTo>
                  <a:lnTo>
                    <a:pt x="2184" y="1138"/>
                  </a:lnTo>
                  <a:lnTo>
                    <a:pt x="2184" y="1136"/>
                  </a:lnTo>
                  <a:lnTo>
                    <a:pt x="2182" y="1136"/>
                  </a:lnTo>
                  <a:lnTo>
                    <a:pt x="2176" y="1138"/>
                  </a:lnTo>
                  <a:lnTo>
                    <a:pt x="2176" y="1138"/>
                  </a:lnTo>
                  <a:lnTo>
                    <a:pt x="2142" y="1160"/>
                  </a:lnTo>
                  <a:lnTo>
                    <a:pt x="2134" y="1164"/>
                  </a:lnTo>
                  <a:lnTo>
                    <a:pt x="2126" y="1166"/>
                  </a:lnTo>
                  <a:lnTo>
                    <a:pt x="2120" y="1166"/>
                  </a:lnTo>
                  <a:lnTo>
                    <a:pt x="2114" y="1164"/>
                  </a:lnTo>
                  <a:lnTo>
                    <a:pt x="2114" y="1164"/>
                  </a:lnTo>
                  <a:lnTo>
                    <a:pt x="2110" y="1160"/>
                  </a:lnTo>
                  <a:lnTo>
                    <a:pt x="2104" y="1160"/>
                  </a:lnTo>
                  <a:lnTo>
                    <a:pt x="2096" y="1160"/>
                  </a:lnTo>
                  <a:lnTo>
                    <a:pt x="2086" y="1162"/>
                  </a:lnTo>
                  <a:lnTo>
                    <a:pt x="2082" y="1160"/>
                  </a:lnTo>
                  <a:lnTo>
                    <a:pt x="2078" y="1158"/>
                  </a:lnTo>
                  <a:lnTo>
                    <a:pt x="2078" y="1158"/>
                  </a:lnTo>
                  <a:lnTo>
                    <a:pt x="2078" y="1156"/>
                  </a:lnTo>
                  <a:lnTo>
                    <a:pt x="2078" y="1154"/>
                  </a:lnTo>
                  <a:lnTo>
                    <a:pt x="2080" y="1148"/>
                  </a:lnTo>
                  <a:lnTo>
                    <a:pt x="2086" y="1142"/>
                  </a:lnTo>
                  <a:lnTo>
                    <a:pt x="2094" y="1136"/>
                  </a:lnTo>
                  <a:lnTo>
                    <a:pt x="2114" y="1126"/>
                  </a:lnTo>
                  <a:lnTo>
                    <a:pt x="2124" y="1124"/>
                  </a:lnTo>
                  <a:lnTo>
                    <a:pt x="2134" y="1122"/>
                  </a:lnTo>
                  <a:lnTo>
                    <a:pt x="2134" y="1122"/>
                  </a:lnTo>
                  <a:close/>
                  <a:moveTo>
                    <a:pt x="1378" y="394"/>
                  </a:moveTo>
                  <a:lnTo>
                    <a:pt x="1378" y="394"/>
                  </a:lnTo>
                  <a:lnTo>
                    <a:pt x="1368" y="406"/>
                  </a:lnTo>
                  <a:lnTo>
                    <a:pt x="1360" y="414"/>
                  </a:lnTo>
                  <a:lnTo>
                    <a:pt x="1352" y="416"/>
                  </a:lnTo>
                  <a:lnTo>
                    <a:pt x="1342" y="414"/>
                  </a:lnTo>
                  <a:lnTo>
                    <a:pt x="1342" y="414"/>
                  </a:lnTo>
                  <a:lnTo>
                    <a:pt x="1330" y="414"/>
                  </a:lnTo>
                  <a:lnTo>
                    <a:pt x="1322" y="416"/>
                  </a:lnTo>
                  <a:lnTo>
                    <a:pt x="1320" y="418"/>
                  </a:lnTo>
                  <a:lnTo>
                    <a:pt x="1320" y="422"/>
                  </a:lnTo>
                  <a:lnTo>
                    <a:pt x="1320" y="424"/>
                  </a:lnTo>
                  <a:lnTo>
                    <a:pt x="1322" y="426"/>
                  </a:lnTo>
                  <a:lnTo>
                    <a:pt x="1322" y="426"/>
                  </a:lnTo>
                  <a:lnTo>
                    <a:pt x="1328" y="430"/>
                  </a:lnTo>
                  <a:lnTo>
                    <a:pt x="1328" y="434"/>
                  </a:lnTo>
                  <a:lnTo>
                    <a:pt x="1324" y="438"/>
                  </a:lnTo>
                  <a:lnTo>
                    <a:pt x="1314" y="440"/>
                  </a:lnTo>
                  <a:lnTo>
                    <a:pt x="1314" y="440"/>
                  </a:lnTo>
                  <a:lnTo>
                    <a:pt x="1304" y="444"/>
                  </a:lnTo>
                  <a:lnTo>
                    <a:pt x="1294" y="450"/>
                  </a:lnTo>
                  <a:lnTo>
                    <a:pt x="1286" y="454"/>
                  </a:lnTo>
                  <a:lnTo>
                    <a:pt x="1280" y="456"/>
                  </a:lnTo>
                  <a:lnTo>
                    <a:pt x="1280" y="456"/>
                  </a:lnTo>
                  <a:lnTo>
                    <a:pt x="1280" y="454"/>
                  </a:lnTo>
                  <a:lnTo>
                    <a:pt x="1282" y="450"/>
                  </a:lnTo>
                  <a:lnTo>
                    <a:pt x="1290" y="440"/>
                  </a:lnTo>
                  <a:lnTo>
                    <a:pt x="1300" y="430"/>
                  </a:lnTo>
                  <a:lnTo>
                    <a:pt x="1302" y="426"/>
                  </a:lnTo>
                  <a:lnTo>
                    <a:pt x="1300" y="422"/>
                  </a:lnTo>
                  <a:lnTo>
                    <a:pt x="1300" y="422"/>
                  </a:lnTo>
                  <a:lnTo>
                    <a:pt x="1296" y="420"/>
                  </a:lnTo>
                  <a:lnTo>
                    <a:pt x="1290" y="420"/>
                  </a:lnTo>
                  <a:lnTo>
                    <a:pt x="1280" y="426"/>
                  </a:lnTo>
                  <a:lnTo>
                    <a:pt x="1272" y="434"/>
                  </a:lnTo>
                  <a:lnTo>
                    <a:pt x="1268" y="438"/>
                  </a:lnTo>
                  <a:lnTo>
                    <a:pt x="1268" y="442"/>
                  </a:lnTo>
                  <a:lnTo>
                    <a:pt x="1268" y="442"/>
                  </a:lnTo>
                  <a:lnTo>
                    <a:pt x="1266" y="444"/>
                  </a:lnTo>
                  <a:lnTo>
                    <a:pt x="1264" y="446"/>
                  </a:lnTo>
                  <a:lnTo>
                    <a:pt x="1258" y="448"/>
                  </a:lnTo>
                  <a:lnTo>
                    <a:pt x="1250" y="450"/>
                  </a:lnTo>
                  <a:lnTo>
                    <a:pt x="1244" y="450"/>
                  </a:lnTo>
                  <a:lnTo>
                    <a:pt x="1244" y="450"/>
                  </a:lnTo>
                  <a:lnTo>
                    <a:pt x="1236" y="448"/>
                  </a:lnTo>
                  <a:lnTo>
                    <a:pt x="1230" y="444"/>
                  </a:lnTo>
                  <a:lnTo>
                    <a:pt x="1228" y="442"/>
                  </a:lnTo>
                  <a:lnTo>
                    <a:pt x="1228" y="440"/>
                  </a:lnTo>
                  <a:lnTo>
                    <a:pt x="1232" y="440"/>
                  </a:lnTo>
                  <a:lnTo>
                    <a:pt x="1232" y="440"/>
                  </a:lnTo>
                  <a:lnTo>
                    <a:pt x="1236" y="438"/>
                  </a:lnTo>
                  <a:lnTo>
                    <a:pt x="1238" y="434"/>
                  </a:lnTo>
                  <a:lnTo>
                    <a:pt x="1240" y="428"/>
                  </a:lnTo>
                  <a:lnTo>
                    <a:pt x="1246" y="424"/>
                  </a:lnTo>
                  <a:lnTo>
                    <a:pt x="1246" y="424"/>
                  </a:lnTo>
                  <a:lnTo>
                    <a:pt x="1250" y="422"/>
                  </a:lnTo>
                  <a:lnTo>
                    <a:pt x="1252" y="420"/>
                  </a:lnTo>
                  <a:lnTo>
                    <a:pt x="1250" y="416"/>
                  </a:lnTo>
                  <a:lnTo>
                    <a:pt x="1248" y="410"/>
                  </a:lnTo>
                  <a:lnTo>
                    <a:pt x="1248" y="408"/>
                  </a:lnTo>
                  <a:lnTo>
                    <a:pt x="1248" y="406"/>
                  </a:lnTo>
                  <a:lnTo>
                    <a:pt x="1248" y="406"/>
                  </a:lnTo>
                  <a:lnTo>
                    <a:pt x="1250" y="406"/>
                  </a:lnTo>
                  <a:lnTo>
                    <a:pt x="1254" y="404"/>
                  </a:lnTo>
                  <a:lnTo>
                    <a:pt x="1264" y="406"/>
                  </a:lnTo>
                  <a:lnTo>
                    <a:pt x="1274" y="406"/>
                  </a:lnTo>
                  <a:lnTo>
                    <a:pt x="1276" y="404"/>
                  </a:lnTo>
                  <a:lnTo>
                    <a:pt x="1278" y="402"/>
                  </a:lnTo>
                  <a:lnTo>
                    <a:pt x="1278" y="402"/>
                  </a:lnTo>
                  <a:lnTo>
                    <a:pt x="1276" y="398"/>
                  </a:lnTo>
                  <a:lnTo>
                    <a:pt x="1274" y="396"/>
                  </a:lnTo>
                  <a:lnTo>
                    <a:pt x="1264" y="390"/>
                  </a:lnTo>
                  <a:lnTo>
                    <a:pt x="1252" y="388"/>
                  </a:lnTo>
                  <a:lnTo>
                    <a:pt x="1248" y="388"/>
                  </a:lnTo>
                  <a:lnTo>
                    <a:pt x="1244" y="390"/>
                  </a:lnTo>
                  <a:lnTo>
                    <a:pt x="1244" y="390"/>
                  </a:lnTo>
                  <a:lnTo>
                    <a:pt x="1234" y="396"/>
                  </a:lnTo>
                  <a:lnTo>
                    <a:pt x="1222" y="400"/>
                  </a:lnTo>
                  <a:lnTo>
                    <a:pt x="1216" y="402"/>
                  </a:lnTo>
                  <a:lnTo>
                    <a:pt x="1208" y="402"/>
                  </a:lnTo>
                  <a:lnTo>
                    <a:pt x="1200" y="402"/>
                  </a:lnTo>
                  <a:lnTo>
                    <a:pt x="1190" y="398"/>
                  </a:lnTo>
                  <a:lnTo>
                    <a:pt x="1190" y="398"/>
                  </a:lnTo>
                  <a:lnTo>
                    <a:pt x="1190" y="398"/>
                  </a:lnTo>
                  <a:lnTo>
                    <a:pt x="1192" y="398"/>
                  </a:lnTo>
                  <a:lnTo>
                    <a:pt x="1198" y="396"/>
                  </a:lnTo>
                  <a:lnTo>
                    <a:pt x="1220" y="390"/>
                  </a:lnTo>
                  <a:lnTo>
                    <a:pt x="1246" y="384"/>
                  </a:lnTo>
                  <a:lnTo>
                    <a:pt x="1256" y="382"/>
                  </a:lnTo>
                  <a:lnTo>
                    <a:pt x="1262" y="378"/>
                  </a:lnTo>
                  <a:lnTo>
                    <a:pt x="1262" y="378"/>
                  </a:lnTo>
                  <a:lnTo>
                    <a:pt x="1268" y="374"/>
                  </a:lnTo>
                  <a:lnTo>
                    <a:pt x="1278" y="370"/>
                  </a:lnTo>
                  <a:lnTo>
                    <a:pt x="1300" y="364"/>
                  </a:lnTo>
                  <a:lnTo>
                    <a:pt x="1320" y="362"/>
                  </a:lnTo>
                  <a:lnTo>
                    <a:pt x="1326" y="362"/>
                  </a:lnTo>
                  <a:lnTo>
                    <a:pt x="1330" y="364"/>
                  </a:lnTo>
                  <a:lnTo>
                    <a:pt x="1330" y="364"/>
                  </a:lnTo>
                  <a:lnTo>
                    <a:pt x="1330" y="368"/>
                  </a:lnTo>
                  <a:lnTo>
                    <a:pt x="1328" y="372"/>
                  </a:lnTo>
                  <a:lnTo>
                    <a:pt x="1320" y="378"/>
                  </a:lnTo>
                  <a:lnTo>
                    <a:pt x="1316" y="380"/>
                  </a:lnTo>
                  <a:lnTo>
                    <a:pt x="1314" y="384"/>
                  </a:lnTo>
                  <a:lnTo>
                    <a:pt x="1314" y="386"/>
                  </a:lnTo>
                  <a:lnTo>
                    <a:pt x="1318" y="390"/>
                  </a:lnTo>
                  <a:lnTo>
                    <a:pt x="1318" y="390"/>
                  </a:lnTo>
                  <a:lnTo>
                    <a:pt x="1324" y="392"/>
                  </a:lnTo>
                  <a:lnTo>
                    <a:pt x="1330" y="394"/>
                  </a:lnTo>
                  <a:lnTo>
                    <a:pt x="1344" y="392"/>
                  </a:lnTo>
                  <a:lnTo>
                    <a:pt x="1356" y="388"/>
                  </a:lnTo>
                  <a:lnTo>
                    <a:pt x="1360" y="386"/>
                  </a:lnTo>
                  <a:lnTo>
                    <a:pt x="1364" y="382"/>
                  </a:lnTo>
                  <a:lnTo>
                    <a:pt x="1364" y="382"/>
                  </a:lnTo>
                  <a:lnTo>
                    <a:pt x="1366" y="380"/>
                  </a:lnTo>
                  <a:lnTo>
                    <a:pt x="1370" y="378"/>
                  </a:lnTo>
                  <a:lnTo>
                    <a:pt x="1376" y="378"/>
                  </a:lnTo>
                  <a:lnTo>
                    <a:pt x="1380" y="378"/>
                  </a:lnTo>
                  <a:lnTo>
                    <a:pt x="1382" y="380"/>
                  </a:lnTo>
                  <a:lnTo>
                    <a:pt x="1384" y="384"/>
                  </a:lnTo>
                  <a:lnTo>
                    <a:pt x="1382" y="388"/>
                  </a:lnTo>
                  <a:lnTo>
                    <a:pt x="1378" y="394"/>
                  </a:lnTo>
                  <a:lnTo>
                    <a:pt x="1378" y="394"/>
                  </a:lnTo>
                  <a:close/>
                  <a:moveTo>
                    <a:pt x="1532" y="590"/>
                  </a:moveTo>
                  <a:lnTo>
                    <a:pt x="1532" y="590"/>
                  </a:lnTo>
                  <a:lnTo>
                    <a:pt x="1520" y="598"/>
                  </a:lnTo>
                  <a:lnTo>
                    <a:pt x="1514" y="602"/>
                  </a:lnTo>
                  <a:lnTo>
                    <a:pt x="1498" y="604"/>
                  </a:lnTo>
                  <a:lnTo>
                    <a:pt x="1498" y="604"/>
                  </a:lnTo>
                  <a:lnTo>
                    <a:pt x="1492" y="606"/>
                  </a:lnTo>
                  <a:lnTo>
                    <a:pt x="1490" y="608"/>
                  </a:lnTo>
                  <a:lnTo>
                    <a:pt x="1488" y="614"/>
                  </a:lnTo>
                  <a:lnTo>
                    <a:pt x="1486" y="618"/>
                  </a:lnTo>
                  <a:lnTo>
                    <a:pt x="1484" y="622"/>
                  </a:lnTo>
                  <a:lnTo>
                    <a:pt x="1480" y="624"/>
                  </a:lnTo>
                  <a:lnTo>
                    <a:pt x="1474" y="624"/>
                  </a:lnTo>
                  <a:lnTo>
                    <a:pt x="1474" y="624"/>
                  </a:lnTo>
                  <a:lnTo>
                    <a:pt x="1456" y="626"/>
                  </a:lnTo>
                  <a:lnTo>
                    <a:pt x="1432" y="626"/>
                  </a:lnTo>
                  <a:lnTo>
                    <a:pt x="1412" y="624"/>
                  </a:lnTo>
                  <a:lnTo>
                    <a:pt x="1404" y="620"/>
                  </a:lnTo>
                  <a:lnTo>
                    <a:pt x="1400" y="616"/>
                  </a:lnTo>
                  <a:lnTo>
                    <a:pt x="1400" y="616"/>
                  </a:lnTo>
                  <a:lnTo>
                    <a:pt x="1402" y="616"/>
                  </a:lnTo>
                  <a:lnTo>
                    <a:pt x="1404" y="616"/>
                  </a:lnTo>
                  <a:lnTo>
                    <a:pt x="1414" y="614"/>
                  </a:lnTo>
                  <a:lnTo>
                    <a:pt x="1424" y="612"/>
                  </a:lnTo>
                  <a:lnTo>
                    <a:pt x="1426" y="610"/>
                  </a:lnTo>
                  <a:lnTo>
                    <a:pt x="1428" y="608"/>
                  </a:lnTo>
                  <a:lnTo>
                    <a:pt x="1428" y="608"/>
                  </a:lnTo>
                  <a:lnTo>
                    <a:pt x="1432" y="602"/>
                  </a:lnTo>
                  <a:lnTo>
                    <a:pt x="1436" y="594"/>
                  </a:lnTo>
                  <a:lnTo>
                    <a:pt x="1442" y="588"/>
                  </a:lnTo>
                  <a:lnTo>
                    <a:pt x="1450" y="586"/>
                  </a:lnTo>
                  <a:lnTo>
                    <a:pt x="1450" y="586"/>
                  </a:lnTo>
                  <a:lnTo>
                    <a:pt x="1454" y="586"/>
                  </a:lnTo>
                  <a:lnTo>
                    <a:pt x="1456" y="584"/>
                  </a:lnTo>
                  <a:lnTo>
                    <a:pt x="1458" y="582"/>
                  </a:lnTo>
                  <a:lnTo>
                    <a:pt x="1458" y="578"/>
                  </a:lnTo>
                  <a:lnTo>
                    <a:pt x="1456" y="574"/>
                  </a:lnTo>
                  <a:lnTo>
                    <a:pt x="1452" y="570"/>
                  </a:lnTo>
                  <a:lnTo>
                    <a:pt x="1448" y="566"/>
                  </a:lnTo>
                  <a:lnTo>
                    <a:pt x="1442" y="562"/>
                  </a:lnTo>
                  <a:lnTo>
                    <a:pt x="1442" y="562"/>
                  </a:lnTo>
                  <a:lnTo>
                    <a:pt x="1438" y="558"/>
                  </a:lnTo>
                  <a:lnTo>
                    <a:pt x="1438" y="554"/>
                  </a:lnTo>
                  <a:lnTo>
                    <a:pt x="1442" y="552"/>
                  </a:lnTo>
                  <a:lnTo>
                    <a:pt x="1450" y="552"/>
                  </a:lnTo>
                  <a:lnTo>
                    <a:pt x="1458" y="552"/>
                  </a:lnTo>
                  <a:lnTo>
                    <a:pt x="1468" y="552"/>
                  </a:lnTo>
                  <a:lnTo>
                    <a:pt x="1476" y="556"/>
                  </a:lnTo>
                  <a:lnTo>
                    <a:pt x="1480" y="560"/>
                  </a:lnTo>
                  <a:lnTo>
                    <a:pt x="1480" y="560"/>
                  </a:lnTo>
                  <a:lnTo>
                    <a:pt x="1490" y="572"/>
                  </a:lnTo>
                  <a:lnTo>
                    <a:pt x="1502" y="578"/>
                  </a:lnTo>
                  <a:lnTo>
                    <a:pt x="1508" y="580"/>
                  </a:lnTo>
                  <a:lnTo>
                    <a:pt x="1514" y="580"/>
                  </a:lnTo>
                  <a:lnTo>
                    <a:pt x="1518" y="580"/>
                  </a:lnTo>
                  <a:lnTo>
                    <a:pt x="1522" y="576"/>
                  </a:lnTo>
                  <a:lnTo>
                    <a:pt x="1522" y="576"/>
                  </a:lnTo>
                  <a:lnTo>
                    <a:pt x="1538" y="566"/>
                  </a:lnTo>
                  <a:lnTo>
                    <a:pt x="1564" y="552"/>
                  </a:lnTo>
                  <a:lnTo>
                    <a:pt x="1576" y="548"/>
                  </a:lnTo>
                  <a:lnTo>
                    <a:pt x="1586" y="546"/>
                  </a:lnTo>
                  <a:lnTo>
                    <a:pt x="1594" y="546"/>
                  </a:lnTo>
                  <a:lnTo>
                    <a:pt x="1596" y="546"/>
                  </a:lnTo>
                  <a:lnTo>
                    <a:pt x="1596" y="548"/>
                  </a:lnTo>
                  <a:lnTo>
                    <a:pt x="1596" y="548"/>
                  </a:lnTo>
                  <a:lnTo>
                    <a:pt x="1594" y="554"/>
                  </a:lnTo>
                  <a:lnTo>
                    <a:pt x="1590" y="558"/>
                  </a:lnTo>
                  <a:lnTo>
                    <a:pt x="1572" y="568"/>
                  </a:lnTo>
                  <a:lnTo>
                    <a:pt x="1550" y="578"/>
                  </a:lnTo>
                  <a:lnTo>
                    <a:pt x="1540" y="584"/>
                  </a:lnTo>
                  <a:lnTo>
                    <a:pt x="1532" y="590"/>
                  </a:lnTo>
                  <a:lnTo>
                    <a:pt x="1532" y="590"/>
                  </a:lnTo>
                  <a:close/>
                  <a:moveTo>
                    <a:pt x="1888" y="920"/>
                  </a:moveTo>
                  <a:lnTo>
                    <a:pt x="1888" y="920"/>
                  </a:lnTo>
                  <a:lnTo>
                    <a:pt x="1888" y="914"/>
                  </a:lnTo>
                  <a:lnTo>
                    <a:pt x="1892" y="910"/>
                  </a:lnTo>
                  <a:lnTo>
                    <a:pt x="1896" y="906"/>
                  </a:lnTo>
                  <a:lnTo>
                    <a:pt x="1902" y="904"/>
                  </a:lnTo>
                  <a:lnTo>
                    <a:pt x="1906" y="902"/>
                  </a:lnTo>
                  <a:lnTo>
                    <a:pt x="1912" y="904"/>
                  </a:lnTo>
                  <a:lnTo>
                    <a:pt x="1918" y="906"/>
                  </a:lnTo>
                  <a:lnTo>
                    <a:pt x="1922" y="908"/>
                  </a:lnTo>
                  <a:lnTo>
                    <a:pt x="1922" y="908"/>
                  </a:lnTo>
                  <a:lnTo>
                    <a:pt x="1930" y="924"/>
                  </a:lnTo>
                  <a:lnTo>
                    <a:pt x="1938" y="946"/>
                  </a:lnTo>
                  <a:lnTo>
                    <a:pt x="1948" y="970"/>
                  </a:lnTo>
                  <a:lnTo>
                    <a:pt x="1954" y="986"/>
                  </a:lnTo>
                  <a:lnTo>
                    <a:pt x="1954" y="986"/>
                  </a:lnTo>
                  <a:lnTo>
                    <a:pt x="1960" y="1000"/>
                  </a:lnTo>
                  <a:lnTo>
                    <a:pt x="1960" y="1012"/>
                  </a:lnTo>
                  <a:lnTo>
                    <a:pt x="1958" y="1024"/>
                  </a:lnTo>
                  <a:lnTo>
                    <a:pt x="1956" y="1026"/>
                  </a:lnTo>
                  <a:lnTo>
                    <a:pt x="1952" y="1028"/>
                  </a:lnTo>
                  <a:lnTo>
                    <a:pt x="1952" y="1028"/>
                  </a:lnTo>
                  <a:lnTo>
                    <a:pt x="1948" y="1028"/>
                  </a:lnTo>
                  <a:lnTo>
                    <a:pt x="1946" y="1024"/>
                  </a:lnTo>
                  <a:lnTo>
                    <a:pt x="1944" y="1010"/>
                  </a:lnTo>
                  <a:lnTo>
                    <a:pt x="1944" y="1002"/>
                  </a:lnTo>
                  <a:lnTo>
                    <a:pt x="1940" y="994"/>
                  </a:lnTo>
                  <a:lnTo>
                    <a:pt x="1936" y="986"/>
                  </a:lnTo>
                  <a:lnTo>
                    <a:pt x="1930" y="980"/>
                  </a:lnTo>
                  <a:lnTo>
                    <a:pt x="1930" y="980"/>
                  </a:lnTo>
                  <a:lnTo>
                    <a:pt x="1920" y="974"/>
                  </a:lnTo>
                  <a:lnTo>
                    <a:pt x="1910" y="966"/>
                  </a:lnTo>
                  <a:lnTo>
                    <a:pt x="1904" y="958"/>
                  </a:lnTo>
                  <a:lnTo>
                    <a:pt x="1898" y="950"/>
                  </a:lnTo>
                  <a:lnTo>
                    <a:pt x="1890" y="934"/>
                  </a:lnTo>
                  <a:lnTo>
                    <a:pt x="1888" y="920"/>
                  </a:lnTo>
                  <a:lnTo>
                    <a:pt x="1888" y="92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0" name="Freeform 97"/>
            <p:cNvSpPr>
              <a:spLocks/>
            </p:cNvSpPr>
            <p:nvPr/>
          </p:nvSpPr>
          <p:spPr bwMode="auto">
            <a:xfrm>
              <a:off x="4508500" y="3730625"/>
              <a:ext cx="120650" cy="50800"/>
            </a:xfrm>
            <a:custGeom>
              <a:avLst/>
              <a:gdLst>
                <a:gd name="T0" fmla="*/ 0 w 76"/>
                <a:gd name="T1" fmla="*/ 2 h 32"/>
                <a:gd name="T2" fmla="*/ 0 w 76"/>
                <a:gd name="T3" fmla="*/ 2 h 32"/>
                <a:gd name="T4" fmla="*/ 4 w 76"/>
                <a:gd name="T5" fmla="*/ 8 h 32"/>
                <a:gd name="T6" fmla="*/ 12 w 76"/>
                <a:gd name="T7" fmla="*/ 12 h 32"/>
                <a:gd name="T8" fmla="*/ 38 w 76"/>
                <a:gd name="T9" fmla="*/ 24 h 32"/>
                <a:gd name="T10" fmla="*/ 50 w 76"/>
                <a:gd name="T11" fmla="*/ 28 h 32"/>
                <a:gd name="T12" fmla="*/ 62 w 76"/>
                <a:gd name="T13" fmla="*/ 32 h 32"/>
                <a:gd name="T14" fmla="*/ 72 w 76"/>
                <a:gd name="T15" fmla="*/ 32 h 32"/>
                <a:gd name="T16" fmla="*/ 74 w 76"/>
                <a:gd name="T17" fmla="*/ 30 h 32"/>
                <a:gd name="T18" fmla="*/ 76 w 76"/>
                <a:gd name="T19" fmla="*/ 28 h 32"/>
                <a:gd name="T20" fmla="*/ 76 w 76"/>
                <a:gd name="T21" fmla="*/ 28 h 32"/>
                <a:gd name="T22" fmla="*/ 74 w 76"/>
                <a:gd name="T23" fmla="*/ 26 h 32"/>
                <a:gd name="T24" fmla="*/ 72 w 76"/>
                <a:gd name="T25" fmla="*/ 22 h 32"/>
                <a:gd name="T26" fmla="*/ 64 w 76"/>
                <a:gd name="T27" fmla="*/ 18 h 32"/>
                <a:gd name="T28" fmla="*/ 52 w 76"/>
                <a:gd name="T29" fmla="*/ 12 h 32"/>
                <a:gd name="T30" fmla="*/ 38 w 76"/>
                <a:gd name="T31" fmla="*/ 8 h 32"/>
                <a:gd name="T32" fmla="*/ 12 w 76"/>
                <a:gd name="T33" fmla="*/ 2 h 32"/>
                <a:gd name="T34" fmla="*/ 2 w 76"/>
                <a:gd name="T35" fmla="*/ 0 h 32"/>
                <a:gd name="T36" fmla="*/ 0 w 76"/>
                <a:gd name="T37" fmla="*/ 2 h 32"/>
                <a:gd name="T38" fmla="*/ 0 w 76"/>
                <a:gd name="T39" fmla="*/ 2 h 32"/>
                <a:gd name="T40" fmla="*/ 0 w 76"/>
                <a:gd name="T41"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32">
                  <a:moveTo>
                    <a:pt x="0" y="2"/>
                  </a:moveTo>
                  <a:lnTo>
                    <a:pt x="0" y="2"/>
                  </a:lnTo>
                  <a:lnTo>
                    <a:pt x="4" y="8"/>
                  </a:lnTo>
                  <a:lnTo>
                    <a:pt x="12" y="12"/>
                  </a:lnTo>
                  <a:lnTo>
                    <a:pt x="38" y="24"/>
                  </a:lnTo>
                  <a:lnTo>
                    <a:pt x="50" y="28"/>
                  </a:lnTo>
                  <a:lnTo>
                    <a:pt x="62" y="32"/>
                  </a:lnTo>
                  <a:lnTo>
                    <a:pt x="72" y="32"/>
                  </a:lnTo>
                  <a:lnTo>
                    <a:pt x="74" y="30"/>
                  </a:lnTo>
                  <a:lnTo>
                    <a:pt x="76" y="28"/>
                  </a:lnTo>
                  <a:lnTo>
                    <a:pt x="76" y="28"/>
                  </a:lnTo>
                  <a:lnTo>
                    <a:pt x="74" y="26"/>
                  </a:lnTo>
                  <a:lnTo>
                    <a:pt x="72" y="22"/>
                  </a:lnTo>
                  <a:lnTo>
                    <a:pt x="64" y="18"/>
                  </a:lnTo>
                  <a:lnTo>
                    <a:pt x="52" y="12"/>
                  </a:lnTo>
                  <a:lnTo>
                    <a:pt x="38" y="8"/>
                  </a:lnTo>
                  <a:lnTo>
                    <a:pt x="12" y="2"/>
                  </a:lnTo>
                  <a:lnTo>
                    <a:pt x="2" y="0"/>
                  </a:lnTo>
                  <a:lnTo>
                    <a:pt x="0" y="2"/>
                  </a:lnTo>
                  <a:lnTo>
                    <a:pt x="0" y="2"/>
                  </a:lnTo>
                  <a:lnTo>
                    <a:pt x="0" y="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1" name="Freeform 98"/>
            <p:cNvSpPr>
              <a:spLocks/>
            </p:cNvSpPr>
            <p:nvPr/>
          </p:nvSpPr>
          <p:spPr bwMode="auto">
            <a:xfrm>
              <a:off x="3629025" y="5083175"/>
              <a:ext cx="444500" cy="142875"/>
            </a:xfrm>
            <a:custGeom>
              <a:avLst/>
              <a:gdLst>
                <a:gd name="T0" fmla="*/ 280 w 280"/>
                <a:gd name="T1" fmla="*/ 86 h 90"/>
                <a:gd name="T2" fmla="*/ 276 w 280"/>
                <a:gd name="T3" fmla="*/ 78 h 90"/>
                <a:gd name="T4" fmla="*/ 246 w 280"/>
                <a:gd name="T5" fmla="*/ 58 h 90"/>
                <a:gd name="T6" fmla="*/ 228 w 280"/>
                <a:gd name="T7" fmla="*/ 54 h 90"/>
                <a:gd name="T8" fmla="*/ 220 w 280"/>
                <a:gd name="T9" fmla="*/ 54 h 90"/>
                <a:gd name="T10" fmla="*/ 176 w 280"/>
                <a:gd name="T11" fmla="*/ 32 h 90"/>
                <a:gd name="T12" fmla="*/ 118 w 280"/>
                <a:gd name="T13" fmla="*/ 8 h 90"/>
                <a:gd name="T14" fmla="*/ 98 w 280"/>
                <a:gd name="T15" fmla="*/ 2 h 90"/>
                <a:gd name="T16" fmla="*/ 58 w 280"/>
                <a:gd name="T17" fmla="*/ 0 h 90"/>
                <a:gd name="T18" fmla="*/ 26 w 280"/>
                <a:gd name="T19" fmla="*/ 12 h 90"/>
                <a:gd name="T20" fmla="*/ 6 w 280"/>
                <a:gd name="T21" fmla="*/ 26 h 90"/>
                <a:gd name="T22" fmla="*/ 0 w 280"/>
                <a:gd name="T23" fmla="*/ 36 h 90"/>
                <a:gd name="T24" fmla="*/ 4 w 280"/>
                <a:gd name="T25" fmla="*/ 38 h 90"/>
                <a:gd name="T26" fmla="*/ 22 w 280"/>
                <a:gd name="T27" fmla="*/ 32 h 90"/>
                <a:gd name="T28" fmla="*/ 48 w 280"/>
                <a:gd name="T29" fmla="*/ 14 h 90"/>
                <a:gd name="T30" fmla="*/ 52 w 280"/>
                <a:gd name="T31" fmla="*/ 12 h 90"/>
                <a:gd name="T32" fmla="*/ 62 w 280"/>
                <a:gd name="T33" fmla="*/ 12 h 90"/>
                <a:gd name="T34" fmla="*/ 72 w 280"/>
                <a:gd name="T35" fmla="*/ 18 h 90"/>
                <a:gd name="T36" fmla="*/ 74 w 280"/>
                <a:gd name="T37" fmla="*/ 24 h 90"/>
                <a:gd name="T38" fmla="*/ 78 w 280"/>
                <a:gd name="T39" fmla="*/ 28 h 90"/>
                <a:gd name="T40" fmla="*/ 102 w 280"/>
                <a:gd name="T41" fmla="*/ 34 h 90"/>
                <a:gd name="T42" fmla="*/ 120 w 280"/>
                <a:gd name="T43" fmla="*/ 36 h 90"/>
                <a:gd name="T44" fmla="*/ 138 w 280"/>
                <a:gd name="T45" fmla="*/ 40 h 90"/>
                <a:gd name="T46" fmla="*/ 162 w 280"/>
                <a:gd name="T47" fmla="*/ 58 h 90"/>
                <a:gd name="T48" fmla="*/ 178 w 280"/>
                <a:gd name="T49" fmla="*/ 66 h 90"/>
                <a:gd name="T50" fmla="*/ 186 w 280"/>
                <a:gd name="T51" fmla="*/ 68 h 90"/>
                <a:gd name="T52" fmla="*/ 190 w 280"/>
                <a:gd name="T53" fmla="*/ 74 h 90"/>
                <a:gd name="T54" fmla="*/ 188 w 280"/>
                <a:gd name="T55" fmla="*/ 82 h 90"/>
                <a:gd name="T56" fmla="*/ 192 w 280"/>
                <a:gd name="T57" fmla="*/ 88 h 90"/>
                <a:gd name="T58" fmla="*/ 210 w 280"/>
                <a:gd name="T59" fmla="*/ 90 h 90"/>
                <a:gd name="T60" fmla="*/ 266 w 280"/>
                <a:gd name="T61" fmla="*/ 88 h 90"/>
                <a:gd name="T62" fmla="*/ 280 w 280"/>
                <a:gd name="T63" fmla="*/ 8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90">
                  <a:moveTo>
                    <a:pt x="280" y="86"/>
                  </a:moveTo>
                  <a:lnTo>
                    <a:pt x="280" y="86"/>
                  </a:lnTo>
                  <a:lnTo>
                    <a:pt x="280" y="82"/>
                  </a:lnTo>
                  <a:lnTo>
                    <a:pt x="276" y="78"/>
                  </a:lnTo>
                  <a:lnTo>
                    <a:pt x="262" y="68"/>
                  </a:lnTo>
                  <a:lnTo>
                    <a:pt x="246" y="58"/>
                  </a:lnTo>
                  <a:lnTo>
                    <a:pt x="236" y="56"/>
                  </a:lnTo>
                  <a:lnTo>
                    <a:pt x="228" y="54"/>
                  </a:lnTo>
                  <a:lnTo>
                    <a:pt x="228" y="54"/>
                  </a:lnTo>
                  <a:lnTo>
                    <a:pt x="220" y="54"/>
                  </a:lnTo>
                  <a:lnTo>
                    <a:pt x="208" y="48"/>
                  </a:lnTo>
                  <a:lnTo>
                    <a:pt x="176" y="32"/>
                  </a:lnTo>
                  <a:lnTo>
                    <a:pt x="138" y="16"/>
                  </a:lnTo>
                  <a:lnTo>
                    <a:pt x="118" y="8"/>
                  </a:lnTo>
                  <a:lnTo>
                    <a:pt x="98" y="2"/>
                  </a:lnTo>
                  <a:lnTo>
                    <a:pt x="98" y="2"/>
                  </a:lnTo>
                  <a:lnTo>
                    <a:pt x="78" y="0"/>
                  </a:lnTo>
                  <a:lnTo>
                    <a:pt x="58" y="0"/>
                  </a:lnTo>
                  <a:lnTo>
                    <a:pt x="42" y="6"/>
                  </a:lnTo>
                  <a:lnTo>
                    <a:pt x="26" y="12"/>
                  </a:lnTo>
                  <a:lnTo>
                    <a:pt x="14" y="18"/>
                  </a:lnTo>
                  <a:lnTo>
                    <a:pt x="6" y="26"/>
                  </a:lnTo>
                  <a:lnTo>
                    <a:pt x="0" y="32"/>
                  </a:lnTo>
                  <a:lnTo>
                    <a:pt x="0" y="36"/>
                  </a:lnTo>
                  <a:lnTo>
                    <a:pt x="0" y="36"/>
                  </a:lnTo>
                  <a:lnTo>
                    <a:pt x="4" y="38"/>
                  </a:lnTo>
                  <a:lnTo>
                    <a:pt x="8" y="38"/>
                  </a:lnTo>
                  <a:lnTo>
                    <a:pt x="22" y="32"/>
                  </a:lnTo>
                  <a:lnTo>
                    <a:pt x="36" y="22"/>
                  </a:lnTo>
                  <a:lnTo>
                    <a:pt x="48" y="14"/>
                  </a:lnTo>
                  <a:lnTo>
                    <a:pt x="48" y="14"/>
                  </a:lnTo>
                  <a:lnTo>
                    <a:pt x="52" y="12"/>
                  </a:lnTo>
                  <a:lnTo>
                    <a:pt x="58" y="10"/>
                  </a:lnTo>
                  <a:lnTo>
                    <a:pt x="62" y="12"/>
                  </a:lnTo>
                  <a:lnTo>
                    <a:pt x="66" y="14"/>
                  </a:lnTo>
                  <a:lnTo>
                    <a:pt x="72" y="18"/>
                  </a:lnTo>
                  <a:lnTo>
                    <a:pt x="74" y="24"/>
                  </a:lnTo>
                  <a:lnTo>
                    <a:pt x="74" y="24"/>
                  </a:lnTo>
                  <a:lnTo>
                    <a:pt x="76" y="26"/>
                  </a:lnTo>
                  <a:lnTo>
                    <a:pt x="78" y="28"/>
                  </a:lnTo>
                  <a:lnTo>
                    <a:pt x="88" y="32"/>
                  </a:lnTo>
                  <a:lnTo>
                    <a:pt x="102" y="34"/>
                  </a:lnTo>
                  <a:lnTo>
                    <a:pt x="120" y="36"/>
                  </a:lnTo>
                  <a:lnTo>
                    <a:pt x="120" y="36"/>
                  </a:lnTo>
                  <a:lnTo>
                    <a:pt x="130" y="36"/>
                  </a:lnTo>
                  <a:lnTo>
                    <a:pt x="138" y="40"/>
                  </a:lnTo>
                  <a:lnTo>
                    <a:pt x="150" y="48"/>
                  </a:lnTo>
                  <a:lnTo>
                    <a:pt x="162" y="58"/>
                  </a:lnTo>
                  <a:lnTo>
                    <a:pt x="170" y="62"/>
                  </a:lnTo>
                  <a:lnTo>
                    <a:pt x="178" y="66"/>
                  </a:lnTo>
                  <a:lnTo>
                    <a:pt x="178" y="66"/>
                  </a:lnTo>
                  <a:lnTo>
                    <a:pt x="186" y="68"/>
                  </a:lnTo>
                  <a:lnTo>
                    <a:pt x="190" y="70"/>
                  </a:lnTo>
                  <a:lnTo>
                    <a:pt x="190" y="74"/>
                  </a:lnTo>
                  <a:lnTo>
                    <a:pt x="190" y="78"/>
                  </a:lnTo>
                  <a:lnTo>
                    <a:pt x="188" y="82"/>
                  </a:lnTo>
                  <a:lnTo>
                    <a:pt x="188" y="86"/>
                  </a:lnTo>
                  <a:lnTo>
                    <a:pt x="192" y="88"/>
                  </a:lnTo>
                  <a:lnTo>
                    <a:pt x="192" y="88"/>
                  </a:lnTo>
                  <a:lnTo>
                    <a:pt x="210" y="90"/>
                  </a:lnTo>
                  <a:lnTo>
                    <a:pt x="238" y="90"/>
                  </a:lnTo>
                  <a:lnTo>
                    <a:pt x="266" y="88"/>
                  </a:lnTo>
                  <a:lnTo>
                    <a:pt x="276" y="88"/>
                  </a:lnTo>
                  <a:lnTo>
                    <a:pt x="280" y="86"/>
                  </a:lnTo>
                  <a:lnTo>
                    <a:pt x="280" y="8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2" name="Freeform 99"/>
            <p:cNvSpPr>
              <a:spLocks/>
            </p:cNvSpPr>
            <p:nvPr/>
          </p:nvSpPr>
          <p:spPr bwMode="auto">
            <a:xfrm>
              <a:off x="4064000" y="5219700"/>
              <a:ext cx="263525" cy="104775"/>
            </a:xfrm>
            <a:custGeom>
              <a:avLst/>
              <a:gdLst>
                <a:gd name="T0" fmla="*/ 36 w 166"/>
                <a:gd name="T1" fmla="*/ 58 h 66"/>
                <a:gd name="T2" fmla="*/ 36 w 166"/>
                <a:gd name="T3" fmla="*/ 58 h 66"/>
                <a:gd name="T4" fmla="*/ 48 w 166"/>
                <a:gd name="T5" fmla="*/ 56 h 66"/>
                <a:gd name="T6" fmla="*/ 60 w 166"/>
                <a:gd name="T7" fmla="*/ 58 h 66"/>
                <a:gd name="T8" fmla="*/ 68 w 166"/>
                <a:gd name="T9" fmla="*/ 60 h 66"/>
                <a:gd name="T10" fmla="*/ 76 w 166"/>
                <a:gd name="T11" fmla="*/ 64 h 66"/>
                <a:gd name="T12" fmla="*/ 76 w 166"/>
                <a:gd name="T13" fmla="*/ 64 h 66"/>
                <a:gd name="T14" fmla="*/ 82 w 166"/>
                <a:gd name="T15" fmla="*/ 66 h 66"/>
                <a:gd name="T16" fmla="*/ 88 w 166"/>
                <a:gd name="T17" fmla="*/ 62 h 66"/>
                <a:gd name="T18" fmla="*/ 96 w 166"/>
                <a:gd name="T19" fmla="*/ 58 h 66"/>
                <a:gd name="T20" fmla="*/ 110 w 166"/>
                <a:gd name="T21" fmla="*/ 52 h 66"/>
                <a:gd name="T22" fmla="*/ 110 w 166"/>
                <a:gd name="T23" fmla="*/ 52 h 66"/>
                <a:gd name="T24" fmla="*/ 118 w 166"/>
                <a:gd name="T25" fmla="*/ 50 h 66"/>
                <a:gd name="T26" fmla="*/ 128 w 166"/>
                <a:gd name="T27" fmla="*/ 50 h 66"/>
                <a:gd name="T28" fmla="*/ 146 w 166"/>
                <a:gd name="T29" fmla="*/ 50 h 66"/>
                <a:gd name="T30" fmla="*/ 154 w 166"/>
                <a:gd name="T31" fmla="*/ 50 h 66"/>
                <a:gd name="T32" fmla="*/ 160 w 166"/>
                <a:gd name="T33" fmla="*/ 50 h 66"/>
                <a:gd name="T34" fmla="*/ 164 w 166"/>
                <a:gd name="T35" fmla="*/ 46 h 66"/>
                <a:gd name="T36" fmla="*/ 166 w 166"/>
                <a:gd name="T37" fmla="*/ 42 h 66"/>
                <a:gd name="T38" fmla="*/ 166 w 166"/>
                <a:gd name="T39" fmla="*/ 42 h 66"/>
                <a:gd name="T40" fmla="*/ 164 w 166"/>
                <a:gd name="T41" fmla="*/ 34 h 66"/>
                <a:gd name="T42" fmla="*/ 158 w 166"/>
                <a:gd name="T43" fmla="*/ 28 h 66"/>
                <a:gd name="T44" fmla="*/ 148 w 166"/>
                <a:gd name="T45" fmla="*/ 24 h 66"/>
                <a:gd name="T46" fmla="*/ 136 w 166"/>
                <a:gd name="T47" fmla="*/ 18 h 66"/>
                <a:gd name="T48" fmla="*/ 112 w 166"/>
                <a:gd name="T49" fmla="*/ 12 h 66"/>
                <a:gd name="T50" fmla="*/ 102 w 166"/>
                <a:gd name="T51" fmla="*/ 10 h 66"/>
                <a:gd name="T52" fmla="*/ 94 w 166"/>
                <a:gd name="T53" fmla="*/ 12 h 66"/>
                <a:gd name="T54" fmla="*/ 94 w 166"/>
                <a:gd name="T55" fmla="*/ 12 h 66"/>
                <a:gd name="T56" fmla="*/ 88 w 166"/>
                <a:gd name="T57" fmla="*/ 12 h 66"/>
                <a:gd name="T58" fmla="*/ 80 w 166"/>
                <a:gd name="T59" fmla="*/ 10 h 66"/>
                <a:gd name="T60" fmla="*/ 64 w 166"/>
                <a:gd name="T61" fmla="*/ 6 h 66"/>
                <a:gd name="T62" fmla="*/ 48 w 166"/>
                <a:gd name="T63" fmla="*/ 2 h 66"/>
                <a:gd name="T64" fmla="*/ 42 w 166"/>
                <a:gd name="T65" fmla="*/ 0 h 66"/>
                <a:gd name="T66" fmla="*/ 36 w 166"/>
                <a:gd name="T67" fmla="*/ 2 h 66"/>
                <a:gd name="T68" fmla="*/ 36 w 166"/>
                <a:gd name="T69" fmla="*/ 2 h 66"/>
                <a:gd name="T70" fmla="*/ 34 w 166"/>
                <a:gd name="T71" fmla="*/ 6 h 66"/>
                <a:gd name="T72" fmla="*/ 34 w 166"/>
                <a:gd name="T73" fmla="*/ 10 h 66"/>
                <a:gd name="T74" fmla="*/ 40 w 166"/>
                <a:gd name="T75" fmla="*/ 20 h 66"/>
                <a:gd name="T76" fmla="*/ 50 w 166"/>
                <a:gd name="T77" fmla="*/ 30 h 66"/>
                <a:gd name="T78" fmla="*/ 52 w 166"/>
                <a:gd name="T79" fmla="*/ 36 h 66"/>
                <a:gd name="T80" fmla="*/ 54 w 166"/>
                <a:gd name="T81" fmla="*/ 40 h 66"/>
                <a:gd name="T82" fmla="*/ 54 w 166"/>
                <a:gd name="T83" fmla="*/ 40 h 66"/>
                <a:gd name="T84" fmla="*/ 52 w 166"/>
                <a:gd name="T85" fmla="*/ 44 h 66"/>
                <a:gd name="T86" fmla="*/ 46 w 166"/>
                <a:gd name="T87" fmla="*/ 44 h 66"/>
                <a:gd name="T88" fmla="*/ 30 w 166"/>
                <a:gd name="T89" fmla="*/ 44 h 66"/>
                <a:gd name="T90" fmla="*/ 12 w 166"/>
                <a:gd name="T91" fmla="*/ 44 h 66"/>
                <a:gd name="T92" fmla="*/ 4 w 166"/>
                <a:gd name="T93" fmla="*/ 46 h 66"/>
                <a:gd name="T94" fmla="*/ 0 w 166"/>
                <a:gd name="T95" fmla="*/ 50 h 66"/>
                <a:gd name="T96" fmla="*/ 0 w 166"/>
                <a:gd name="T97" fmla="*/ 50 h 66"/>
                <a:gd name="T98" fmla="*/ 0 w 166"/>
                <a:gd name="T99" fmla="*/ 52 h 66"/>
                <a:gd name="T100" fmla="*/ 2 w 166"/>
                <a:gd name="T101" fmla="*/ 54 h 66"/>
                <a:gd name="T102" fmla="*/ 10 w 166"/>
                <a:gd name="T103" fmla="*/ 58 h 66"/>
                <a:gd name="T104" fmla="*/ 22 w 166"/>
                <a:gd name="T105" fmla="*/ 60 h 66"/>
                <a:gd name="T106" fmla="*/ 30 w 166"/>
                <a:gd name="T107" fmla="*/ 60 h 66"/>
                <a:gd name="T108" fmla="*/ 36 w 166"/>
                <a:gd name="T109" fmla="*/ 58 h 66"/>
                <a:gd name="T110" fmla="*/ 36 w 166"/>
                <a:gd name="T111"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66">
                  <a:moveTo>
                    <a:pt x="36" y="58"/>
                  </a:moveTo>
                  <a:lnTo>
                    <a:pt x="36" y="58"/>
                  </a:lnTo>
                  <a:lnTo>
                    <a:pt x="48" y="56"/>
                  </a:lnTo>
                  <a:lnTo>
                    <a:pt x="60" y="58"/>
                  </a:lnTo>
                  <a:lnTo>
                    <a:pt x="68" y="60"/>
                  </a:lnTo>
                  <a:lnTo>
                    <a:pt x="76" y="64"/>
                  </a:lnTo>
                  <a:lnTo>
                    <a:pt x="76" y="64"/>
                  </a:lnTo>
                  <a:lnTo>
                    <a:pt x="82" y="66"/>
                  </a:lnTo>
                  <a:lnTo>
                    <a:pt x="88" y="62"/>
                  </a:lnTo>
                  <a:lnTo>
                    <a:pt x="96" y="58"/>
                  </a:lnTo>
                  <a:lnTo>
                    <a:pt x="110" y="52"/>
                  </a:lnTo>
                  <a:lnTo>
                    <a:pt x="110" y="52"/>
                  </a:lnTo>
                  <a:lnTo>
                    <a:pt x="118" y="50"/>
                  </a:lnTo>
                  <a:lnTo>
                    <a:pt x="128" y="50"/>
                  </a:lnTo>
                  <a:lnTo>
                    <a:pt x="146" y="50"/>
                  </a:lnTo>
                  <a:lnTo>
                    <a:pt x="154" y="50"/>
                  </a:lnTo>
                  <a:lnTo>
                    <a:pt x="160" y="50"/>
                  </a:lnTo>
                  <a:lnTo>
                    <a:pt x="164" y="46"/>
                  </a:lnTo>
                  <a:lnTo>
                    <a:pt x="166" y="42"/>
                  </a:lnTo>
                  <a:lnTo>
                    <a:pt x="166" y="42"/>
                  </a:lnTo>
                  <a:lnTo>
                    <a:pt x="164" y="34"/>
                  </a:lnTo>
                  <a:lnTo>
                    <a:pt x="158" y="28"/>
                  </a:lnTo>
                  <a:lnTo>
                    <a:pt x="148" y="24"/>
                  </a:lnTo>
                  <a:lnTo>
                    <a:pt x="136" y="18"/>
                  </a:lnTo>
                  <a:lnTo>
                    <a:pt x="112" y="12"/>
                  </a:lnTo>
                  <a:lnTo>
                    <a:pt x="102" y="10"/>
                  </a:lnTo>
                  <a:lnTo>
                    <a:pt x="94" y="12"/>
                  </a:lnTo>
                  <a:lnTo>
                    <a:pt x="94" y="12"/>
                  </a:lnTo>
                  <a:lnTo>
                    <a:pt x="88" y="12"/>
                  </a:lnTo>
                  <a:lnTo>
                    <a:pt x="80" y="10"/>
                  </a:lnTo>
                  <a:lnTo>
                    <a:pt x="64" y="6"/>
                  </a:lnTo>
                  <a:lnTo>
                    <a:pt x="48" y="2"/>
                  </a:lnTo>
                  <a:lnTo>
                    <a:pt x="42" y="0"/>
                  </a:lnTo>
                  <a:lnTo>
                    <a:pt x="36" y="2"/>
                  </a:lnTo>
                  <a:lnTo>
                    <a:pt x="36" y="2"/>
                  </a:lnTo>
                  <a:lnTo>
                    <a:pt x="34" y="6"/>
                  </a:lnTo>
                  <a:lnTo>
                    <a:pt x="34" y="10"/>
                  </a:lnTo>
                  <a:lnTo>
                    <a:pt x="40" y="20"/>
                  </a:lnTo>
                  <a:lnTo>
                    <a:pt x="50" y="30"/>
                  </a:lnTo>
                  <a:lnTo>
                    <a:pt x="52" y="36"/>
                  </a:lnTo>
                  <a:lnTo>
                    <a:pt x="54" y="40"/>
                  </a:lnTo>
                  <a:lnTo>
                    <a:pt x="54" y="40"/>
                  </a:lnTo>
                  <a:lnTo>
                    <a:pt x="52" y="44"/>
                  </a:lnTo>
                  <a:lnTo>
                    <a:pt x="46" y="44"/>
                  </a:lnTo>
                  <a:lnTo>
                    <a:pt x="30" y="44"/>
                  </a:lnTo>
                  <a:lnTo>
                    <a:pt x="12" y="44"/>
                  </a:lnTo>
                  <a:lnTo>
                    <a:pt x="4" y="46"/>
                  </a:lnTo>
                  <a:lnTo>
                    <a:pt x="0" y="50"/>
                  </a:lnTo>
                  <a:lnTo>
                    <a:pt x="0" y="50"/>
                  </a:lnTo>
                  <a:lnTo>
                    <a:pt x="0" y="52"/>
                  </a:lnTo>
                  <a:lnTo>
                    <a:pt x="2" y="54"/>
                  </a:lnTo>
                  <a:lnTo>
                    <a:pt x="10" y="58"/>
                  </a:lnTo>
                  <a:lnTo>
                    <a:pt x="22" y="60"/>
                  </a:lnTo>
                  <a:lnTo>
                    <a:pt x="30" y="60"/>
                  </a:lnTo>
                  <a:lnTo>
                    <a:pt x="36" y="58"/>
                  </a:lnTo>
                  <a:lnTo>
                    <a:pt x="36" y="5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3" name="Freeform 100"/>
            <p:cNvSpPr>
              <a:spLocks/>
            </p:cNvSpPr>
            <p:nvPr/>
          </p:nvSpPr>
          <p:spPr bwMode="auto">
            <a:xfrm>
              <a:off x="3892550" y="5295900"/>
              <a:ext cx="88900" cy="28575"/>
            </a:xfrm>
            <a:custGeom>
              <a:avLst/>
              <a:gdLst>
                <a:gd name="T0" fmla="*/ 2 w 56"/>
                <a:gd name="T1" fmla="*/ 4 h 18"/>
                <a:gd name="T2" fmla="*/ 2 w 56"/>
                <a:gd name="T3" fmla="*/ 4 h 18"/>
                <a:gd name="T4" fmla="*/ 4 w 56"/>
                <a:gd name="T5" fmla="*/ 8 h 18"/>
                <a:gd name="T6" fmla="*/ 12 w 56"/>
                <a:gd name="T7" fmla="*/ 10 h 18"/>
                <a:gd name="T8" fmla="*/ 30 w 56"/>
                <a:gd name="T9" fmla="*/ 16 h 18"/>
                <a:gd name="T10" fmla="*/ 46 w 56"/>
                <a:gd name="T11" fmla="*/ 18 h 18"/>
                <a:gd name="T12" fmla="*/ 54 w 56"/>
                <a:gd name="T13" fmla="*/ 16 h 18"/>
                <a:gd name="T14" fmla="*/ 56 w 56"/>
                <a:gd name="T15" fmla="*/ 14 h 18"/>
                <a:gd name="T16" fmla="*/ 56 w 56"/>
                <a:gd name="T17" fmla="*/ 14 h 18"/>
                <a:gd name="T18" fmla="*/ 56 w 56"/>
                <a:gd name="T19" fmla="*/ 12 h 18"/>
                <a:gd name="T20" fmla="*/ 56 w 56"/>
                <a:gd name="T21" fmla="*/ 10 h 18"/>
                <a:gd name="T22" fmla="*/ 50 w 56"/>
                <a:gd name="T23" fmla="*/ 6 h 18"/>
                <a:gd name="T24" fmla="*/ 40 w 56"/>
                <a:gd name="T25" fmla="*/ 4 h 18"/>
                <a:gd name="T26" fmla="*/ 28 w 56"/>
                <a:gd name="T27" fmla="*/ 2 h 18"/>
                <a:gd name="T28" fmla="*/ 8 w 56"/>
                <a:gd name="T29" fmla="*/ 0 h 18"/>
                <a:gd name="T30" fmla="*/ 2 w 56"/>
                <a:gd name="T31" fmla="*/ 2 h 18"/>
                <a:gd name="T32" fmla="*/ 0 w 56"/>
                <a:gd name="T33" fmla="*/ 2 h 18"/>
                <a:gd name="T34" fmla="*/ 2 w 56"/>
                <a:gd name="T35" fmla="*/ 4 h 18"/>
                <a:gd name="T36" fmla="*/ 2 w 56"/>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18">
                  <a:moveTo>
                    <a:pt x="2" y="4"/>
                  </a:moveTo>
                  <a:lnTo>
                    <a:pt x="2" y="4"/>
                  </a:lnTo>
                  <a:lnTo>
                    <a:pt x="4" y="8"/>
                  </a:lnTo>
                  <a:lnTo>
                    <a:pt x="12" y="10"/>
                  </a:lnTo>
                  <a:lnTo>
                    <a:pt x="30" y="16"/>
                  </a:lnTo>
                  <a:lnTo>
                    <a:pt x="46" y="18"/>
                  </a:lnTo>
                  <a:lnTo>
                    <a:pt x="54" y="16"/>
                  </a:lnTo>
                  <a:lnTo>
                    <a:pt x="56" y="14"/>
                  </a:lnTo>
                  <a:lnTo>
                    <a:pt x="56" y="14"/>
                  </a:lnTo>
                  <a:lnTo>
                    <a:pt x="56" y="12"/>
                  </a:lnTo>
                  <a:lnTo>
                    <a:pt x="56" y="10"/>
                  </a:lnTo>
                  <a:lnTo>
                    <a:pt x="50" y="6"/>
                  </a:lnTo>
                  <a:lnTo>
                    <a:pt x="40" y="4"/>
                  </a:lnTo>
                  <a:lnTo>
                    <a:pt x="28" y="2"/>
                  </a:lnTo>
                  <a:lnTo>
                    <a:pt x="8" y="0"/>
                  </a:lnTo>
                  <a:lnTo>
                    <a:pt x="2" y="2"/>
                  </a:lnTo>
                  <a:lnTo>
                    <a:pt x="0" y="2"/>
                  </a:lnTo>
                  <a:lnTo>
                    <a:pt x="2" y="4"/>
                  </a:lnTo>
                  <a:lnTo>
                    <a:pt x="2"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4" name="Freeform 101"/>
            <p:cNvSpPr>
              <a:spLocks/>
            </p:cNvSpPr>
            <p:nvPr/>
          </p:nvSpPr>
          <p:spPr bwMode="auto">
            <a:xfrm>
              <a:off x="12719050" y="6251575"/>
              <a:ext cx="53975" cy="34925"/>
            </a:xfrm>
            <a:custGeom>
              <a:avLst/>
              <a:gdLst>
                <a:gd name="T0" fmla="*/ 0 w 34"/>
                <a:gd name="T1" fmla="*/ 6 h 22"/>
                <a:gd name="T2" fmla="*/ 0 w 34"/>
                <a:gd name="T3" fmla="*/ 6 h 22"/>
                <a:gd name="T4" fmla="*/ 2 w 34"/>
                <a:gd name="T5" fmla="*/ 12 h 22"/>
                <a:gd name="T6" fmla="*/ 6 w 34"/>
                <a:gd name="T7" fmla="*/ 16 h 22"/>
                <a:gd name="T8" fmla="*/ 16 w 34"/>
                <a:gd name="T9" fmla="*/ 20 h 22"/>
                <a:gd name="T10" fmla="*/ 22 w 34"/>
                <a:gd name="T11" fmla="*/ 22 h 22"/>
                <a:gd name="T12" fmla="*/ 26 w 34"/>
                <a:gd name="T13" fmla="*/ 20 h 22"/>
                <a:gd name="T14" fmla="*/ 30 w 34"/>
                <a:gd name="T15" fmla="*/ 18 h 22"/>
                <a:gd name="T16" fmla="*/ 34 w 34"/>
                <a:gd name="T17" fmla="*/ 16 h 22"/>
                <a:gd name="T18" fmla="*/ 34 w 34"/>
                <a:gd name="T19" fmla="*/ 16 h 22"/>
                <a:gd name="T20" fmla="*/ 34 w 34"/>
                <a:gd name="T21" fmla="*/ 12 h 22"/>
                <a:gd name="T22" fmla="*/ 30 w 34"/>
                <a:gd name="T23" fmla="*/ 8 h 22"/>
                <a:gd name="T24" fmla="*/ 26 w 34"/>
                <a:gd name="T25" fmla="*/ 4 h 22"/>
                <a:gd name="T26" fmla="*/ 18 w 34"/>
                <a:gd name="T27" fmla="*/ 2 h 22"/>
                <a:gd name="T28" fmla="*/ 12 w 34"/>
                <a:gd name="T29" fmla="*/ 0 h 22"/>
                <a:gd name="T30" fmla="*/ 6 w 34"/>
                <a:gd name="T31" fmla="*/ 0 h 22"/>
                <a:gd name="T32" fmla="*/ 2 w 34"/>
                <a:gd name="T33" fmla="*/ 2 h 22"/>
                <a:gd name="T34" fmla="*/ 0 w 34"/>
                <a:gd name="T35" fmla="*/ 6 h 22"/>
                <a:gd name="T36" fmla="*/ 0 w 34"/>
                <a:gd name="T37"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22">
                  <a:moveTo>
                    <a:pt x="0" y="6"/>
                  </a:moveTo>
                  <a:lnTo>
                    <a:pt x="0" y="6"/>
                  </a:lnTo>
                  <a:lnTo>
                    <a:pt x="2" y="12"/>
                  </a:lnTo>
                  <a:lnTo>
                    <a:pt x="6" y="16"/>
                  </a:lnTo>
                  <a:lnTo>
                    <a:pt x="16" y="20"/>
                  </a:lnTo>
                  <a:lnTo>
                    <a:pt x="22" y="22"/>
                  </a:lnTo>
                  <a:lnTo>
                    <a:pt x="26" y="20"/>
                  </a:lnTo>
                  <a:lnTo>
                    <a:pt x="30" y="18"/>
                  </a:lnTo>
                  <a:lnTo>
                    <a:pt x="34" y="16"/>
                  </a:lnTo>
                  <a:lnTo>
                    <a:pt x="34" y="16"/>
                  </a:lnTo>
                  <a:lnTo>
                    <a:pt x="34" y="12"/>
                  </a:lnTo>
                  <a:lnTo>
                    <a:pt x="30" y="8"/>
                  </a:lnTo>
                  <a:lnTo>
                    <a:pt x="26" y="4"/>
                  </a:lnTo>
                  <a:lnTo>
                    <a:pt x="18" y="2"/>
                  </a:lnTo>
                  <a:lnTo>
                    <a:pt x="12" y="0"/>
                  </a:lnTo>
                  <a:lnTo>
                    <a:pt x="6" y="0"/>
                  </a:lnTo>
                  <a:lnTo>
                    <a:pt x="2" y="2"/>
                  </a:lnTo>
                  <a:lnTo>
                    <a:pt x="0" y="6"/>
                  </a:lnTo>
                  <a:lnTo>
                    <a:pt x="0" y="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5" name="Freeform 102"/>
            <p:cNvSpPr>
              <a:spLocks/>
            </p:cNvSpPr>
            <p:nvPr/>
          </p:nvSpPr>
          <p:spPr bwMode="auto">
            <a:xfrm>
              <a:off x="12480925" y="5527675"/>
              <a:ext cx="44450" cy="50800"/>
            </a:xfrm>
            <a:custGeom>
              <a:avLst/>
              <a:gdLst>
                <a:gd name="T0" fmla="*/ 0 w 28"/>
                <a:gd name="T1" fmla="*/ 2 h 32"/>
                <a:gd name="T2" fmla="*/ 0 w 28"/>
                <a:gd name="T3" fmla="*/ 2 h 32"/>
                <a:gd name="T4" fmla="*/ 2 w 28"/>
                <a:gd name="T5" fmla="*/ 12 h 32"/>
                <a:gd name="T6" fmla="*/ 6 w 28"/>
                <a:gd name="T7" fmla="*/ 22 h 32"/>
                <a:gd name="T8" fmla="*/ 10 w 28"/>
                <a:gd name="T9" fmla="*/ 26 h 32"/>
                <a:gd name="T10" fmla="*/ 14 w 28"/>
                <a:gd name="T11" fmla="*/ 30 h 32"/>
                <a:gd name="T12" fmla="*/ 18 w 28"/>
                <a:gd name="T13" fmla="*/ 32 h 32"/>
                <a:gd name="T14" fmla="*/ 24 w 28"/>
                <a:gd name="T15" fmla="*/ 30 h 32"/>
                <a:gd name="T16" fmla="*/ 24 w 28"/>
                <a:gd name="T17" fmla="*/ 30 h 32"/>
                <a:gd name="T18" fmla="*/ 28 w 28"/>
                <a:gd name="T19" fmla="*/ 30 h 32"/>
                <a:gd name="T20" fmla="*/ 28 w 28"/>
                <a:gd name="T21" fmla="*/ 28 h 32"/>
                <a:gd name="T22" fmla="*/ 28 w 28"/>
                <a:gd name="T23" fmla="*/ 22 h 32"/>
                <a:gd name="T24" fmla="*/ 24 w 28"/>
                <a:gd name="T25" fmla="*/ 16 h 32"/>
                <a:gd name="T26" fmla="*/ 18 w 28"/>
                <a:gd name="T27" fmla="*/ 12 h 32"/>
                <a:gd name="T28" fmla="*/ 4 w 28"/>
                <a:gd name="T29" fmla="*/ 2 h 32"/>
                <a:gd name="T30" fmla="*/ 0 w 28"/>
                <a:gd name="T31" fmla="*/ 0 h 32"/>
                <a:gd name="T32" fmla="*/ 0 w 28"/>
                <a:gd name="T33" fmla="*/ 0 h 32"/>
                <a:gd name="T34" fmla="*/ 0 w 28"/>
                <a:gd name="T35" fmla="*/ 2 h 32"/>
                <a:gd name="T36" fmla="*/ 0 w 28"/>
                <a:gd name="T3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32">
                  <a:moveTo>
                    <a:pt x="0" y="2"/>
                  </a:moveTo>
                  <a:lnTo>
                    <a:pt x="0" y="2"/>
                  </a:lnTo>
                  <a:lnTo>
                    <a:pt x="2" y="12"/>
                  </a:lnTo>
                  <a:lnTo>
                    <a:pt x="6" y="22"/>
                  </a:lnTo>
                  <a:lnTo>
                    <a:pt x="10" y="26"/>
                  </a:lnTo>
                  <a:lnTo>
                    <a:pt x="14" y="30"/>
                  </a:lnTo>
                  <a:lnTo>
                    <a:pt x="18" y="32"/>
                  </a:lnTo>
                  <a:lnTo>
                    <a:pt x="24" y="30"/>
                  </a:lnTo>
                  <a:lnTo>
                    <a:pt x="24" y="30"/>
                  </a:lnTo>
                  <a:lnTo>
                    <a:pt x="28" y="30"/>
                  </a:lnTo>
                  <a:lnTo>
                    <a:pt x="28" y="28"/>
                  </a:lnTo>
                  <a:lnTo>
                    <a:pt x="28" y="22"/>
                  </a:lnTo>
                  <a:lnTo>
                    <a:pt x="24" y="16"/>
                  </a:lnTo>
                  <a:lnTo>
                    <a:pt x="18" y="12"/>
                  </a:lnTo>
                  <a:lnTo>
                    <a:pt x="4" y="2"/>
                  </a:lnTo>
                  <a:lnTo>
                    <a:pt x="0" y="0"/>
                  </a:lnTo>
                  <a:lnTo>
                    <a:pt x="0" y="0"/>
                  </a:lnTo>
                  <a:lnTo>
                    <a:pt x="0" y="2"/>
                  </a:lnTo>
                  <a:lnTo>
                    <a:pt x="0" y="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6" name="Freeform 103"/>
            <p:cNvSpPr>
              <a:spLocks/>
            </p:cNvSpPr>
            <p:nvPr/>
          </p:nvSpPr>
          <p:spPr bwMode="auto">
            <a:xfrm>
              <a:off x="12538075" y="5594350"/>
              <a:ext cx="92075" cy="130175"/>
            </a:xfrm>
            <a:custGeom>
              <a:avLst/>
              <a:gdLst>
                <a:gd name="T0" fmla="*/ 6 w 58"/>
                <a:gd name="T1" fmla="*/ 0 h 82"/>
                <a:gd name="T2" fmla="*/ 6 w 58"/>
                <a:gd name="T3" fmla="*/ 0 h 82"/>
                <a:gd name="T4" fmla="*/ 2 w 58"/>
                <a:gd name="T5" fmla="*/ 4 h 82"/>
                <a:gd name="T6" fmla="*/ 0 w 58"/>
                <a:gd name="T7" fmla="*/ 8 h 82"/>
                <a:gd name="T8" fmla="*/ 0 w 58"/>
                <a:gd name="T9" fmla="*/ 14 h 82"/>
                <a:gd name="T10" fmla="*/ 0 w 58"/>
                <a:gd name="T11" fmla="*/ 20 h 82"/>
                <a:gd name="T12" fmla="*/ 2 w 58"/>
                <a:gd name="T13" fmla="*/ 34 h 82"/>
                <a:gd name="T14" fmla="*/ 4 w 58"/>
                <a:gd name="T15" fmla="*/ 36 h 82"/>
                <a:gd name="T16" fmla="*/ 8 w 58"/>
                <a:gd name="T17" fmla="*/ 38 h 82"/>
                <a:gd name="T18" fmla="*/ 8 w 58"/>
                <a:gd name="T19" fmla="*/ 38 h 82"/>
                <a:gd name="T20" fmla="*/ 16 w 58"/>
                <a:gd name="T21" fmla="*/ 36 h 82"/>
                <a:gd name="T22" fmla="*/ 20 w 58"/>
                <a:gd name="T23" fmla="*/ 34 h 82"/>
                <a:gd name="T24" fmla="*/ 22 w 58"/>
                <a:gd name="T25" fmla="*/ 30 h 82"/>
                <a:gd name="T26" fmla="*/ 22 w 58"/>
                <a:gd name="T27" fmla="*/ 30 h 82"/>
                <a:gd name="T28" fmla="*/ 24 w 58"/>
                <a:gd name="T29" fmla="*/ 28 h 82"/>
                <a:gd name="T30" fmla="*/ 24 w 58"/>
                <a:gd name="T31" fmla="*/ 28 h 82"/>
                <a:gd name="T32" fmla="*/ 26 w 58"/>
                <a:gd name="T33" fmla="*/ 34 h 82"/>
                <a:gd name="T34" fmla="*/ 28 w 58"/>
                <a:gd name="T35" fmla="*/ 44 h 82"/>
                <a:gd name="T36" fmla="*/ 28 w 58"/>
                <a:gd name="T37" fmla="*/ 48 h 82"/>
                <a:gd name="T38" fmla="*/ 26 w 58"/>
                <a:gd name="T39" fmla="*/ 52 h 82"/>
                <a:gd name="T40" fmla="*/ 26 w 58"/>
                <a:gd name="T41" fmla="*/ 52 h 82"/>
                <a:gd name="T42" fmla="*/ 22 w 58"/>
                <a:gd name="T43" fmla="*/ 58 h 82"/>
                <a:gd name="T44" fmla="*/ 20 w 58"/>
                <a:gd name="T45" fmla="*/ 68 h 82"/>
                <a:gd name="T46" fmla="*/ 22 w 58"/>
                <a:gd name="T47" fmla="*/ 76 h 82"/>
                <a:gd name="T48" fmla="*/ 26 w 58"/>
                <a:gd name="T49" fmla="*/ 80 h 82"/>
                <a:gd name="T50" fmla="*/ 30 w 58"/>
                <a:gd name="T51" fmla="*/ 82 h 82"/>
                <a:gd name="T52" fmla="*/ 30 w 58"/>
                <a:gd name="T53" fmla="*/ 82 h 82"/>
                <a:gd name="T54" fmla="*/ 34 w 58"/>
                <a:gd name="T55" fmla="*/ 80 h 82"/>
                <a:gd name="T56" fmla="*/ 38 w 58"/>
                <a:gd name="T57" fmla="*/ 76 h 82"/>
                <a:gd name="T58" fmla="*/ 50 w 58"/>
                <a:gd name="T59" fmla="*/ 64 h 82"/>
                <a:gd name="T60" fmla="*/ 56 w 58"/>
                <a:gd name="T61" fmla="*/ 48 h 82"/>
                <a:gd name="T62" fmla="*/ 58 w 58"/>
                <a:gd name="T63" fmla="*/ 42 h 82"/>
                <a:gd name="T64" fmla="*/ 58 w 58"/>
                <a:gd name="T65" fmla="*/ 38 h 82"/>
                <a:gd name="T66" fmla="*/ 58 w 58"/>
                <a:gd name="T67" fmla="*/ 38 h 82"/>
                <a:gd name="T68" fmla="*/ 56 w 58"/>
                <a:gd name="T69" fmla="*/ 36 h 82"/>
                <a:gd name="T70" fmla="*/ 54 w 58"/>
                <a:gd name="T71" fmla="*/ 36 h 82"/>
                <a:gd name="T72" fmla="*/ 50 w 58"/>
                <a:gd name="T73" fmla="*/ 36 h 82"/>
                <a:gd name="T74" fmla="*/ 48 w 58"/>
                <a:gd name="T75" fmla="*/ 36 h 82"/>
                <a:gd name="T76" fmla="*/ 48 w 58"/>
                <a:gd name="T77" fmla="*/ 34 h 82"/>
                <a:gd name="T78" fmla="*/ 48 w 58"/>
                <a:gd name="T79" fmla="*/ 34 h 82"/>
                <a:gd name="T80" fmla="*/ 48 w 58"/>
                <a:gd name="T81" fmla="*/ 28 h 82"/>
                <a:gd name="T82" fmla="*/ 44 w 58"/>
                <a:gd name="T83" fmla="*/ 24 h 82"/>
                <a:gd name="T84" fmla="*/ 32 w 58"/>
                <a:gd name="T85" fmla="*/ 12 h 82"/>
                <a:gd name="T86" fmla="*/ 18 w 58"/>
                <a:gd name="T87" fmla="*/ 4 h 82"/>
                <a:gd name="T88" fmla="*/ 12 w 58"/>
                <a:gd name="T89" fmla="*/ 2 h 82"/>
                <a:gd name="T90" fmla="*/ 6 w 58"/>
                <a:gd name="T91" fmla="*/ 0 h 82"/>
                <a:gd name="T92" fmla="*/ 6 w 58"/>
                <a:gd name="T9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 h="82">
                  <a:moveTo>
                    <a:pt x="6" y="0"/>
                  </a:moveTo>
                  <a:lnTo>
                    <a:pt x="6" y="0"/>
                  </a:lnTo>
                  <a:lnTo>
                    <a:pt x="2" y="4"/>
                  </a:lnTo>
                  <a:lnTo>
                    <a:pt x="0" y="8"/>
                  </a:lnTo>
                  <a:lnTo>
                    <a:pt x="0" y="14"/>
                  </a:lnTo>
                  <a:lnTo>
                    <a:pt x="0" y="20"/>
                  </a:lnTo>
                  <a:lnTo>
                    <a:pt x="2" y="34"/>
                  </a:lnTo>
                  <a:lnTo>
                    <a:pt x="4" y="36"/>
                  </a:lnTo>
                  <a:lnTo>
                    <a:pt x="8" y="38"/>
                  </a:lnTo>
                  <a:lnTo>
                    <a:pt x="8" y="38"/>
                  </a:lnTo>
                  <a:lnTo>
                    <a:pt x="16" y="36"/>
                  </a:lnTo>
                  <a:lnTo>
                    <a:pt x="20" y="34"/>
                  </a:lnTo>
                  <a:lnTo>
                    <a:pt x="22" y="30"/>
                  </a:lnTo>
                  <a:lnTo>
                    <a:pt x="22" y="30"/>
                  </a:lnTo>
                  <a:lnTo>
                    <a:pt x="24" y="28"/>
                  </a:lnTo>
                  <a:lnTo>
                    <a:pt x="24" y="28"/>
                  </a:lnTo>
                  <a:lnTo>
                    <a:pt x="26" y="34"/>
                  </a:lnTo>
                  <a:lnTo>
                    <a:pt x="28" y="44"/>
                  </a:lnTo>
                  <a:lnTo>
                    <a:pt x="28" y="48"/>
                  </a:lnTo>
                  <a:lnTo>
                    <a:pt x="26" y="52"/>
                  </a:lnTo>
                  <a:lnTo>
                    <a:pt x="26" y="52"/>
                  </a:lnTo>
                  <a:lnTo>
                    <a:pt x="22" y="58"/>
                  </a:lnTo>
                  <a:lnTo>
                    <a:pt x="20" y="68"/>
                  </a:lnTo>
                  <a:lnTo>
                    <a:pt x="22" y="76"/>
                  </a:lnTo>
                  <a:lnTo>
                    <a:pt x="26" y="80"/>
                  </a:lnTo>
                  <a:lnTo>
                    <a:pt x="30" y="82"/>
                  </a:lnTo>
                  <a:lnTo>
                    <a:pt x="30" y="82"/>
                  </a:lnTo>
                  <a:lnTo>
                    <a:pt x="34" y="80"/>
                  </a:lnTo>
                  <a:lnTo>
                    <a:pt x="38" y="76"/>
                  </a:lnTo>
                  <a:lnTo>
                    <a:pt x="50" y="64"/>
                  </a:lnTo>
                  <a:lnTo>
                    <a:pt x="56" y="48"/>
                  </a:lnTo>
                  <a:lnTo>
                    <a:pt x="58" y="42"/>
                  </a:lnTo>
                  <a:lnTo>
                    <a:pt x="58" y="38"/>
                  </a:lnTo>
                  <a:lnTo>
                    <a:pt x="58" y="38"/>
                  </a:lnTo>
                  <a:lnTo>
                    <a:pt x="56" y="36"/>
                  </a:lnTo>
                  <a:lnTo>
                    <a:pt x="54" y="36"/>
                  </a:lnTo>
                  <a:lnTo>
                    <a:pt x="50" y="36"/>
                  </a:lnTo>
                  <a:lnTo>
                    <a:pt x="48" y="36"/>
                  </a:lnTo>
                  <a:lnTo>
                    <a:pt x="48" y="34"/>
                  </a:lnTo>
                  <a:lnTo>
                    <a:pt x="48" y="34"/>
                  </a:lnTo>
                  <a:lnTo>
                    <a:pt x="48" y="28"/>
                  </a:lnTo>
                  <a:lnTo>
                    <a:pt x="44" y="24"/>
                  </a:lnTo>
                  <a:lnTo>
                    <a:pt x="32" y="12"/>
                  </a:lnTo>
                  <a:lnTo>
                    <a:pt x="18" y="4"/>
                  </a:lnTo>
                  <a:lnTo>
                    <a:pt x="12" y="2"/>
                  </a:lnTo>
                  <a:lnTo>
                    <a:pt x="6" y="0"/>
                  </a:lnTo>
                  <a:lnTo>
                    <a:pt x="6" y="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7" name="Freeform 104"/>
            <p:cNvSpPr>
              <a:spLocks/>
            </p:cNvSpPr>
            <p:nvPr/>
          </p:nvSpPr>
          <p:spPr bwMode="auto">
            <a:xfrm>
              <a:off x="13528675" y="8004175"/>
              <a:ext cx="158750" cy="155575"/>
            </a:xfrm>
            <a:custGeom>
              <a:avLst/>
              <a:gdLst>
                <a:gd name="T0" fmla="*/ 48 w 100"/>
                <a:gd name="T1" fmla="*/ 14 h 98"/>
                <a:gd name="T2" fmla="*/ 48 w 100"/>
                <a:gd name="T3" fmla="*/ 14 h 98"/>
                <a:gd name="T4" fmla="*/ 42 w 100"/>
                <a:gd name="T5" fmla="*/ 14 h 98"/>
                <a:gd name="T6" fmla="*/ 34 w 100"/>
                <a:gd name="T7" fmla="*/ 12 h 98"/>
                <a:gd name="T8" fmla="*/ 20 w 100"/>
                <a:gd name="T9" fmla="*/ 8 h 98"/>
                <a:gd name="T10" fmla="*/ 8 w 100"/>
                <a:gd name="T11" fmla="*/ 2 h 98"/>
                <a:gd name="T12" fmla="*/ 2 w 100"/>
                <a:gd name="T13" fmla="*/ 0 h 98"/>
                <a:gd name="T14" fmla="*/ 2 w 100"/>
                <a:gd name="T15" fmla="*/ 0 h 98"/>
                <a:gd name="T16" fmla="*/ 0 w 100"/>
                <a:gd name="T17" fmla="*/ 4 h 98"/>
                <a:gd name="T18" fmla="*/ 2 w 100"/>
                <a:gd name="T19" fmla="*/ 8 h 98"/>
                <a:gd name="T20" fmla="*/ 8 w 100"/>
                <a:gd name="T21" fmla="*/ 24 h 98"/>
                <a:gd name="T22" fmla="*/ 14 w 100"/>
                <a:gd name="T23" fmla="*/ 42 h 98"/>
                <a:gd name="T24" fmla="*/ 16 w 100"/>
                <a:gd name="T25" fmla="*/ 50 h 98"/>
                <a:gd name="T26" fmla="*/ 14 w 100"/>
                <a:gd name="T27" fmla="*/ 56 h 98"/>
                <a:gd name="T28" fmla="*/ 14 w 100"/>
                <a:gd name="T29" fmla="*/ 56 h 98"/>
                <a:gd name="T30" fmla="*/ 12 w 100"/>
                <a:gd name="T31" fmla="*/ 60 h 98"/>
                <a:gd name="T32" fmla="*/ 14 w 100"/>
                <a:gd name="T33" fmla="*/ 66 h 98"/>
                <a:gd name="T34" fmla="*/ 18 w 100"/>
                <a:gd name="T35" fmla="*/ 72 h 98"/>
                <a:gd name="T36" fmla="*/ 24 w 100"/>
                <a:gd name="T37" fmla="*/ 80 h 98"/>
                <a:gd name="T38" fmla="*/ 38 w 100"/>
                <a:gd name="T39" fmla="*/ 92 h 98"/>
                <a:gd name="T40" fmla="*/ 46 w 100"/>
                <a:gd name="T41" fmla="*/ 96 h 98"/>
                <a:gd name="T42" fmla="*/ 50 w 100"/>
                <a:gd name="T43" fmla="*/ 98 h 98"/>
                <a:gd name="T44" fmla="*/ 50 w 100"/>
                <a:gd name="T45" fmla="*/ 98 h 98"/>
                <a:gd name="T46" fmla="*/ 54 w 100"/>
                <a:gd name="T47" fmla="*/ 98 h 98"/>
                <a:gd name="T48" fmla="*/ 56 w 100"/>
                <a:gd name="T49" fmla="*/ 96 h 98"/>
                <a:gd name="T50" fmla="*/ 60 w 100"/>
                <a:gd name="T51" fmla="*/ 92 h 98"/>
                <a:gd name="T52" fmla="*/ 62 w 100"/>
                <a:gd name="T53" fmla="*/ 88 h 98"/>
                <a:gd name="T54" fmla="*/ 62 w 100"/>
                <a:gd name="T55" fmla="*/ 88 h 98"/>
                <a:gd name="T56" fmla="*/ 66 w 100"/>
                <a:gd name="T57" fmla="*/ 86 h 98"/>
                <a:gd name="T58" fmla="*/ 66 w 100"/>
                <a:gd name="T59" fmla="*/ 86 h 98"/>
                <a:gd name="T60" fmla="*/ 70 w 100"/>
                <a:gd name="T61" fmla="*/ 86 h 98"/>
                <a:gd name="T62" fmla="*/ 70 w 100"/>
                <a:gd name="T63" fmla="*/ 82 h 98"/>
                <a:gd name="T64" fmla="*/ 72 w 100"/>
                <a:gd name="T65" fmla="*/ 72 h 98"/>
                <a:gd name="T66" fmla="*/ 72 w 100"/>
                <a:gd name="T67" fmla="*/ 72 h 98"/>
                <a:gd name="T68" fmla="*/ 72 w 100"/>
                <a:gd name="T69" fmla="*/ 72 h 98"/>
                <a:gd name="T70" fmla="*/ 74 w 100"/>
                <a:gd name="T71" fmla="*/ 72 h 98"/>
                <a:gd name="T72" fmla="*/ 78 w 100"/>
                <a:gd name="T73" fmla="*/ 74 h 98"/>
                <a:gd name="T74" fmla="*/ 82 w 100"/>
                <a:gd name="T75" fmla="*/ 76 h 98"/>
                <a:gd name="T76" fmla="*/ 84 w 100"/>
                <a:gd name="T77" fmla="*/ 76 h 98"/>
                <a:gd name="T78" fmla="*/ 88 w 100"/>
                <a:gd name="T79" fmla="*/ 76 h 98"/>
                <a:gd name="T80" fmla="*/ 88 w 100"/>
                <a:gd name="T81" fmla="*/ 76 h 98"/>
                <a:gd name="T82" fmla="*/ 88 w 100"/>
                <a:gd name="T83" fmla="*/ 74 h 98"/>
                <a:gd name="T84" fmla="*/ 90 w 100"/>
                <a:gd name="T85" fmla="*/ 70 h 98"/>
                <a:gd name="T86" fmla="*/ 90 w 100"/>
                <a:gd name="T87" fmla="*/ 60 h 98"/>
                <a:gd name="T88" fmla="*/ 90 w 100"/>
                <a:gd name="T89" fmla="*/ 50 h 98"/>
                <a:gd name="T90" fmla="*/ 92 w 100"/>
                <a:gd name="T91" fmla="*/ 48 h 98"/>
                <a:gd name="T92" fmla="*/ 96 w 100"/>
                <a:gd name="T93" fmla="*/ 46 h 98"/>
                <a:gd name="T94" fmla="*/ 96 w 100"/>
                <a:gd name="T95" fmla="*/ 46 h 98"/>
                <a:gd name="T96" fmla="*/ 98 w 100"/>
                <a:gd name="T97" fmla="*/ 44 h 98"/>
                <a:gd name="T98" fmla="*/ 100 w 100"/>
                <a:gd name="T99" fmla="*/ 42 h 98"/>
                <a:gd name="T100" fmla="*/ 100 w 100"/>
                <a:gd name="T101" fmla="*/ 30 h 98"/>
                <a:gd name="T102" fmla="*/ 96 w 100"/>
                <a:gd name="T103" fmla="*/ 16 h 98"/>
                <a:gd name="T104" fmla="*/ 94 w 100"/>
                <a:gd name="T105" fmla="*/ 4 h 98"/>
                <a:gd name="T106" fmla="*/ 94 w 100"/>
                <a:gd name="T107" fmla="*/ 4 h 98"/>
                <a:gd name="T108" fmla="*/ 92 w 100"/>
                <a:gd name="T109" fmla="*/ 2 h 98"/>
                <a:gd name="T110" fmla="*/ 88 w 100"/>
                <a:gd name="T111" fmla="*/ 2 h 98"/>
                <a:gd name="T112" fmla="*/ 76 w 100"/>
                <a:gd name="T113" fmla="*/ 4 h 98"/>
                <a:gd name="T114" fmla="*/ 62 w 100"/>
                <a:gd name="T115" fmla="*/ 10 h 98"/>
                <a:gd name="T116" fmla="*/ 48 w 100"/>
                <a:gd name="T117" fmla="*/ 14 h 98"/>
                <a:gd name="T118" fmla="*/ 48 w 100"/>
                <a:gd name="T119" fmla="*/ 1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98">
                  <a:moveTo>
                    <a:pt x="48" y="14"/>
                  </a:moveTo>
                  <a:lnTo>
                    <a:pt x="48" y="14"/>
                  </a:lnTo>
                  <a:lnTo>
                    <a:pt x="42" y="14"/>
                  </a:lnTo>
                  <a:lnTo>
                    <a:pt x="34" y="12"/>
                  </a:lnTo>
                  <a:lnTo>
                    <a:pt x="20" y="8"/>
                  </a:lnTo>
                  <a:lnTo>
                    <a:pt x="8" y="2"/>
                  </a:lnTo>
                  <a:lnTo>
                    <a:pt x="2" y="0"/>
                  </a:lnTo>
                  <a:lnTo>
                    <a:pt x="2" y="0"/>
                  </a:lnTo>
                  <a:lnTo>
                    <a:pt x="0" y="4"/>
                  </a:lnTo>
                  <a:lnTo>
                    <a:pt x="2" y="8"/>
                  </a:lnTo>
                  <a:lnTo>
                    <a:pt x="8" y="24"/>
                  </a:lnTo>
                  <a:lnTo>
                    <a:pt x="14" y="42"/>
                  </a:lnTo>
                  <a:lnTo>
                    <a:pt x="16" y="50"/>
                  </a:lnTo>
                  <a:lnTo>
                    <a:pt x="14" y="56"/>
                  </a:lnTo>
                  <a:lnTo>
                    <a:pt x="14" y="56"/>
                  </a:lnTo>
                  <a:lnTo>
                    <a:pt x="12" y="60"/>
                  </a:lnTo>
                  <a:lnTo>
                    <a:pt x="14" y="66"/>
                  </a:lnTo>
                  <a:lnTo>
                    <a:pt x="18" y="72"/>
                  </a:lnTo>
                  <a:lnTo>
                    <a:pt x="24" y="80"/>
                  </a:lnTo>
                  <a:lnTo>
                    <a:pt x="38" y="92"/>
                  </a:lnTo>
                  <a:lnTo>
                    <a:pt x="46" y="96"/>
                  </a:lnTo>
                  <a:lnTo>
                    <a:pt x="50" y="98"/>
                  </a:lnTo>
                  <a:lnTo>
                    <a:pt x="50" y="98"/>
                  </a:lnTo>
                  <a:lnTo>
                    <a:pt x="54" y="98"/>
                  </a:lnTo>
                  <a:lnTo>
                    <a:pt x="56" y="96"/>
                  </a:lnTo>
                  <a:lnTo>
                    <a:pt x="60" y="92"/>
                  </a:lnTo>
                  <a:lnTo>
                    <a:pt x="62" y="88"/>
                  </a:lnTo>
                  <a:lnTo>
                    <a:pt x="62" y="88"/>
                  </a:lnTo>
                  <a:lnTo>
                    <a:pt x="66" y="86"/>
                  </a:lnTo>
                  <a:lnTo>
                    <a:pt x="66" y="86"/>
                  </a:lnTo>
                  <a:lnTo>
                    <a:pt x="70" y="86"/>
                  </a:lnTo>
                  <a:lnTo>
                    <a:pt x="70" y="82"/>
                  </a:lnTo>
                  <a:lnTo>
                    <a:pt x="72" y="72"/>
                  </a:lnTo>
                  <a:lnTo>
                    <a:pt x="72" y="72"/>
                  </a:lnTo>
                  <a:lnTo>
                    <a:pt x="72" y="72"/>
                  </a:lnTo>
                  <a:lnTo>
                    <a:pt x="74" y="72"/>
                  </a:lnTo>
                  <a:lnTo>
                    <a:pt x="78" y="74"/>
                  </a:lnTo>
                  <a:lnTo>
                    <a:pt x="82" y="76"/>
                  </a:lnTo>
                  <a:lnTo>
                    <a:pt x="84" y="76"/>
                  </a:lnTo>
                  <a:lnTo>
                    <a:pt x="88" y="76"/>
                  </a:lnTo>
                  <a:lnTo>
                    <a:pt x="88" y="76"/>
                  </a:lnTo>
                  <a:lnTo>
                    <a:pt x="88" y="74"/>
                  </a:lnTo>
                  <a:lnTo>
                    <a:pt x="90" y="70"/>
                  </a:lnTo>
                  <a:lnTo>
                    <a:pt x="90" y="60"/>
                  </a:lnTo>
                  <a:lnTo>
                    <a:pt x="90" y="50"/>
                  </a:lnTo>
                  <a:lnTo>
                    <a:pt x="92" y="48"/>
                  </a:lnTo>
                  <a:lnTo>
                    <a:pt x="96" y="46"/>
                  </a:lnTo>
                  <a:lnTo>
                    <a:pt x="96" y="46"/>
                  </a:lnTo>
                  <a:lnTo>
                    <a:pt x="98" y="44"/>
                  </a:lnTo>
                  <a:lnTo>
                    <a:pt x="100" y="42"/>
                  </a:lnTo>
                  <a:lnTo>
                    <a:pt x="100" y="30"/>
                  </a:lnTo>
                  <a:lnTo>
                    <a:pt x="96" y="16"/>
                  </a:lnTo>
                  <a:lnTo>
                    <a:pt x="94" y="4"/>
                  </a:lnTo>
                  <a:lnTo>
                    <a:pt x="94" y="4"/>
                  </a:lnTo>
                  <a:lnTo>
                    <a:pt x="92" y="2"/>
                  </a:lnTo>
                  <a:lnTo>
                    <a:pt x="88" y="2"/>
                  </a:lnTo>
                  <a:lnTo>
                    <a:pt x="76" y="4"/>
                  </a:lnTo>
                  <a:lnTo>
                    <a:pt x="62" y="10"/>
                  </a:lnTo>
                  <a:lnTo>
                    <a:pt x="48" y="14"/>
                  </a:lnTo>
                  <a:lnTo>
                    <a:pt x="48" y="1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8" name="Freeform 105"/>
            <p:cNvSpPr>
              <a:spLocks/>
            </p:cNvSpPr>
            <p:nvPr/>
          </p:nvSpPr>
          <p:spPr bwMode="auto">
            <a:xfrm>
              <a:off x="12541250" y="5689600"/>
              <a:ext cx="206375" cy="187325"/>
            </a:xfrm>
            <a:custGeom>
              <a:avLst/>
              <a:gdLst>
                <a:gd name="T0" fmla="*/ 102 w 130"/>
                <a:gd name="T1" fmla="*/ 10 h 118"/>
                <a:gd name="T2" fmla="*/ 102 w 130"/>
                <a:gd name="T3" fmla="*/ 16 h 118"/>
                <a:gd name="T4" fmla="*/ 90 w 130"/>
                <a:gd name="T5" fmla="*/ 18 h 118"/>
                <a:gd name="T6" fmla="*/ 86 w 130"/>
                <a:gd name="T7" fmla="*/ 24 h 118"/>
                <a:gd name="T8" fmla="*/ 84 w 130"/>
                <a:gd name="T9" fmla="*/ 28 h 118"/>
                <a:gd name="T10" fmla="*/ 78 w 130"/>
                <a:gd name="T11" fmla="*/ 32 h 118"/>
                <a:gd name="T12" fmla="*/ 70 w 130"/>
                <a:gd name="T13" fmla="*/ 34 h 118"/>
                <a:gd name="T14" fmla="*/ 70 w 130"/>
                <a:gd name="T15" fmla="*/ 36 h 118"/>
                <a:gd name="T16" fmla="*/ 68 w 130"/>
                <a:gd name="T17" fmla="*/ 40 h 118"/>
                <a:gd name="T18" fmla="*/ 52 w 130"/>
                <a:gd name="T19" fmla="*/ 36 h 118"/>
                <a:gd name="T20" fmla="*/ 46 w 130"/>
                <a:gd name="T21" fmla="*/ 32 h 118"/>
                <a:gd name="T22" fmla="*/ 40 w 130"/>
                <a:gd name="T23" fmla="*/ 32 h 118"/>
                <a:gd name="T24" fmla="*/ 24 w 130"/>
                <a:gd name="T25" fmla="*/ 44 h 118"/>
                <a:gd name="T26" fmla="*/ 14 w 130"/>
                <a:gd name="T27" fmla="*/ 50 h 118"/>
                <a:gd name="T28" fmla="*/ 6 w 130"/>
                <a:gd name="T29" fmla="*/ 56 h 118"/>
                <a:gd name="T30" fmla="*/ 0 w 130"/>
                <a:gd name="T31" fmla="*/ 74 h 118"/>
                <a:gd name="T32" fmla="*/ 4 w 130"/>
                <a:gd name="T33" fmla="*/ 78 h 118"/>
                <a:gd name="T34" fmla="*/ 10 w 130"/>
                <a:gd name="T35" fmla="*/ 76 h 118"/>
                <a:gd name="T36" fmla="*/ 22 w 130"/>
                <a:gd name="T37" fmla="*/ 66 h 118"/>
                <a:gd name="T38" fmla="*/ 28 w 130"/>
                <a:gd name="T39" fmla="*/ 64 h 118"/>
                <a:gd name="T40" fmla="*/ 36 w 130"/>
                <a:gd name="T41" fmla="*/ 60 h 118"/>
                <a:gd name="T42" fmla="*/ 48 w 130"/>
                <a:gd name="T43" fmla="*/ 58 h 118"/>
                <a:gd name="T44" fmla="*/ 52 w 130"/>
                <a:gd name="T45" fmla="*/ 60 h 118"/>
                <a:gd name="T46" fmla="*/ 58 w 130"/>
                <a:gd name="T47" fmla="*/ 80 h 118"/>
                <a:gd name="T48" fmla="*/ 62 w 130"/>
                <a:gd name="T49" fmla="*/ 96 h 118"/>
                <a:gd name="T50" fmla="*/ 70 w 130"/>
                <a:gd name="T51" fmla="*/ 104 h 118"/>
                <a:gd name="T52" fmla="*/ 82 w 130"/>
                <a:gd name="T53" fmla="*/ 108 h 118"/>
                <a:gd name="T54" fmla="*/ 94 w 130"/>
                <a:gd name="T55" fmla="*/ 118 h 118"/>
                <a:gd name="T56" fmla="*/ 98 w 130"/>
                <a:gd name="T57" fmla="*/ 118 h 118"/>
                <a:gd name="T58" fmla="*/ 102 w 130"/>
                <a:gd name="T59" fmla="*/ 114 h 118"/>
                <a:gd name="T60" fmla="*/ 100 w 130"/>
                <a:gd name="T61" fmla="*/ 94 h 118"/>
                <a:gd name="T62" fmla="*/ 98 w 130"/>
                <a:gd name="T63" fmla="*/ 84 h 118"/>
                <a:gd name="T64" fmla="*/ 102 w 130"/>
                <a:gd name="T65" fmla="*/ 80 h 118"/>
                <a:gd name="T66" fmla="*/ 118 w 130"/>
                <a:gd name="T67" fmla="*/ 78 h 118"/>
                <a:gd name="T68" fmla="*/ 128 w 130"/>
                <a:gd name="T69" fmla="*/ 72 h 118"/>
                <a:gd name="T70" fmla="*/ 130 w 130"/>
                <a:gd name="T71" fmla="*/ 68 h 118"/>
                <a:gd name="T72" fmla="*/ 128 w 130"/>
                <a:gd name="T73" fmla="*/ 44 h 118"/>
                <a:gd name="T74" fmla="*/ 120 w 130"/>
                <a:gd name="T75" fmla="*/ 12 h 118"/>
                <a:gd name="T76" fmla="*/ 120 w 130"/>
                <a:gd name="T77" fmla="*/ 6 h 118"/>
                <a:gd name="T78" fmla="*/ 112 w 130"/>
                <a:gd name="T79" fmla="*/ 0 h 118"/>
                <a:gd name="T80" fmla="*/ 104 w 130"/>
                <a:gd name="T81" fmla="*/ 0 h 118"/>
                <a:gd name="T82" fmla="*/ 100 w 130"/>
                <a:gd name="T83" fmla="*/ 6 h 118"/>
                <a:gd name="T84" fmla="*/ 102 w 130"/>
                <a:gd name="T85"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 h="118">
                  <a:moveTo>
                    <a:pt x="102" y="10"/>
                  </a:moveTo>
                  <a:lnTo>
                    <a:pt x="102" y="10"/>
                  </a:lnTo>
                  <a:lnTo>
                    <a:pt x="102" y="14"/>
                  </a:lnTo>
                  <a:lnTo>
                    <a:pt x="102" y="16"/>
                  </a:lnTo>
                  <a:lnTo>
                    <a:pt x="96" y="18"/>
                  </a:lnTo>
                  <a:lnTo>
                    <a:pt x="90" y="18"/>
                  </a:lnTo>
                  <a:lnTo>
                    <a:pt x="88" y="20"/>
                  </a:lnTo>
                  <a:lnTo>
                    <a:pt x="86" y="24"/>
                  </a:lnTo>
                  <a:lnTo>
                    <a:pt x="86" y="24"/>
                  </a:lnTo>
                  <a:lnTo>
                    <a:pt x="84" y="28"/>
                  </a:lnTo>
                  <a:lnTo>
                    <a:pt x="82" y="30"/>
                  </a:lnTo>
                  <a:lnTo>
                    <a:pt x="78" y="32"/>
                  </a:lnTo>
                  <a:lnTo>
                    <a:pt x="72" y="32"/>
                  </a:lnTo>
                  <a:lnTo>
                    <a:pt x="70" y="34"/>
                  </a:lnTo>
                  <a:lnTo>
                    <a:pt x="70" y="36"/>
                  </a:lnTo>
                  <a:lnTo>
                    <a:pt x="70" y="36"/>
                  </a:lnTo>
                  <a:lnTo>
                    <a:pt x="70" y="40"/>
                  </a:lnTo>
                  <a:lnTo>
                    <a:pt x="68" y="40"/>
                  </a:lnTo>
                  <a:lnTo>
                    <a:pt x="62" y="40"/>
                  </a:lnTo>
                  <a:lnTo>
                    <a:pt x="52" y="36"/>
                  </a:lnTo>
                  <a:lnTo>
                    <a:pt x="46" y="32"/>
                  </a:lnTo>
                  <a:lnTo>
                    <a:pt x="46" y="32"/>
                  </a:lnTo>
                  <a:lnTo>
                    <a:pt x="42" y="30"/>
                  </a:lnTo>
                  <a:lnTo>
                    <a:pt x="40" y="32"/>
                  </a:lnTo>
                  <a:lnTo>
                    <a:pt x="32" y="36"/>
                  </a:lnTo>
                  <a:lnTo>
                    <a:pt x="24" y="44"/>
                  </a:lnTo>
                  <a:lnTo>
                    <a:pt x="14" y="50"/>
                  </a:lnTo>
                  <a:lnTo>
                    <a:pt x="14" y="50"/>
                  </a:lnTo>
                  <a:lnTo>
                    <a:pt x="10" y="52"/>
                  </a:lnTo>
                  <a:lnTo>
                    <a:pt x="6" y="56"/>
                  </a:lnTo>
                  <a:lnTo>
                    <a:pt x="2" y="66"/>
                  </a:lnTo>
                  <a:lnTo>
                    <a:pt x="0" y="74"/>
                  </a:lnTo>
                  <a:lnTo>
                    <a:pt x="2" y="76"/>
                  </a:lnTo>
                  <a:lnTo>
                    <a:pt x="4" y="78"/>
                  </a:lnTo>
                  <a:lnTo>
                    <a:pt x="4" y="78"/>
                  </a:lnTo>
                  <a:lnTo>
                    <a:pt x="10" y="76"/>
                  </a:lnTo>
                  <a:lnTo>
                    <a:pt x="16" y="70"/>
                  </a:lnTo>
                  <a:lnTo>
                    <a:pt x="22" y="66"/>
                  </a:lnTo>
                  <a:lnTo>
                    <a:pt x="28" y="64"/>
                  </a:lnTo>
                  <a:lnTo>
                    <a:pt x="28" y="64"/>
                  </a:lnTo>
                  <a:lnTo>
                    <a:pt x="34" y="64"/>
                  </a:lnTo>
                  <a:lnTo>
                    <a:pt x="36" y="60"/>
                  </a:lnTo>
                  <a:lnTo>
                    <a:pt x="40" y="58"/>
                  </a:lnTo>
                  <a:lnTo>
                    <a:pt x="48" y="58"/>
                  </a:lnTo>
                  <a:lnTo>
                    <a:pt x="48" y="58"/>
                  </a:lnTo>
                  <a:lnTo>
                    <a:pt x="52" y="60"/>
                  </a:lnTo>
                  <a:lnTo>
                    <a:pt x="54" y="66"/>
                  </a:lnTo>
                  <a:lnTo>
                    <a:pt x="58" y="80"/>
                  </a:lnTo>
                  <a:lnTo>
                    <a:pt x="60" y="88"/>
                  </a:lnTo>
                  <a:lnTo>
                    <a:pt x="62" y="96"/>
                  </a:lnTo>
                  <a:lnTo>
                    <a:pt x="64" y="102"/>
                  </a:lnTo>
                  <a:lnTo>
                    <a:pt x="70" y="104"/>
                  </a:lnTo>
                  <a:lnTo>
                    <a:pt x="70" y="104"/>
                  </a:lnTo>
                  <a:lnTo>
                    <a:pt x="82" y="108"/>
                  </a:lnTo>
                  <a:lnTo>
                    <a:pt x="88" y="112"/>
                  </a:lnTo>
                  <a:lnTo>
                    <a:pt x="94" y="118"/>
                  </a:lnTo>
                  <a:lnTo>
                    <a:pt x="98" y="118"/>
                  </a:lnTo>
                  <a:lnTo>
                    <a:pt x="98" y="118"/>
                  </a:lnTo>
                  <a:lnTo>
                    <a:pt x="102" y="118"/>
                  </a:lnTo>
                  <a:lnTo>
                    <a:pt x="102" y="114"/>
                  </a:lnTo>
                  <a:lnTo>
                    <a:pt x="102" y="104"/>
                  </a:lnTo>
                  <a:lnTo>
                    <a:pt x="100" y="94"/>
                  </a:lnTo>
                  <a:lnTo>
                    <a:pt x="98" y="84"/>
                  </a:lnTo>
                  <a:lnTo>
                    <a:pt x="98" y="84"/>
                  </a:lnTo>
                  <a:lnTo>
                    <a:pt x="100" y="82"/>
                  </a:lnTo>
                  <a:lnTo>
                    <a:pt x="102" y="80"/>
                  </a:lnTo>
                  <a:lnTo>
                    <a:pt x="110" y="80"/>
                  </a:lnTo>
                  <a:lnTo>
                    <a:pt x="118" y="78"/>
                  </a:lnTo>
                  <a:lnTo>
                    <a:pt x="124" y="76"/>
                  </a:lnTo>
                  <a:lnTo>
                    <a:pt x="128" y="72"/>
                  </a:lnTo>
                  <a:lnTo>
                    <a:pt x="128" y="72"/>
                  </a:lnTo>
                  <a:lnTo>
                    <a:pt x="130" y="68"/>
                  </a:lnTo>
                  <a:lnTo>
                    <a:pt x="130" y="60"/>
                  </a:lnTo>
                  <a:lnTo>
                    <a:pt x="128" y="44"/>
                  </a:lnTo>
                  <a:lnTo>
                    <a:pt x="124" y="28"/>
                  </a:lnTo>
                  <a:lnTo>
                    <a:pt x="120" y="12"/>
                  </a:lnTo>
                  <a:lnTo>
                    <a:pt x="120" y="12"/>
                  </a:lnTo>
                  <a:lnTo>
                    <a:pt x="120" y="6"/>
                  </a:lnTo>
                  <a:lnTo>
                    <a:pt x="116" y="2"/>
                  </a:lnTo>
                  <a:lnTo>
                    <a:pt x="112" y="0"/>
                  </a:lnTo>
                  <a:lnTo>
                    <a:pt x="108" y="0"/>
                  </a:lnTo>
                  <a:lnTo>
                    <a:pt x="104" y="0"/>
                  </a:lnTo>
                  <a:lnTo>
                    <a:pt x="102" y="2"/>
                  </a:lnTo>
                  <a:lnTo>
                    <a:pt x="100" y="6"/>
                  </a:lnTo>
                  <a:lnTo>
                    <a:pt x="102" y="10"/>
                  </a:lnTo>
                  <a:lnTo>
                    <a:pt x="102" y="10"/>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19" name="Freeform 106"/>
            <p:cNvSpPr>
              <a:spLocks/>
            </p:cNvSpPr>
            <p:nvPr/>
          </p:nvSpPr>
          <p:spPr bwMode="auto">
            <a:xfrm>
              <a:off x="13169900" y="7747000"/>
              <a:ext cx="53975" cy="19050"/>
            </a:xfrm>
            <a:custGeom>
              <a:avLst/>
              <a:gdLst>
                <a:gd name="T0" fmla="*/ 0 w 34"/>
                <a:gd name="T1" fmla="*/ 8 h 12"/>
                <a:gd name="T2" fmla="*/ 0 w 34"/>
                <a:gd name="T3" fmla="*/ 8 h 12"/>
                <a:gd name="T4" fmla="*/ 8 w 34"/>
                <a:gd name="T5" fmla="*/ 12 h 12"/>
                <a:gd name="T6" fmla="*/ 18 w 34"/>
                <a:gd name="T7" fmla="*/ 12 h 12"/>
                <a:gd name="T8" fmla="*/ 28 w 34"/>
                <a:gd name="T9" fmla="*/ 8 h 12"/>
                <a:gd name="T10" fmla="*/ 32 w 34"/>
                <a:gd name="T11" fmla="*/ 6 h 12"/>
                <a:gd name="T12" fmla="*/ 34 w 34"/>
                <a:gd name="T13" fmla="*/ 4 h 12"/>
                <a:gd name="T14" fmla="*/ 34 w 34"/>
                <a:gd name="T15" fmla="*/ 4 h 12"/>
                <a:gd name="T16" fmla="*/ 32 w 34"/>
                <a:gd name="T17" fmla="*/ 2 h 12"/>
                <a:gd name="T18" fmla="*/ 28 w 34"/>
                <a:gd name="T19" fmla="*/ 0 h 12"/>
                <a:gd name="T20" fmla="*/ 16 w 34"/>
                <a:gd name="T21" fmla="*/ 0 h 12"/>
                <a:gd name="T22" fmla="*/ 4 w 34"/>
                <a:gd name="T23" fmla="*/ 4 h 12"/>
                <a:gd name="T24" fmla="*/ 0 w 34"/>
                <a:gd name="T25" fmla="*/ 6 h 12"/>
                <a:gd name="T26" fmla="*/ 0 w 34"/>
                <a:gd name="T27" fmla="*/ 8 h 12"/>
                <a:gd name="T28" fmla="*/ 0 w 34"/>
                <a:gd name="T2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12">
                  <a:moveTo>
                    <a:pt x="0" y="8"/>
                  </a:moveTo>
                  <a:lnTo>
                    <a:pt x="0" y="8"/>
                  </a:lnTo>
                  <a:lnTo>
                    <a:pt x="8" y="12"/>
                  </a:lnTo>
                  <a:lnTo>
                    <a:pt x="18" y="12"/>
                  </a:lnTo>
                  <a:lnTo>
                    <a:pt x="28" y="8"/>
                  </a:lnTo>
                  <a:lnTo>
                    <a:pt x="32" y="6"/>
                  </a:lnTo>
                  <a:lnTo>
                    <a:pt x="34" y="4"/>
                  </a:lnTo>
                  <a:lnTo>
                    <a:pt x="34" y="4"/>
                  </a:lnTo>
                  <a:lnTo>
                    <a:pt x="32" y="2"/>
                  </a:lnTo>
                  <a:lnTo>
                    <a:pt x="28" y="0"/>
                  </a:lnTo>
                  <a:lnTo>
                    <a:pt x="16" y="0"/>
                  </a:lnTo>
                  <a:lnTo>
                    <a:pt x="4" y="4"/>
                  </a:lnTo>
                  <a:lnTo>
                    <a:pt x="0" y="6"/>
                  </a:lnTo>
                  <a:lnTo>
                    <a:pt x="0" y="8"/>
                  </a:lnTo>
                  <a:lnTo>
                    <a:pt x="0" y="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0" name="Freeform 107"/>
            <p:cNvSpPr>
              <a:spLocks/>
            </p:cNvSpPr>
            <p:nvPr/>
          </p:nvSpPr>
          <p:spPr bwMode="auto">
            <a:xfrm>
              <a:off x="12344400" y="5629275"/>
              <a:ext cx="95250" cy="123825"/>
            </a:xfrm>
            <a:custGeom>
              <a:avLst/>
              <a:gdLst>
                <a:gd name="T0" fmla="*/ 36 w 60"/>
                <a:gd name="T1" fmla="*/ 32 h 78"/>
                <a:gd name="T2" fmla="*/ 36 w 60"/>
                <a:gd name="T3" fmla="*/ 32 h 78"/>
                <a:gd name="T4" fmla="*/ 12 w 60"/>
                <a:gd name="T5" fmla="*/ 56 h 78"/>
                <a:gd name="T6" fmla="*/ 2 w 60"/>
                <a:gd name="T7" fmla="*/ 68 h 78"/>
                <a:gd name="T8" fmla="*/ 0 w 60"/>
                <a:gd name="T9" fmla="*/ 74 h 78"/>
                <a:gd name="T10" fmla="*/ 0 w 60"/>
                <a:gd name="T11" fmla="*/ 76 h 78"/>
                <a:gd name="T12" fmla="*/ 0 w 60"/>
                <a:gd name="T13" fmla="*/ 76 h 78"/>
                <a:gd name="T14" fmla="*/ 2 w 60"/>
                <a:gd name="T15" fmla="*/ 78 h 78"/>
                <a:gd name="T16" fmla="*/ 4 w 60"/>
                <a:gd name="T17" fmla="*/ 78 h 78"/>
                <a:gd name="T18" fmla="*/ 8 w 60"/>
                <a:gd name="T19" fmla="*/ 74 h 78"/>
                <a:gd name="T20" fmla="*/ 22 w 60"/>
                <a:gd name="T21" fmla="*/ 60 h 78"/>
                <a:gd name="T22" fmla="*/ 36 w 60"/>
                <a:gd name="T23" fmla="*/ 44 h 78"/>
                <a:gd name="T24" fmla="*/ 50 w 60"/>
                <a:gd name="T25" fmla="*/ 30 h 78"/>
                <a:gd name="T26" fmla="*/ 50 w 60"/>
                <a:gd name="T27" fmla="*/ 30 h 78"/>
                <a:gd name="T28" fmla="*/ 58 w 60"/>
                <a:gd name="T29" fmla="*/ 22 h 78"/>
                <a:gd name="T30" fmla="*/ 60 w 60"/>
                <a:gd name="T31" fmla="*/ 16 h 78"/>
                <a:gd name="T32" fmla="*/ 60 w 60"/>
                <a:gd name="T33" fmla="*/ 8 h 78"/>
                <a:gd name="T34" fmla="*/ 56 w 60"/>
                <a:gd name="T35" fmla="*/ 2 h 78"/>
                <a:gd name="T36" fmla="*/ 56 w 60"/>
                <a:gd name="T37" fmla="*/ 2 h 78"/>
                <a:gd name="T38" fmla="*/ 56 w 60"/>
                <a:gd name="T39" fmla="*/ 0 h 78"/>
                <a:gd name="T40" fmla="*/ 54 w 60"/>
                <a:gd name="T41" fmla="*/ 0 h 78"/>
                <a:gd name="T42" fmla="*/ 48 w 60"/>
                <a:gd name="T43" fmla="*/ 8 h 78"/>
                <a:gd name="T44" fmla="*/ 42 w 60"/>
                <a:gd name="T45" fmla="*/ 20 h 78"/>
                <a:gd name="T46" fmla="*/ 36 w 60"/>
                <a:gd name="T47" fmla="*/ 32 h 78"/>
                <a:gd name="T48" fmla="*/ 36 w 60"/>
                <a:gd name="T49"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8">
                  <a:moveTo>
                    <a:pt x="36" y="32"/>
                  </a:moveTo>
                  <a:lnTo>
                    <a:pt x="36" y="32"/>
                  </a:lnTo>
                  <a:lnTo>
                    <a:pt x="12" y="56"/>
                  </a:lnTo>
                  <a:lnTo>
                    <a:pt x="2" y="68"/>
                  </a:lnTo>
                  <a:lnTo>
                    <a:pt x="0" y="74"/>
                  </a:lnTo>
                  <a:lnTo>
                    <a:pt x="0" y="76"/>
                  </a:lnTo>
                  <a:lnTo>
                    <a:pt x="0" y="76"/>
                  </a:lnTo>
                  <a:lnTo>
                    <a:pt x="2" y="78"/>
                  </a:lnTo>
                  <a:lnTo>
                    <a:pt x="4" y="78"/>
                  </a:lnTo>
                  <a:lnTo>
                    <a:pt x="8" y="74"/>
                  </a:lnTo>
                  <a:lnTo>
                    <a:pt x="22" y="60"/>
                  </a:lnTo>
                  <a:lnTo>
                    <a:pt x="36" y="44"/>
                  </a:lnTo>
                  <a:lnTo>
                    <a:pt x="50" y="30"/>
                  </a:lnTo>
                  <a:lnTo>
                    <a:pt x="50" y="30"/>
                  </a:lnTo>
                  <a:lnTo>
                    <a:pt x="58" y="22"/>
                  </a:lnTo>
                  <a:lnTo>
                    <a:pt x="60" y="16"/>
                  </a:lnTo>
                  <a:lnTo>
                    <a:pt x="60" y="8"/>
                  </a:lnTo>
                  <a:lnTo>
                    <a:pt x="56" y="2"/>
                  </a:lnTo>
                  <a:lnTo>
                    <a:pt x="56" y="2"/>
                  </a:lnTo>
                  <a:lnTo>
                    <a:pt x="56" y="0"/>
                  </a:lnTo>
                  <a:lnTo>
                    <a:pt x="54" y="0"/>
                  </a:lnTo>
                  <a:lnTo>
                    <a:pt x="48" y="8"/>
                  </a:lnTo>
                  <a:lnTo>
                    <a:pt x="42" y="20"/>
                  </a:lnTo>
                  <a:lnTo>
                    <a:pt x="36" y="32"/>
                  </a:lnTo>
                  <a:lnTo>
                    <a:pt x="36" y="3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1" name="Freeform 108"/>
            <p:cNvSpPr>
              <a:spLocks/>
            </p:cNvSpPr>
            <p:nvPr/>
          </p:nvSpPr>
          <p:spPr bwMode="auto">
            <a:xfrm>
              <a:off x="12398375" y="6045200"/>
              <a:ext cx="282575" cy="323850"/>
            </a:xfrm>
            <a:custGeom>
              <a:avLst/>
              <a:gdLst>
                <a:gd name="T0" fmla="*/ 24 w 178"/>
                <a:gd name="T1" fmla="*/ 66 h 204"/>
                <a:gd name="T2" fmla="*/ 12 w 178"/>
                <a:gd name="T3" fmla="*/ 100 h 204"/>
                <a:gd name="T4" fmla="*/ 0 w 178"/>
                <a:gd name="T5" fmla="*/ 124 h 204"/>
                <a:gd name="T6" fmla="*/ 2 w 178"/>
                <a:gd name="T7" fmla="*/ 138 h 204"/>
                <a:gd name="T8" fmla="*/ 22 w 178"/>
                <a:gd name="T9" fmla="*/ 144 h 204"/>
                <a:gd name="T10" fmla="*/ 28 w 178"/>
                <a:gd name="T11" fmla="*/ 148 h 204"/>
                <a:gd name="T12" fmla="*/ 30 w 178"/>
                <a:gd name="T13" fmla="*/ 172 h 204"/>
                <a:gd name="T14" fmla="*/ 26 w 178"/>
                <a:gd name="T15" fmla="*/ 194 h 204"/>
                <a:gd name="T16" fmla="*/ 32 w 178"/>
                <a:gd name="T17" fmla="*/ 204 h 204"/>
                <a:gd name="T18" fmla="*/ 46 w 178"/>
                <a:gd name="T19" fmla="*/ 192 h 204"/>
                <a:gd name="T20" fmla="*/ 46 w 178"/>
                <a:gd name="T21" fmla="*/ 178 h 204"/>
                <a:gd name="T22" fmla="*/ 42 w 178"/>
                <a:gd name="T23" fmla="*/ 168 h 204"/>
                <a:gd name="T24" fmla="*/ 44 w 178"/>
                <a:gd name="T25" fmla="*/ 128 h 204"/>
                <a:gd name="T26" fmla="*/ 48 w 178"/>
                <a:gd name="T27" fmla="*/ 124 h 204"/>
                <a:gd name="T28" fmla="*/ 62 w 178"/>
                <a:gd name="T29" fmla="*/ 130 h 204"/>
                <a:gd name="T30" fmla="*/ 60 w 178"/>
                <a:gd name="T31" fmla="*/ 140 h 204"/>
                <a:gd name="T32" fmla="*/ 64 w 178"/>
                <a:gd name="T33" fmla="*/ 152 h 204"/>
                <a:gd name="T34" fmla="*/ 74 w 178"/>
                <a:gd name="T35" fmla="*/ 166 h 204"/>
                <a:gd name="T36" fmla="*/ 76 w 178"/>
                <a:gd name="T37" fmla="*/ 174 h 204"/>
                <a:gd name="T38" fmla="*/ 90 w 178"/>
                <a:gd name="T39" fmla="*/ 174 h 204"/>
                <a:gd name="T40" fmla="*/ 106 w 178"/>
                <a:gd name="T41" fmla="*/ 166 h 204"/>
                <a:gd name="T42" fmla="*/ 102 w 178"/>
                <a:gd name="T43" fmla="*/ 148 h 204"/>
                <a:gd name="T44" fmla="*/ 98 w 178"/>
                <a:gd name="T45" fmla="*/ 140 h 204"/>
                <a:gd name="T46" fmla="*/ 98 w 178"/>
                <a:gd name="T47" fmla="*/ 120 h 204"/>
                <a:gd name="T48" fmla="*/ 88 w 178"/>
                <a:gd name="T49" fmla="*/ 110 h 204"/>
                <a:gd name="T50" fmla="*/ 82 w 178"/>
                <a:gd name="T51" fmla="*/ 98 h 204"/>
                <a:gd name="T52" fmla="*/ 86 w 178"/>
                <a:gd name="T53" fmla="*/ 94 h 204"/>
                <a:gd name="T54" fmla="*/ 124 w 178"/>
                <a:gd name="T55" fmla="*/ 72 h 204"/>
                <a:gd name="T56" fmla="*/ 128 w 178"/>
                <a:gd name="T57" fmla="*/ 64 h 204"/>
                <a:gd name="T58" fmla="*/ 100 w 178"/>
                <a:gd name="T59" fmla="*/ 64 h 204"/>
                <a:gd name="T60" fmla="*/ 76 w 178"/>
                <a:gd name="T61" fmla="*/ 76 h 204"/>
                <a:gd name="T62" fmla="*/ 70 w 178"/>
                <a:gd name="T63" fmla="*/ 86 h 204"/>
                <a:gd name="T64" fmla="*/ 52 w 178"/>
                <a:gd name="T65" fmla="*/ 82 h 204"/>
                <a:gd name="T66" fmla="*/ 38 w 178"/>
                <a:gd name="T67" fmla="*/ 64 h 204"/>
                <a:gd name="T68" fmla="*/ 40 w 178"/>
                <a:gd name="T69" fmla="*/ 50 h 204"/>
                <a:gd name="T70" fmla="*/ 64 w 178"/>
                <a:gd name="T71" fmla="*/ 34 h 204"/>
                <a:gd name="T72" fmla="*/ 106 w 178"/>
                <a:gd name="T73" fmla="*/ 30 h 204"/>
                <a:gd name="T74" fmla="*/ 128 w 178"/>
                <a:gd name="T75" fmla="*/ 34 h 204"/>
                <a:gd name="T76" fmla="*/ 150 w 178"/>
                <a:gd name="T77" fmla="*/ 32 h 204"/>
                <a:gd name="T78" fmla="*/ 176 w 178"/>
                <a:gd name="T79" fmla="*/ 6 h 204"/>
                <a:gd name="T80" fmla="*/ 176 w 178"/>
                <a:gd name="T81" fmla="*/ 0 h 204"/>
                <a:gd name="T82" fmla="*/ 146 w 178"/>
                <a:gd name="T83" fmla="*/ 18 h 204"/>
                <a:gd name="T84" fmla="*/ 114 w 178"/>
                <a:gd name="T85" fmla="*/ 20 h 204"/>
                <a:gd name="T86" fmla="*/ 78 w 178"/>
                <a:gd name="T87" fmla="*/ 10 h 204"/>
                <a:gd name="T88" fmla="*/ 64 w 178"/>
                <a:gd name="T89" fmla="*/ 10 h 204"/>
                <a:gd name="T90" fmla="*/ 50 w 178"/>
                <a:gd name="T91" fmla="*/ 22 h 204"/>
                <a:gd name="T92" fmla="*/ 40 w 178"/>
                <a:gd name="T93" fmla="*/ 26 h 204"/>
                <a:gd name="T94" fmla="*/ 30 w 178"/>
                <a:gd name="T95" fmla="*/ 56 h 204"/>
                <a:gd name="T96" fmla="*/ 26 w 178"/>
                <a:gd name="T97" fmla="*/ 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8" h="204">
                  <a:moveTo>
                    <a:pt x="26" y="64"/>
                  </a:moveTo>
                  <a:lnTo>
                    <a:pt x="26" y="64"/>
                  </a:lnTo>
                  <a:lnTo>
                    <a:pt x="24" y="66"/>
                  </a:lnTo>
                  <a:lnTo>
                    <a:pt x="22" y="70"/>
                  </a:lnTo>
                  <a:lnTo>
                    <a:pt x="18" y="84"/>
                  </a:lnTo>
                  <a:lnTo>
                    <a:pt x="12" y="100"/>
                  </a:lnTo>
                  <a:lnTo>
                    <a:pt x="4" y="116"/>
                  </a:lnTo>
                  <a:lnTo>
                    <a:pt x="4" y="116"/>
                  </a:lnTo>
                  <a:lnTo>
                    <a:pt x="0" y="124"/>
                  </a:lnTo>
                  <a:lnTo>
                    <a:pt x="0" y="130"/>
                  </a:lnTo>
                  <a:lnTo>
                    <a:pt x="0" y="136"/>
                  </a:lnTo>
                  <a:lnTo>
                    <a:pt x="2" y="138"/>
                  </a:lnTo>
                  <a:lnTo>
                    <a:pt x="6" y="142"/>
                  </a:lnTo>
                  <a:lnTo>
                    <a:pt x="12" y="142"/>
                  </a:lnTo>
                  <a:lnTo>
                    <a:pt x="22" y="144"/>
                  </a:lnTo>
                  <a:lnTo>
                    <a:pt x="22" y="144"/>
                  </a:lnTo>
                  <a:lnTo>
                    <a:pt x="26" y="144"/>
                  </a:lnTo>
                  <a:lnTo>
                    <a:pt x="28" y="148"/>
                  </a:lnTo>
                  <a:lnTo>
                    <a:pt x="30" y="154"/>
                  </a:lnTo>
                  <a:lnTo>
                    <a:pt x="30" y="164"/>
                  </a:lnTo>
                  <a:lnTo>
                    <a:pt x="30" y="172"/>
                  </a:lnTo>
                  <a:lnTo>
                    <a:pt x="30" y="172"/>
                  </a:lnTo>
                  <a:lnTo>
                    <a:pt x="28" y="182"/>
                  </a:lnTo>
                  <a:lnTo>
                    <a:pt x="26" y="194"/>
                  </a:lnTo>
                  <a:lnTo>
                    <a:pt x="28" y="202"/>
                  </a:lnTo>
                  <a:lnTo>
                    <a:pt x="30" y="204"/>
                  </a:lnTo>
                  <a:lnTo>
                    <a:pt x="32" y="204"/>
                  </a:lnTo>
                  <a:lnTo>
                    <a:pt x="32" y="204"/>
                  </a:lnTo>
                  <a:lnTo>
                    <a:pt x="42" y="198"/>
                  </a:lnTo>
                  <a:lnTo>
                    <a:pt x="46" y="192"/>
                  </a:lnTo>
                  <a:lnTo>
                    <a:pt x="48" y="184"/>
                  </a:lnTo>
                  <a:lnTo>
                    <a:pt x="48" y="180"/>
                  </a:lnTo>
                  <a:lnTo>
                    <a:pt x="46" y="178"/>
                  </a:lnTo>
                  <a:lnTo>
                    <a:pt x="46" y="178"/>
                  </a:lnTo>
                  <a:lnTo>
                    <a:pt x="44" y="174"/>
                  </a:lnTo>
                  <a:lnTo>
                    <a:pt x="42" y="168"/>
                  </a:lnTo>
                  <a:lnTo>
                    <a:pt x="40" y="154"/>
                  </a:lnTo>
                  <a:lnTo>
                    <a:pt x="42" y="138"/>
                  </a:lnTo>
                  <a:lnTo>
                    <a:pt x="44" y="128"/>
                  </a:lnTo>
                  <a:lnTo>
                    <a:pt x="44" y="128"/>
                  </a:lnTo>
                  <a:lnTo>
                    <a:pt x="46" y="126"/>
                  </a:lnTo>
                  <a:lnTo>
                    <a:pt x="48" y="124"/>
                  </a:lnTo>
                  <a:lnTo>
                    <a:pt x="56" y="124"/>
                  </a:lnTo>
                  <a:lnTo>
                    <a:pt x="60" y="128"/>
                  </a:lnTo>
                  <a:lnTo>
                    <a:pt x="62" y="130"/>
                  </a:lnTo>
                  <a:lnTo>
                    <a:pt x="62" y="134"/>
                  </a:lnTo>
                  <a:lnTo>
                    <a:pt x="60" y="140"/>
                  </a:lnTo>
                  <a:lnTo>
                    <a:pt x="60" y="140"/>
                  </a:lnTo>
                  <a:lnTo>
                    <a:pt x="60" y="144"/>
                  </a:lnTo>
                  <a:lnTo>
                    <a:pt x="60" y="146"/>
                  </a:lnTo>
                  <a:lnTo>
                    <a:pt x="64" y="152"/>
                  </a:lnTo>
                  <a:lnTo>
                    <a:pt x="72" y="158"/>
                  </a:lnTo>
                  <a:lnTo>
                    <a:pt x="74" y="162"/>
                  </a:lnTo>
                  <a:lnTo>
                    <a:pt x="74" y="166"/>
                  </a:lnTo>
                  <a:lnTo>
                    <a:pt x="74" y="166"/>
                  </a:lnTo>
                  <a:lnTo>
                    <a:pt x="74" y="172"/>
                  </a:lnTo>
                  <a:lnTo>
                    <a:pt x="76" y="174"/>
                  </a:lnTo>
                  <a:lnTo>
                    <a:pt x="78" y="176"/>
                  </a:lnTo>
                  <a:lnTo>
                    <a:pt x="82" y="176"/>
                  </a:lnTo>
                  <a:lnTo>
                    <a:pt x="90" y="174"/>
                  </a:lnTo>
                  <a:lnTo>
                    <a:pt x="100" y="170"/>
                  </a:lnTo>
                  <a:lnTo>
                    <a:pt x="100" y="170"/>
                  </a:lnTo>
                  <a:lnTo>
                    <a:pt x="106" y="166"/>
                  </a:lnTo>
                  <a:lnTo>
                    <a:pt x="108" y="162"/>
                  </a:lnTo>
                  <a:lnTo>
                    <a:pt x="106" y="156"/>
                  </a:lnTo>
                  <a:lnTo>
                    <a:pt x="102" y="148"/>
                  </a:lnTo>
                  <a:lnTo>
                    <a:pt x="102" y="148"/>
                  </a:lnTo>
                  <a:lnTo>
                    <a:pt x="98" y="144"/>
                  </a:lnTo>
                  <a:lnTo>
                    <a:pt x="98" y="140"/>
                  </a:lnTo>
                  <a:lnTo>
                    <a:pt x="100" y="132"/>
                  </a:lnTo>
                  <a:lnTo>
                    <a:pt x="100" y="124"/>
                  </a:lnTo>
                  <a:lnTo>
                    <a:pt x="98" y="120"/>
                  </a:lnTo>
                  <a:lnTo>
                    <a:pt x="96" y="118"/>
                  </a:lnTo>
                  <a:lnTo>
                    <a:pt x="96" y="118"/>
                  </a:lnTo>
                  <a:lnTo>
                    <a:pt x="88" y="110"/>
                  </a:lnTo>
                  <a:lnTo>
                    <a:pt x="82" y="104"/>
                  </a:lnTo>
                  <a:lnTo>
                    <a:pt x="82" y="100"/>
                  </a:lnTo>
                  <a:lnTo>
                    <a:pt x="82" y="98"/>
                  </a:lnTo>
                  <a:lnTo>
                    <a:pt x="84" y="96"/>
                  </a:lnTo>
                  <a:lnTo>
                    <a:pt x="86" y="94"/>
                  </a:lnTo>
                  <a:lnTo>
                    <a:pt x="86" y="94"/>
                  </a:lnTo>
                  <a:lnTo>
                    <a:pt x="98" y="90"/>
                  </a:lnTo>
                  <a:lnTo>
                    <a:pt x="112" y="82"/>
                  </a:lnTo>
                  <a:lnTo>
                    <a:pt x="124" y="72"/>
                  </a:lnTo>
                  <a:lnTo>
                    <a:pt x="128" y="68"/>
                  </a:lnTo>
                  <a:lnTo>
                    <a:pt x="128" y="64"/>
                  </a:lnTo>
                  <a:lnTo>
                    <a:pt x="128" y="64"/>
                  </a:lnTo>
                  <a:lnTo>
                    <a:pt x="124" y="62"/>
                  </a:lnTo>
                  <a:lnTo>
                    <a:pt x="118" y="62"/>
                  </a:lnTo>
                  <a:lnTo>
                    <a:pt x="100" y="64"/>
                  </a:lnTo>
                  <a:lnTo>
                    <a:pt x="90" y="68"/>
                  </a:lnTo>
                  <a:lnTo>
                    <a:pt x="82" y="72"/>
                  </a:lnTo>
                  <a:lnTo>
                    <a:pt x="76" y="76"/>
                  </a:lnTo>
                  <a:lnTo>
                    <a:pt x="72" y="82"/>
                  </a:lnTo>
                  <a:lnTo>
                    <a:pt x="72" y="82"/>
                  </a:lnTo>
                  <a:lnTo>
                    <a:pt x="70" y="86"/>
                  </a:lnTo>
                  <a:lnTo>
                    <a:pt x="64" y="86"/>
                  </a:lnTo>
                  <a:lnTo>
                    <a:pt x="58" y="86"/>
                  </a:lnTo>
                  <a:lnTo>
                    <a:pt x="52" y="82"/>
                  </a:lnTo>
                  <a:lnTo>
                    <a:pt x="46" y="78"/>
                  </a:lnTo>
                  <a:lnTo>
                    <a:pt x="42" y="72"/>
                  </a:lnTo>
                  <a:lnTo>
                    <a:pt x="38" y="64"/>
                  </a:lnTo>
                  <a:lnTo>
                    <a:pt x="38" y="54"/>
                  </a:lnTo>
                  <a:lnTo>
                    <a:pt x="38" y="54"/>
                  </a:lnTo>
                  <a:lnTo>
                    <a:pt x="40" y="50"/>
                  </a:lnTo>
                  <a:lnTo>
                    <a:pt x="42" y="46"/>
                  </a:lnTo>
                  <a:lnTo>
                    <a:pt x="52" y="40"/>
                  </a:lnTo>
                  <a:lnTo>
                    <a:pt x="64" y="34"/>
                  </a:lnTo>
                  <a:lnTo>
                    <a:pt x="78" y="32"/>
                  </a:lnTo>
                  <a:lnTo>
                    <a:pt x="92" y="30"/>
                  </a:lnTo>
                  <a:lnTo>
                    <a:pt x="106" y="30"/>
                  </a:lnTo>
                  <a:lnTo>
                    <a:pt x="120" y="32"/>
                  </a:lnTo>
                  <a:lnTo>
                    <a:pt x="128" y="34"/>
                  </a:lnTo>
                  <a:lnTo>
                    <a:pt x="128" y="34"/>
                  </a:lnTo>
                  <a:lnTo>
                    <a:pt x="136" y="36"/>
                  </a:lnTo>
                  <a:lnTo>
                    <a:pt x="144" y="36"/>
                  </a:lnTo>
                  <a:lnTo>
                    <a:pt x="150" y="32"/>
                  </a:lnTo>
                  <a:lnTo>
                    <a:pt x="156" y="28"/>
                  </a:lnTo>
                  <a:lnTo>
                    <a:pt x="168" y="18"/>
                  </a:lnTo>
                  <a:lnTo>
                    <a:pt x="176" y="6"/>
                  </a:lnTo>
                  <a:lnTo>
                    <a:pt x="176" y="6"/>
                  </a:lnTo>
                  <a:lnTo>
                    <a:pt x="178" y="2"/>
                  </a:lnTo>
                  <a:lnTo>
                    <a:pt x="176" y="0"/>
                  </a:lnTo>
                  <a:lnTo>
                    <a:pt x="170" y="4"/>
                  </a:lnTo>
                  <a:lnTo>
                    <a:pt x="146" y="18"/>
                  </a:lnTo>
                  <a:lnTo>
                    <a:pt x="146" y="18"/>
                  </a:lnTo>
                  <a:lnTo>
                    <a:pt x="140" y="20"/>
                  </a:lnTo>
                  <a:lnTo>
                    <a:pt x="134" y="20"/>
                  </a:lnTo>
                  <a:lnTo>
                    <a:pt x="114" y="20"/>
                  </a:lnTo>
                  <a:lnTo>
                    <a:pt x="96" y="16"/>
                  </a:lnTo>
                  <a:lnTo>
                    <a:pt x="78" y="10"/>
                  </a:lnTo>
                  <a:lnTo>
                    <a:pt x="78" y="10"/>
                  </a:lnTo>
                  <a:lnTo>
                    <a:pt x="72" y="8"/>
                  </a:lnTo>
                  <a:lnTo>
                    <a:pt x="68" y="10"/>
                  </a:lnTo>
                  <a:lnTo>
                    <a:pt x="64" y="10"/>
                  </a:lnTo>
                  <a:lnTo>
                    <a:pt x="60" y="14"/>
                  </a:lnTo>
                  <a:lnTo>
                    <a:pt x="54" y="20"/>
                  </a:lnTo>
                  <a:lnTo>
                    <a:pt x="50" y="22"/>
                  </a:lnTo>
                  <a:lnTo>
                    <a:pt x="46" y="24"/>
                  </a:lnTo>
                  <a:lnTo>
                    <a:pt x="46" y="24"/>
                  </a:lnTo>
                  <a:lnTo>
                    <a:pt x="40" y="26"/>
                  </a:lnTo>
                  <a:lnTo>
                    <a:pt x="36" y="30"/>
                  </a:lnTo>
                  <a:lnTo>
                    <a:pt x="32" y="44"/>
                  </a:lnTo>
                  <a:lnTo>
                    <a:pt x="30" y="56"/>
                  </a:lnTo>
                  <a:lnTo>
                    <a:pt x="28" y="62"/>
                  </a:lnTo>
                  <a:lnTo>
                    <a:pt x="26" y="64"/>
                  </a:lnTo>
                  <a:lnTo>
                    <a:pt x="26" y="6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2" name="Freeform 109"/>
            <p:cNvSpPr>
              <a:spLocks/>
            </p:cNvSpPr>
            <p:nvPr/>
          </p:nvSpPr>
          <p:spPr bwMode="auto">
            <a:xfrm>
              <a:off x="12468225" y="4994275"/>
              <a:ext cx="82550" cy="139700"/>
            </a:xfrm>
            <a:custGeom>
              <a:avLst/>
              <a:gdLst>
                <a:gd name="T0" fmla="*/ 16 w 52"/>
                <a:gd name="T1" fmla="*/ 88 h 88"/>
                <a:gd name="T2" fmla="*/ 16 w 52"/>
                <a:gd name="T3" fmla="*/ 88 h 88"/>
                <a:gd name="T4" fmla="*/ 20 w 52"/>
                <a:gd name="T5" fmla="*/ 82 h 88"/>
                <a:gd name="T6" fmla="*/ 26 w 52"/>
                <a:gd name="T7" fmla="*/ 72 h 88"/>
                <a:gd name="T8" fmla="*/ 40 w 52"/>
                <a:gd name="T9" fmla="*/ 46 h 88"/>
                <a:gd name="T10" fmla="*/ 50 w 52"/>
                <a:gd name="T11" fmla="*/ 18 h 88"/>
                <a:gd name="T12" fmla="*/ 52 w 52"/>
                <a:gd name="T13" fmla="*/ 8 h 88"/>
                <a:gd name="T14" fmla="*/ 50 w 52"/>
                <a:gd name="T15" fmla="*/ 2 h 88"/>
                <a:gd name="T16" fmla="*/ 50 w 52"/>
                <a:gd name="T17" fmla="*/ 2 h 88"/>
                <a:gd name="T18" fmla="*/ 46 w 52"/>
                <a:gd name="T19" fmla="*/ 0 h 88"/>
                <a:gd name="T20" fmla="*/ 42 w 52"/>
                <a:gd name="T21" fmla="*/ 0 h 88"/>
                <a:gd name="T22" fmla="*/ 34 w 52"/>
                <a:gd name="T23" fmla="*/ 2 h 88"/>
                <a:gd name="T24" fmla="*/ 28 w 52"/>
                <a:gd name="T25" fmla="*/ 6 h 88"/>
                <a:gd name="T26" fmla="*/ 20 w 52"/>
                <a:gd name="T27" fmla="*/ 12 h 88"/>
                <a:gd name="T28" fmla="*/ 12 w 52"/>
                <a:gd name="T29" fmla="*/ 20 h 88"/>
                <a:gd name="T30" fmla="*/ 6 w 52"/>
                <a:gd name="T31" fmla="*/ 30 h 88"/>
                <a:gd name="T32" fmla="*/ 2 w 52"/>
                <a:gd name="T33" fmla="*/ 40 h 88"/>
                <a:gd name="T34" fmla="*/ 2 w 52"/>
                <a:gd name="T35" fmla="*/ 40 h 88"/>
                <a:gd name="T36" fmla="*/ 0 w 52"/>
                <a:gd name="T37" fmla="*/ 52 h 88"/>
                <a:gd name="T38" fmla="*/ 0 w 52"/>
                <a:gd name="T39" fmla="*/ 62 h 88"/>
                <a:gd name="T40" fmla="*/ 2 w 52"/>
                <a:gd name="T41" fmla="*/ 70 h 88"/>
                <a:gd name="T42" fmla="*/ 6 w 52"/>
                <a:gd name="T43" fmla="*/ 76 h 88"/>
                <a:gd name="T44" fmla="*/ 12 w 52"/>
                <a:gd name="T45" fmla="*/ 86 h 88"/>
                <a:gd name="T46" fmla="*/ 16 w 52"/>
                <a:gd name="T47" fmla="*/ 88 h 88"/>
                <a:gd name="T48" fmla="*/ 16 w 52"/>
                <a:gd name="T4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88">
                  <a:moveTo>
                    <a:pt x="16" y="88"/>
                  </a:moveTo>
                  <a:lnTo>
                    <a:pt x="16" y="88"/>
                  </a:lnTo>
                  <a:lnTo>
                    <a:pt x="20" y="82"/>
                  </a:lnTo>
                  <a:lnTo>
                    <a:pt x="26" y="72"/>
                  </a:lnTo>
                  <a:lnTo>
                    <a:pt x="40" y="46"/>
                  </a:lnTo>
                  <a:lnTo>
                    <a:pt x="50" y="18"/>
                  </a:lnTo>
                  <a:lnTo>
                    <a:pt x="52" y="8"/>
                  </a:lnTo>
                  <a:lnTo>
                    <a:pt x="50" y="2"/>
                  </a:lnTo>
                  <a:lnTo>
                    <a:pt x="50" y="2"/>
                  </a:lnTo>
                  <a:lnTo>
                    <a:pt x="46" y="0"/>
                  </a:lnTo>
                  <a:lnTo>
                    <a:pt x="42" y="0"/>
                  </a:lnTo>
                  <a:lnTo>
                    <a:pt x="34" y="2"/>
                  </a:lnTo>
                  <a:lnTo>
                    <a:pt x="28" y="6"/>
                  </a:lnTo>
                  <a:lnTo>
                    <a:pt x="20" y="12"/>
                  </a:lnTo>
                  <a:lnTo>
                    <a:pt x="12" y="20"/>
                  </a:lnTo>
                  <a:lnTo>
                    <a:pt x="6" y="30"/>
                  </a:lnTo>
                  <a:lnTo>
                    <a:pt x="2" y="40"/>
                  </a:lnTo>
                  <a:lnTo>
                    <a:pt x="2" y="40"/>
                  </a:lnTo>
                  <a:lnTo>
                    <a:pt x="0" y="52"/>
                  </a:lnTo>
                  <a:lnTo>
                    <a:pt x="0" y="62"/>
                  </a:lnTo>
                  <a:lnTo>
                    <a:pt x="2" y="70"/>
                  </a:lnTo>
                  <a:lnTo>
                    <a:pt x="6" y="76"/>
                  </a:lnTo>
                  <a:lnTo>
                    <a:pt x="12" y="86"/>
                  </a:lnTo>
                  <a:lnTo>
                    <a:pt x="16" y="88"/>
                  </a:lnTo>
                  <a:lnTo>
                    <a:pt x="16" y="8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3" name="Freeform 110"/>
            <p:cNvSpPr>
              <a:spLocks/>
            </p:cNvSpPr>
            <p:nvPr/>
          </p:nvSpPr>
          <p:spPr bwMode="auto">
            <a:xfrm>
              <a:off x="12411075" y="6534150"/>
              <a:ext cx="79375" cy="38100"/>
            </a:xfrm>
            <a:custGeom>
              <a:avLst/>
              <a:gdLst>
                <a:gd name="T0" fmla="*/ 24 w 50"/>
                <a:gd name="T1" fmla="*/ 14 h 24"/>
                <a:gd name="T2" fmla="*/ 24 w 50"/>
                <a:gd name="T3" fmla="*/ 14 h 24"/>
                <a:gd name="T4" fmla="*/ 30 w 50"/>
                <a:gd name="T5" fmla="*/ 20 h 24"/>
                <a:gd name="T6" fmla="*/ 40 w 50"/>
                <a:gd name="T7" fmla="*/ 22 h 24"/>
                <a:gd name="T8" fmla="*/ 44 w 50"/>
                <a:gd name="T9" fmla="*/ 24 h 24"/>
                <a:gd name="T10" fmla="*/ 48 w 50"/>
                <a:gd name="T11" fmla="*/ 22 h 24"/>
                <a:gd name="T12" fmla="*/ 50 w 50"/>
                <a:gd name="T13" fmla="*/ 20 h 24"/>
                <a:gd name="T14" fmla="*/ 50 w 50"/>
                <a:gd name="T15" fmla="*/ 16 h 24"/>
                <a:gd name="T16" fmla="*/ 50 w 50"/>
                <a:gd name="T17" fmla="*/ 16 h 24"/>
                <a:gd name="T18" fmla="*/ 48 w 50"/>
                <a:gd name="T19" fmla="*/ 12 h 24"/>
                <a:gd name="T20" fmla="*/ 42 w 50"/>
                <a:gd name="T21" fmla="*/ 8 h 24"/>
                <a:gd name="T22" fmla="*/ 34 w 50"/>
                <a:gd name="T23" fmla="*/ 4 h 24"/>
                <a:gd name="T24" fmla="*/ 24 w 50"/>
                <a:gd name="T25" fmla="*/ 2 h 24"/>
                <a:gd name="T26" fmla="*/ 6 w 50"/>
                <a:gd name="T27" fmla="*/ 0 h 24"/>
                <a:gd name="T28" fmla="*/ 0 w 50"/>
                <a:gd name="T29" fmla="*/ 0 h 24"/>
                <a:gd name="T30" fmla="*/ 0 w 50"/>
                <a:gd name="T31" fmla="*/ 2 h 24"/>
                <a:gd name="T32" fmla="*/ 0 w 50"/>
                <a:gd name="T33" fmla="*/ 2 h 24"/>
                <a:gd name="T34" fmla="*/ 0 w 50"/>
                <a:gd name="T35" fmla="*/ 2 h 24"/>
                <a:gd name="T36" fmla="*/ 6 w 50"/>
                <a:gd name="T37" fmla="*/ 6 h 24"/>
                <a:gd name="T38" fmla="*/ 12 w 50"/>
                <a:gd name="T39" fmla="*/ 10 h 24"/>
                <a:gd name="T40" fmla="*/ 20 w 50"/>
                <a:gd name="T41" fmla="*/ 12 h 24"/>
                <a:gd name="T42" fmla="*/ 24 w 50"/>
                <a:gd name="T43" fmla="*/ 14 h 24"/>
                <a:gd name="T44" fmla="*/ 24 w 50"/>
                <a:gd name="T45"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24">
                  <a:moveTo>
                    <a:pt x="24" y="14"/>
                  </a:moveTo>
                  <a:lnTo>
                    <a:pt x="24" y="14"/>
                  </a:lnTo>
                  <a:lnTo>
                    <a:pt x="30" y="20"/>
                  </a:lnTo>
                  <a:lnTo>
                    <a:pt x="40" y="22"/>
                  </a:lnTo>
                  <a:lnTo>
                    <a:pt x="44" y="24"/>
                  </a:lnTo>
                  <a:lnTo>
                    <a:pt x="48" y="22"/>
                  </a:lnTo>
                  <a:lnTo>
                    <a:pt x="50" y="20"/>
                  </a:lnTo>
                  <a:lnTo>
                    <a:pt x="50" y="16"/>
                  </a:lnTo>
                  <a:lnTo>
                    <a:pt x="50" y="16"/>
                  </a:lnTo>
                  <a:lnTo>
                    <a:pt x="48" y="12"/>
                  </a:lnTo>
                  <a:lnTo>
                    <a:pt x="42" y="8"/>
                  </a:lnTo>
                  <a:lnTo>
                    <a:pt x="34" y="4"/>
                  </a:lnTo>
                  <a:lnTo>
                    <a:pt x="24" y="2"/>
                  </a:lnTo>
                  <a:lnTo>
                    <a:pt x="6" y="0"/>
                  </a:lnTo>
                  <a:lnTo>
                    <a:pt x="0" y="0"/>
                  </a:lnTo>
                  <a:lnTo>
                    <a:pt x="0" y="2"/>
                  </a:lnTo>
                  <a:lnTo>
                    <a:pt x="0" y="2"/>
                  </a:lnTo>
                  <a:lnTo>
                    <a:pt x="0" y="2"/>
                  </a:lnTo>
                  <a:lnTo>
                    <a:pt x="6" y="6"/>
                  </a:lnTo>
                  <a:lnTo>
                    <a:pt x="12" y="10"/>
                  </a:lnTo>
                  <a:lnTo>
                    <a:pt x="20" y="12"/>
                  </a:lnTo>
                  <a:lnTo>
                    <a:pt x="24" y="14"/>
                  </a:lnTo>
                  <a:lnTo>
                    <a:pt x="24" y="1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4" name="Freeform 111"/>
            <p:cNvSpPr>
              <a:spLocks/>
            </p:cNvSpPr>
            <p:nvPr/>
          </p:nvSpPr>
          <p:spPr bwMode="auto">
            <a:xfrm>
              <a:off x="12452350" y="5302250"/>
              <a:ext cx="254000" cy="374650"/>
            </a:xfrm>
            <a:custGeom>
              <a:avLst/>
              <a:gdLst>
                <a:gd name="T0" fmla="*/ 0 w 160"/>
                <a:gd name="T1" fmla="*/ 70 h 236"/>
                <a:gd name="T2" fmla="*/ 6 w 160"/>
                <a:gd name="T3" fmla="*/ 98 h 236"/>
                <a:gd name="T4" fmla="*/ 14 w 160"/>
                <a:gd name="T5" fmla="*/ 100 h 236"/>
                <a:gd name="T6" fmla="*/ 16 w 160"/>
                <a:gd name="T7" fmla="*/ 120 h 236"/>
                <a:gd name="T8" fmla="*/ 16 w 160"/>
                <a:gd name="T9" fmla="*/ 128 h 236"/>
                <a:gd name="T10" fmla="*/ 32 w 160"/>
                <a:gd name="T11" fmla="*/ 132 h 236"/>
                <a:gd name="T12" fmla="*/ 48 w 160"/>
                <a:gd name="T13" fmla="*/ 128 h 236"/>
                <a:gd name="T14" fmla="*/ 60 w 160"/>
                <a:gd name="T15" fmla="*/ 136 h 236"/>
                <a:gd name="T16" fmla="*/ 68 w 160"/>
                <a:gd name="T17" fmla="*/ 136 h 236"/>
                <a:gd name="T18" fmla="*/ 92 w 160"/>
                <a:gd name="T19" fmla="*/ 144 h 236"/>
                <a:gd name="T20" fmla="*/ 102 w 160"/>
                <a:gd name="T21" fmla="*/ 160 h 236"/>
                <a:gd name="T22" fmla="*/ 102 w 160"/>
                <a:gd name="T23" fmla="*/ 178 h 236"/>
                <a:gd name="T24" fmla="*/ 110 w 160"/>
                <a:gd name="T25" fmla="*/ 184 h 236"/>
                <a:gd name="T26" fmla="*/ 116 w 160"/>
                <a:gd name="T27" fmla="*/ 182 h 236"/>
                <a:gd name="T28" fmla="*/ 122 w 160"/>
                <a:gd name="T29" fmla="*/ 194 h 236"/>
                <a:gd name="T30" fmla="*/ 120 w 160"/>
                <a:gd name="T31" fmla="*/ 200 h 236"/>
                <a:gd name="T32" fmla="*/ 130 w 160"/>
                <a:gd name="T33" fmla="*/ 222 h 236"/>
                <a:gd name="T34" fmla="*/ 136 w 160"/>
                <a:gd name="T35" fmla="*/ 234 h 236"/>
                <a:gd name="T36" fmla="*/ 140 w 160"/>
                <a:gd name="T37" fmla="*/ 236 h 236"/>
                <a:gd name="T38" fmla="*/ 144 w 160"/>
                <a:gd name="T39" fmla="*/ 224 h 236"/>
                <a:gd name="T40" fmla="*/ 156 w 160"/>
                <a:gd name="T41" fmla="*/ 208 h 236"/>
                <a:gd name="T42" fmla="*/ 160 w 160"/>
                <a:gd name="T43" fmla="*/ 202 h 236"/>
                <a:gd name="T44" fmla="*/ 148 w 160"/>
                <a:gd name="T45" fmla="*/ 174 h 236"/>
                <a:gd name="T46" fmla="*/ 130 w 160"/>
                <a:gd name="T47" fmla="*/ 164 h 236"/>
                <a:gd name="T48" fmla="*/ 118 w 160"/>
                <a:gd name="T49" fmla="*/ 152 h 236"/>
                <a:gd name="T50" fmla="*/ 116 w 160"/>
                <a:gd name="T51" fmla="*/ 144 h 236"/>
                <a:gd name="T52" fmla="*/ 100 w 160"/>
                <a:gd name="T53" fmla="*/ 130 h 236"/>
                <a:gd name="T54" fmla="*/ 98 w 160"/>
                <a:gd name="T55" fmla="*/ 126 h 236"/>
                <a:gd name="T56" fmla="*/ 74 w 160"/>
                <a:gd name="T57" fmla="*/ 118 h 236"/>
                <a:gd name="T58" fmla="*/ 62 w 160"/>
                <a:gd name="T59" fmla="*/ 122 h 236"/>
                <a:gd name="T60" fmla="*/ 54 w 160"/>
                <a:gd name="T61" fmla="*/ 120 h 236"/>
                <a:gd name="T62" fmla="*/ 50 w 160"/>
                <a:gd name="T63" fmla="*/ 102 h 236"/>
                <a:gd name="T64" fmla="*/ 46 w 160"/>
                <a:gd name="T65" fmla="*/ 92 h 236"/>
                <a:gd name="T66" fmla="*/ 50 w 160"/>
                <a:gd name="T67" fmla="*/ 78 h 236"/>
                <a:gd name="T68" fmla="*/ 66 w 160"/>
                <a:gd name="T69" fmla="*/ 58 h 236"/>
                <a:gd name="T70" fmla="*/ 70 w 160"/>
                <a:gd name="T71" fmla="*/ 34 h 236"/>
                <a:gd name="T72" fmla="*/ 64 w 160"/>
                <a:gd name="T73" fmla="*/ 14 h 236"/>
                <a:gd name="T74" fmla="*/ 60 w 160"/>
                <a:gd name="T75" fmla="*/ 4 h 236"/>
                <a:gd name="T76" fmla="*/ 52 w 160"/>
                <a:gd name="T77" fmla="*/ 4 h 236"/>
                <a:gd name="T78" fmla="*/ 24 w 160"/>
                <a:gd name="T79" fmla="*/ 0 h 236"/>
                <a:gd name="T80" fmla="*/ 18 w 160"/>
                <a:gd name="T81" fmla="*/ 6 h 236"/>
                <a:gd name="T82" fmla="*/ 16 w 160"/>
                <a:gd name="T83" fmla="*/ 54 h 236"/>
                <a:gd name="T84" fmla="*/ 14 w 160"/>
                <a:gd name="T85" fmla="*/ 64 h 236"/>
                <a:gd name="T86" fmla="*/ 8 w 160"/>
                <a:gd name="T87" fmla="*/ 62 h 236"/>
                <a:gd name="T88" fmla="*/ 2 w 160"/>
                <a:gd name="T89" fmla="*/ 6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236">
                  <a:moveTo>
                    <a:pt x="2" y="62"/>
                  </a:moveTo>
                  <a:lnTo>
                    <a:pt x="2" y="62"/>
                  </a:lnTo>
                  <a:lnTo>
                    <a:pt x="0" y="70"/>
                  </a:lnTo>
                  <a:lnTo>
                    <a:pt x="2" y="82"/>
                  </a:lnTo>
                  <a:lnTo>
                    <a:pt x="4" y="94"/>
                  </a:lnTo>
                  <a:lnTo>
                    <a:pt x="6" y="98"/>
                  </a:lnTo>
                  <a:lnTo>
                    <a:pt x="10" y="98"/>
                  </a:lnTo>
                  <a:lnTo>
                    <a:pt x="10" y="98"/>
                  </a:lnTo>
                  <a:lnTo>
                    <a:pt x="14" y="100"/>
                  </a:lnTo>
                  <a:lnTo>
                    <a:pt x="16" y="104"/>
                  </a:lnTo>
                  <a:lnTo>
                    <a:pt x="18" y="110"/>
                  </a:lnTo>
                  <a:lnTo>
                    <a:pt x="16" y="120"/>
                  </a:lnTo>
                  <a:lnTo>
                    <a:pt x="16" y="120"/>
                  </a:lnTo>
                  <a:lnTo>
                    <a:pt x="16" y="124"/>
                  </a:lnTo>
                  <a:lnTo>
                    <a:pt x="16" y="128"/>
                  </a:lnTo>
                  <a:lnTo>
                    <a:pt x="20" y="130"/>
                  </a:lnTo>
                  <a:lnTo>
                    <a:pt x="22" y="130"/>
                  </a:lnTo>
                  <a:lnTo>
                    <a:pt x="32" y="132"/>
                  </a:lnTo>
                  <a:lnTo>
                    <a:pt x="44" y="128"/>
                  </a:lnTo>
                  <a:lnTo>
                    <a:pt x="44" y="128"/>
                  </a:lnTo>
                  <a:lnTo>
                    <a:pt x="48" y="128"/>
                  </a:lnTo>
                  <a:lnTo>
                    <a:pt x="52" y="128"/>
                  </a:lnTo>
                  <a:lnTo>
                    <a:pt x="56" y="132"/>
                  </a:lnTo>
                  <a:lnTo>
                    <a:pt x="60" y="136"/>
                  </a:lnTo>
                  <a:lnTo>
                    <a:pt x="64" y="136"/>
                  </a:lnTo>
                  <a:lnTo>
                    <a:pt x="68" y="136"/>
                  </a:lnTo>
                  <a:lnTo>
                    <a:pt x="68" y="136"/>
                  </a:lnTo>
                  <a:lnTo>
                    <a:pt x="74" y="136"/>
                  </a:lnTo>
                  <a:lnTo>
                    <a:pt x="80" y="138"/>
                  </a:lnTo>
                  <a:lnTo>
                    <a:pt x="92" y="144"/>
                  </a:lnTo>
                  <a:lnTo>
                    <a:pt x="100" y="154"/>
                  </a:lnTo>
                  <a:lnTo>
                    <a:pt x="102" y="158"/>
                  </a:lnTo>
                  <a:lnTo>
                    <a:pt x="102" y="160"/>
                  </a:lnTo>
                  <a:lnTo>
                    <a:pt x="102" y="160"/>
                  </a:lnTo>
                  <a:lnTo>
                    <a:pt x="100" y="168"/>
                  </a:lnTo>
                  <a:lnTo>
                    <a:pt x="102" y="178"/>
                  </a:lnTo>
                  <a:lnTo>
                    <a:pt x="104" y="184"/>
                  </a:lnTo>
                  <a:lnTo>
                    <a:pt x="108" y="186"/>
                  </a:lnTo>
                  <a:lnTo>
                    <a:pt x="110" y="184"/>
                  </a:lnTo>
                  <a:lnTo>
                    <a:pt x="110" y="184"/>
                  </a:lnTo>
                  <a:lnTo>
                    <a:pt x="112" y="184"/>
                  </a:lnTo>
                  <a:lnTo>
                    <a:pt x="116" y="182"/>
                  </a:lnTo>
                  <a:lnTo>
                    <a:pt x="120" y="184"/>
                  </a:lnTo>
                  <a:lnTo>
                    <a:pt x="124" y="190"/>
                  </a:lnTo>
                  <a:lnTo>
                    <a:pt x="122" y="194"/>
                  </a:lnTo>
                  <a:lnTo>
                    <a:pt x="122" y="196"/>
                  </a:lnTo>
                  <a:lnTo>
                    <a:pt x="122" y="196"/>
                  </a:lnTo>
                  <a:lnTo>
                    <a:pt x="120" y="200"/>
                  </a:lnTo>
                  <a:lnTo>
                    <a:pt x="120" y="204"/>
                  </a:lnTo>
                  <a:lnTo>
                    <a:pt x="124" y="212"/>
                  </a:lnTo>
                  <a:lnTo>
                    <a:pt x="130" y="222"/>
                  </a:lnTo>
                  <a:lnTo>
                    <a:pt x="134" y="230"/>
                  </a:lnTo>
                  <a:lnTo>
                    <a:pt x="134" y="230"/>
                  </a:lnTo>
                  <a:lnTo>
                    <a:pt x="136" y="234"/>
                  </a:lnTo>
                  <a:lnTo>
                    <a:pt x="138" y="236"/>
                  </a:lnTo>
                  <a:lnTo>
                    <a:pt x="140" y="236"/>
                  </a:lnTo>
                  <a:lnTo>
                    <a:pt x="140" y="236"/>
                  </a:lnTo>
                  <a:lnTo>
                    <a:pt x="144" y="230"/>
                  </a:lnTo>
                  <a:lnTo>
                    <a:pt x="144" y="224"/>
                  </a:lnTo>
                  <a:lnTo>
                    <a:pt x="144" y="224"/>
                  </a:lnTo>
                  <a:lnTo>
                    <a:pt x="144" y="218"/>
                  </a:lnTo>
                  <a:lnTo>
                    <a:pt x="146" y="214"/>
                  </a:lnTo>
                  <a:lnTo>
                    <a:pt x="156" y="208"/>
                  </a:lnTo>
                  <a:lnTo>
                    <a:pt x="156" y="208"/>
                  </a:lnTo>
                  <a:lnTo>
                    <a:pt x="158" y="204"/>
                  </a:lnTo>
                  <a:lnTo>
                    <a:pt x="160" y="202"/>
                  </a:lnTo>
                  <a:lnTo>
                    <a:pt x="158" y="194"/>
                  </a:lnTo>
                  <a:lnTo>
                    <a:pt x="148" y="174"/>
                  </a:lnTo>
                  <a:lnTo>
                    <a:pt x="148" y="174"/>
                  </a:lnTo>
                  <a:lnTo>
                    <a:pt x="146" y="170"/>
                  </a:lnTo>
                  <a:lnTo>
                    <a:pt x="140" y="166"/>
                  </a:lnTo>
                  <a:lnTo>
                    <a:pt x="130" y="164"/>
                  </a:lnTo>
                  <a:lnTo>
                    <a:pt x="122" y="160"/>
                  </a:lnTo>
                  <a:lnTo>
                    <a:pt x="118" y="156"/>
                  </a:lnTo>
                  <a:lnTo>
                    <a:pt x="118" y="152"/>
                  </a:lnTo>
                  <a:lnTo>
                    <a:pt x="118" y="152"/>
                  </a:lnTo>
                  <a:lnTo>
                    <a:pt x="118" y="148"/>
                  </a:lnTo>
                  <a:lnTo>
                    <a:pt x="116" y="144"/>
                  </a:lnTo>
                  <a:lnTo>
                    <a:pt x="108" y="138"/>
                  </a:lnTo>
                  <a:lnTo>
                    <a:pt x="102" y="134"/>
                  </a:lnTo>
                  <a:lnTo>
                    <a:pt x="100" y="130"/>
                  </a:lnTo>
                  <a:lnTo>
                    <a:pt x="100" y="128"/>
                  </a:lnTo>
                  <a:lnTo>
                    <a:pt x="100" y="128"/>
                  </a:lnTo>
                  <a:lnTo>
                    <a:pt x="98" y="126"/>
                  </a:lnTo>
                  <a:lnTo>
                    <a:pt x="94" y="124"/>
                  </a:lnTo>
                  <a:lnTo>
                    <a:pt x="86" y="120"/>
                  </a:lnTo>
                  <a:lnTo>
                    <a:pt x="74" y="118"/>
                  </a:lnTo>
                  <a:lnTo>
                    <a:pt x="66" y="120"/>
                  </a:lnTo>
                  <a:lnTo>
                    <a:pt x="62" y="122"/>
                  </a:lnTo>
                  <a:lnTo>
                    <a:pt x="62" y="122"/>
                  </a:lnTo>
                  <a:lnTo>
                    <a:pt x="58" y="124"/>
                  </a:lnTo>
                  <a:lnTo>
                    <a:pt x="54" y="122"/>
                  </a:lnTo>
                  <a:lnTo>
                    <a:pt x="54" y="120"/>
                  </a:lnTo>
                  <a:lnTo>
                    <a:pt x="54" y="116"/>
                  </a:lnTo>
                  <a:lnTo>
                    <a:pt x="52" y="106"/>
                  </a:lnTo>
                  <a:lnTo>
                    <a:pt x="50" y="102"/>
                  </a:lnTo>
                  <a:lnTo>
                    <a:pt x="48" y="96"/>
                  </a:lnTo>
                  <a:lnTo>
                    <a:pt x="48" y="96"/>
                  </a:lnTo>
                  <a:lnTo>
                    <a:pt x="46" y="92"/>
                  </a:lnTo>
                  <a:lnTo>
                    <a:pt x="44" y="88"/>
                  </a:lnTo>
                  <a:lnTo>
                    <a:pt x="46" y="84"/>
                  </a:lnTo>
                  <a:lnTo>
                    <a:pt x="50" y="78"/>
                  </a:lnTo>
                  <a:lnTo>
                    <a:pt x="58" y="68"/>
                  </a:lnTo>
                  <a:lnTo>
                    <a:pt x="66" y="58"/>
                  </a:lnTo>
                  <a:lnTo>
                    <a:pt x="66" y="58"/>
                  </a:lnTo>
                  <a:lnTo>
                    <a:pt x="70" y="54"/>
                  </a:lnTo>
                  <a:lnTo>
                    <a:pt x="70" y="48"/>
                  </a:lnTo>
                  <a:lnTo>
                    <a:pt x="70" y="34"/>
                  </a:lnTo>
                  <a:lnTo>
                    <a:pt x="66" y="24"/>
                  </a:lnTo>
                  <a:lnTo>
                    <a:pt x="64" y="14"/>
                  </a:lnTo>
                  <a:lnTo>
                    <a:pt x="64" y="14"/>
                  </a:lnTo>
                  <a:lnTo>
                    <a:pt x="64" y="4"/>
                  </a:lnTo>
                  <a:lnTo>
                    <a:pt x="64" y="4"/>
                  </a:lnTo>
                  <a:lnTo>
                    <a:pt x="60" y="4"/>
                  </a:lnTo>
                  <a:lnTo>
                    <a:pt x="60" y="4"/>
                  </a:lnTo>
                  <a:lnTo>
                    <a:pt x="56" y="4"/>
                  </a:lnTo>
                  <a:lnTo>
                    <a:pt x="52" y="4"/>
                  </a:lnTo>
                  <a:lnTo>
                    <a:pt x="42" y="2"/>
                  </a:lnTo>
                  <a:lnTo>
                    <a:pt x="30" y="0"/>
                  </a:lnTo>
                  <a:lnTo>
                    <a:pt x="24" y="0"/>
                  </a:lnTo>
                  <a:lnTo>
                    <a:pt x="20" y="2"/>
                  </a:lnTo>
                  <a:lnTo>
                    <a:pt x="20" y="2"/>
                  </a:lnTo>
                  <a:lnTo>
                    <a:pt x="18" y="6"/>
                  </a:lnTo>
                  <a:lnTo>
                    <a:pt x="16" y="14"/>
                  </a:lnTo>
                  <a:lnTo>
                    <a:pt x="16" y="34"/>
                  </a:lnTo>
                  <a:lnTo>
                    <a:pt x="16" y="54"/>
                  </a:lnTo>
                  <a:lnTo>
                    <a:pt x="16" y="62"/>
                  </a:lnTo>
                  <a:lnTo>
                    <a:pt x="14" y="64"/>
                  </a:lnTo>
                  <a:lnTo>
                    <a:pt x="14" y="64"/>
                  </a:lnTo>
                  <a:lnTo>
                    <a:pt x="12" y="66"/>
                  </a:lnTo>
                  <a:lnTo>
                    <a:pt x="10" y="66"/>
                  </a:lnTo>
                  <a:lnTo>
                    <a:pt x="8" y="62"/>
                  </a:lnTo>
                  <a:lnTo>
                    <a:pt x="4" y="60"/>
                  </a:lnTo>
                  <a:lnTo>
                    <a:pt x="2" y="60"/>
                  </a:lnTo>
                  <a:lnTo>
                    <a:pt x="2" y="62"/>
                  </a:lnTo>
                  <a:lnTo>
                    <a:pt x="2" y="62"/>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5" name="Freeform 112"/>
            <p:cNvSpPr>
              <a:spLocks/>
            </p:cNvSpPr>
            <p:nvPr/>
          </p:nvSpPr>
          <p:spPr bwMode="auto">
            <a:xfrm>
              <a:off x="11966575" y="5822950"/>
              <a:ext cx="457200" cy="469900"/>
            </a:xfrm>
            <a:custGeom>
              <a:avLst/>
              <a:gdLst>
                <a:gd name="T0" fmla="*/ 8 w 288"/>
                <a:gd name="T1" fmla="*/ 172 h 296"/>
                <a:gd name="T2" fmla="*/ 14 w 288"/>
                <a:gd name="T3" fmla="*/ 198 h 296"/>
                <a:gd name="T4" fmla="*/ 24 w 288"/>
                <a:gd name="T5" fmla="*/ 212 h 296"/>
                <a:gd name="T6" fmla="*/ 40 w 288"/>
                <a:gd name="T7" fmla="*/ 228 h 296"/>
                <a:gd name="T8" fmla="*/ 44 w 288"/>
                <a:gd name="T9" fmla="*/ 246 h 296"/>
                <a:gd name="T10" fmla="*/ 58 w 288"/>
                <a:gd name="T11" fmla="*/ 270 h 296"/>
                <a:gd name="T12" fmla="*/ 66 w 288"/>
                <a:gd name="T13" fmla="*/ 270 h 296"/>
                <a:gd name="T14" fmla="*/ 80 w 288"/>
                <a:gd name="T15" fmla="*/ 270 h 296"/>
                <a:gd name="T16" fmla="*/ 88 w 288"/>
                <a:gd name="T17" fmla="*/ 280 h 296"/>
                <a:gd name="T18" fmla="*/ 104 w 288"/>
                <a:gd name="T19" fmla="*/ 280 h 296"/>
                <a:gd name="T20" fmla="*/ 124 w 288"/>
                <a:gd name="T21" fmla="*/ 276 h 296"/>
                <a:gd name="T22" fmla="*/ 158 w 288"/>
                <a:gd name="T23" fmla="*/ 288 h 296"/>
                <a:gd name="T24" fmla="*/ 162 w 288"/>
                <a:gd name="T25" fmla="*/ 294 h 296"/>
                <a:gd name="T26" fmla="*/ 198 w 288"/>
                <a:gd name="T27" fmla="*/ 286 h 296"/>
                <a:gd name="T28" fmla="*/ 206 w 288"/>
                <a:gd name="T29" fmla="*/ 274 h 296"/>
                <a:gd name="T30" fmla="*/ 216 w 288"/>
                <a:gd name="T31" fmla="*/ 230 h 296"/>
                <a:gd name="T32" fmla="*/ 228 w 288"/>
                <a:gd name="T33" fmla="*/ 218 h 296"/>
                <a:gd name="T34" fmla="*/ 236 w 288"/>
                <a:gd name="T35" fmla="*/ 184 h 296"/>
                <a:gd name="T36" fmla="*/ 242 w 288"/>
                <a:gd name="T37" fmla="*/ 174 h 296"/>
                <a:gd name="T38" fmla="*/ 268 w 288"/>
                <a:gd name="T39" fmla="*/ 164 h 296"/>
                <a:gd name="T40" fmla="*/ 278 w 288"/>
                <a:gd name="T41" fmla="*/ 160 h 296"/>
                <a:gd name="T42" fmla="*/ 274 w 288"/>
                <a:gd name="T43" fmla="*/ 148 h 296"/>
                <a:gd name="T44" fmla="*/ 258 w 288"/>
                <a:gd name="T45" fmla="*/ 138 h 296"/>
                <a:gd name="T46" fmla="*/ 252 w 288"/>
                <a:gd name="T47" fmla="*/ 128 h 296"/>
                <a:gd name="T48" fmla="*/ 250 w 288"/>
                <a:gd name="T49" fmla="*/ 116 h 296"/>
                <a:gd name="T50" fmla="*/ 238 w 288"/>
                <a:gd name="T51" fmla="*/ 102 h 296"/>
                <a:gd name="T52" fmla="*/ 240 w 288"/>
                <a:gd name="T53" fmla="*/ 92 h 296"/>
                <a:gd name="T54" fmla="*/ 244 w 288"/>
                <a:gd name="T55" fmla="*/ 90 h 296"/>
                <a:gd name="T56" fmla="*/ 240 w 288"/>
                <a:gd name="T57" fmla="*/ 74 h 296"/>
                <a:gd name="T58" fmla="*/ 260 w 288"/>
                <a:gd name="T59" fmla="*/ 64 h 296"/>
                <a:gd name="T60" fmla="*/ 264 w 288"/>
                <a:gd name="T61" fmla="*/ 54 h 296"/>
                <a:gd name="T62" fmla="*/ 264 w 288"/>
                <a:gd name="T63" fmla="*/ 50 h 296"/>
                <a:gd name="T64" fmla="*/ 286 w 288"/>
                <a:gd name="T65" fmla="*/ 46 h 296"/>
                <a:gd name="T66" fmla="*/ 288 w 288"/>
                <a:gd name="T67" fmla="*/ 40 h 296"/>
                <a:gd name="T68" fmla="*/ 276 w 288"/>
                <a:gd name="T69" fmla="*/ 28 h 296"/>
                <a:gd name="T70" fmla="*/ 264 w 288"/>
                <a:gd name="T71" fmla="*/ 28 h 296"/>
                <a:gd name="T72" fmla="*/ 246 w 288"/>
                <a:gd name="T73" fmla="*/ 22 h 296"/>
                <a:gd name="T74" fmla="*/ 244 w 288"/>
                <a:gd name="T75" fmla="*/ 14 h 296"/>
                <a:gd name="T76" fmla="*/ 220 w 288"/>
                <a:gd name="T77" fmla="*/ 0 h 296"/>
                <a:gd name="T78" fmla="*/ 214 w 288"/>
                <a:gd name="T79" fmla="*/ 2 h 296"/>
                <a:gd name="T80" fmla="*/ 198 w 288"/>
                <a:gd name="T81" fmla="*/ 26 h 296"/>
                <a:gd name="T82" fmla="*/ 196 w 288"/>
                <a:gd name="T83" fmla="*/ 32 h 296"/>
                <a:gd name="T84" fmla="*/ 184 w 288"/>
                <a:gd name="T85" fmla="*/ 42 h 296"/>
                <a:gd name="T86" fmla="*/ 184 w 288"/>
                <a:gd name="T87" fmla="*/ 48 h 296"/>
                <a:gd name="T88" fmla="*/ 168 w 288"/>
                <a:gd name="T89" fmla="*/ 56 h 296"/>
                <a:gd name="T90" fmla="*/ 166 w 288"/>
                <a:gd name="T91" fmla="*/ 60 h 296"/>
                <a:gd name="T92" fmla="*/ 158 w 288"/>
                <a:gd name="T93" fmla="*/ 60 h 296"/>
                <a:gd name="T94" fmla="*/ 146 w 288"/>
                <a:gd name="T95" fmla="*/ 56 h 296"/>
                <a:gd name="T96" fmla="*/ 132 w 288"/>
                <a:gd name="T97" fmla="*/ 70 h 296"/>
                <a:gd name="T98" fmla="*/ 122 w 288"/>
                <a:gd name="T99" fmla="*/ 94 h 296"/>
                <a:gd name="T100" fmla="*/ 114 w 288"/>
                <a:gd name="T101" fmla="*/ 104 h 296"/>
                <a:gd name="T102" fmla="*/ 82 w 288"/>
                <a:gd name="T103" fmla="*/ 106 h 296"/>
                <a:gd name="T104" fmla="*/ 68 w 288"/>
                <a:gd name="T105" fmla="*/ 114 h 296"/>
                <a:gd name="T106" fmla="*/ 64 w 288"/>
                <a:gd name="T107" fmla="*/ 140 h 296"/>
                <a:gd name="T108" fmla="*/ 58 w 288"/>
                <a:gd name="T109" fmla="*/ 144 h 296"/>
                <a:gd name="T110" fmla="*/ 26 w 288"/>
                <a:gd name="T111" fmla="*/ 130 h 296"/>
                <a:gd name="T112" fmla="*/ 16 w 288"/>
                <a:gd name="T113" fmla="*/ 132 h 296"/>
                <a:gd name="T114" fmla="*/ 2 w 288"/>
                <a:gd name="T115" fmla="*/ 152 h 296"/>
                <a:gd name="T116" fmla="*/ 4 w 288"/>
                <a:gd name="T117" fmla="*/ 16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6">
                  <a:moveTo>
                    <a:pt x="4" y="168"/>
                  </a:moveTo>
                  <a:lnTo>
                    <a:pt x="4" y="168"/>
                  </a:lnTo>
                  <a:lnTo>
                    <a:pt x="8" y="172"/>
                  </a:lnTo>
                  <a:lnTo>
                    <a:pt x="10" y="178"/>
                  </a:lnTo>
                  <a:lnTo>
                    <a:pt x="12" y="188"/>
                  </a:lnTo>
                  <a:lnTo>
                    <a:pt x="14" y="198"/>
                  </a:lnTo>
                  <a:lnTo>
                    <a:pt x="18" y="206"/>
                  </a:lnTo>
                  <a:lnTo>
                    <a:pt x="18" y="206"/>
                  </a:lnTo>
                  <a:lnTo>
                    <a:pt x="24" y="212"/>
                  </a:lnTo>
                  <a:lnTo>
                    <a:pt x="32" y="216"/>
                  </a:lnTo>
                  <a:lnTo>
                    <a:pt x="38" y="222"/>
                  </a:lnTo>
                  <a:lnTo>
                    <a:pt x="40" y="228"/>
                  </a:lnTo>
                  <a:lnTo>
                    <a:pt x="42" y="234"/>
                  </a:lnTo>
                  <a:lnTo>
                    <a:pt x="42" y="234"/>
                  </a:lnTo>
                  <a:lnTo>
                    <a:pt x="44" y="246"/>
                  </a:lnTo>
                  <a:lnTo>
                    <a:pt x="50" y="260"/>
                  </a:lnTo>
                  <a:lnTo>
                    <a:pt x="54" y="266"/>
                  </a:lnTo>
                  <a:lnTo>
                    <a:pt x="58" y="270"/>
                  </a:lnTo>
                  <a:lnTo>
                    <a:pt x="62" y="270"/>
                  </a:lnTo>
                  <a:lnTo>
                    <a:pt x="66" y="270"/>
                  </a:lnTo>
                  <a:lnTo>
                    <a:pt x="66" y="270"/>
                  </a:lnTo>
                  <a:lnTo>
                    <a:pt x="70" y="268"/>
                  </a:lnTo>
                  <a:lnTo>
                    <a:pt x="74" y="266"/>
                  </a:lnTo>
                  <a:lnTo>
                    <a:pt x="80" y="270"/>
                  </a:lnTo>
                  <a:lnTo>
                    <a:pt x="86" y="274"/>
                  </a:lnTo>
                  <a:lnTo>
                    <a:pt x="88" y="280"/>
                  </a:lnTo>
                  <a:lnTo>
                    <a:pt x="88" y="280"/>
                  </a:lnTo>
                  <a:lnTo>
                    <a:pt x="90" y="282"/>
                  </a:lnTo>
                  <a:lnTo>
                    <a:pt x="94" y="282"/>
                  </a:lnTo>
                  <a:lnTo>
                    <a:pt x="104" y="280"/>
                  </a:lnTo>
                  <a:lnTo>
                    <a:pt x="116" y="276"/>
                  </a:lnTo>
                  <a:lnTo>
                    <a:pt x="124" y="276"/>
                  </a:lnTo>
                  <a:lnTo>
                    <a:pt x="124" y="276"/>
                  </a:lnTo>
                  <a:lnTo>
                    <a:pt x="144" y="280"/>
                  </a:lnTo>
                  <a:lnTo>
                    <a:pt x="154" y="286"/>
                  </a:lnTo>
                  <a:lnTo>
                    <a:pt x="158" y="288"/>
                  </a:lnTo>
                  <a:lnTo>
                    <a:pt x="160" y="292"/>
                  </a:lnTo>
                  <a:lnTo>
                    <a:pt x="160" y="292"/>
                  </a:lnTo>
                  <a:lnTo>
                    <a:pt x="162" y="294"/>
                  </a:lnTo>
                  <a:lnTo>
                    <a:pt x="164" y="296"/>
                  </a:lnTo>
                  <a:lnTo>
                    <a:pt x="174" y="294"/>
                  </a:lnTo>
                  <a:lnTo>
                    <a:pt x="198" y="286"/>
                  </a:lnTo>
                  <a:lnTo>
                    <a:pt x="198" y="286"/>
                  </a:lnTo>
                  <a:lnTo>
                    <a:pt x="204" y="282"/>
                  </a:lnTo>
                  <a:lnTo>
                    <a:pt x="206" y="274"/>
                  </a:lnTo>
                  <a:lnTo>
                    <a:pt x="210" y="256"/>
                  </a:lnTo>
                  <a:lnTo>
                    <a:pt x="212" y="238"/>
                  </a:lnTo>
                  <a:lnTo>
                    <a:pt x="216" y="230"/>
                  </a:lnTo>
                  <a:lnTo>
                    <a:pt x="220" y="226"/>
                  </a:lnTo>
                  <a:lnTo>
                    <a:pt x="220" y="226"/>
                  </a:lnTo>
                  <a:lnTo>
                    <a:pt x="228" y="218"/>
                  </a:lnTo>
                  <a:lnTo>
                    <a:pt x="234" y="206"/>
                  </a:lnTo>
                  <a:lnTo>
                    <a:pt x="236" y="196"/>
                  </a:lnTo>
                  <a:lnTo>
                    <a:pt x="236" y="184"/>
                  </a:lnTo>
                  <a:lnTo>
                    <a:pt x="236" y="184"/>
                  </a:lnTo>
                  <a:lnTo>
                    <a:pt x="238" y="178"/>
                  </a:lnTo>
                  <a:lnTo>
                    <a:pt x="242" y="174"/>
                  </a:lnTo>
                  <a:lnTo>
                    <a:pt x="246" y="170"/>
                  </a:lnTo>
                  <a:lnTo>
                    <a:pt x="254" y="168"/>
                  </a:lnTo>
                  <a:lnTo>
                    <a:pt x="268" y="164"/>
                  </a:lnTo>
                  <a:lnTo>
                    <a:pt x="274" y="162"/>
                  </a:lnTo>
                  <a:lnTo>
                    <a:pt x="278" y="160"/>
                  </a:lnTo>
                  <a:lnTo>
                    <a:pt x="278" y="160"/>
                  </a:lnTo>
                  <a:lnTo>
                    <a:pt x="278" y="158"/>
                  </a:lnTo>
                  <a:lnTo>
                    <a:pt x="278" y="154"/>
                  </a:lnTo>
                  <a:lnTo>
                    <a:pt x="274" y="148"/>
                  </a:lnTo>
                  <a:lnTo>
                    <a:pt x="266" y="142"/>
                  </a:lnTo>
                  <a:lnTo>
                    <a:pt x="258" y="138"/>
                  </a:lnTo>
                  <a:lnTo>
                    <a:pt x="258" y="138"/>
                  </a:lnTo>
                  <a:lnTo>
                    <a:pt x="256" y="136"/>
                  </a:lnTo>
                  <a:lnTo>
                    <a:pt x="254" y="134"/>
                  </a:lnTo>
                  <a:lnTo>
                    <a:pt x="252" y="128"/>
                  </a:lnTo>
                  <a:lnTo>
                    <a:pt x="252" y="122"/>
                  </a:lnTo>
                  <a:lnTo>
                    <a:pt x="252" y="118"/>
                  </a:lnTo>
                  <a:lnTo>
                    <a:pt x="250" y="116"/>
                  </a:lnTo>
                  <a:lnTo>
                    <a:pt x="250" y="116"/>
                  </a:lnTo>
                  <a:lnTo>
                    <a:pt x="244" y="110"/>
                  </a:lnTo>
                  <a:lnTo>
                    <a:pt x="238" y="102"/>
                  </a:lnTo>
                  <a:lnTo>
                    <a:pt x="236" y="96"/>
                  </a:lnTo>
                  <a:lnTo>
                    <a:pt x="238" y="94"/>
                  </a:lnTo>
                  <a:lnTo>
                    <a:pt x="240" y="92"/>
                  </a:lnTo>
                  <a:lnTo>
                    <a:pt x="240" y="92"/>
                  </a:lnTo>
                  <a:lnTo>
                    <a:pt x="244" y="92"/>
                  </a:lnTo>
                  <a:lnTo>
                    <a:pt x="244" y="90"/>
                  </a:lnTo>
                  <a:lnTo>
                    <a:pt x="242" y="84"/>
                  </a:lnTo>
                  <a:lnTo>
                    <a:pt x="240" y="78"/>
                  </a:lnTo>
                  <a:lnTo>
                    <a:pt x="240" y="74"/>
                  </a:lnTo>
                  <a:lnTo>
                    <a:pt x="242" y="72"/>
                  </a:lnTo>
                  <a:lnTo>
                    <a:pt x="242" y="72"/>
                  </a:lnTo>
                  <a:lnTo>
                    <a:pt x="260" y="64"/>
                  </a:lnTo>
                  <a:lnTo>
                    <a:pt x="264" y="58"/>
                  </a:lnTo>
                  <a:lnTo>
                    <a:pt x="266" y="56"/>
                  </a:lnTo>
                  <a:lnTo>
                    <a:pt x="264" y="54"/>
                  </a:lnTo>
                  <a:lnTo>
                    <a:pt x="264" y="54"/>
                  </a:lnTo>
                  <a:lnTo>
                    <a:pt x="262" y="52"/>
                  </a:lnTo>
                  <a:lnTo>
                    <a:pt x="264" y="50"/>
                  </a:lnTo>
                  <a:lnTo>
                    <a:pt x="272" y="50"/>
                  </a:lnTo>
                  <a:lnTo>
                    <a:pt x="282" y="48"/>
                  </a:lnTo>
                  <a:lnTo>
                    <a:pt x="286" y="46"/>
                  </a:lnTo>
                  <a:lnTo>
                    <a:pt x="288" y="42"/>
                  </a:lnTo>
                  <a:lnTo>
                    <a:pt x="288" y="42"/>
                  </a:lnTo>
                  <a:lnTo>
                    <a:pt x="288" y="40"/>
                  </a:lnTo>
                  <a:lnTo>
                    <a:pt x="288" y="36"/>
                  </a:lnTo>
                  <a:lnTo>
                    <a:pt x="284" y="30"/>
                  </a:lnTo>
                  <a:lnTo>
                    <a:pt x="276" y="28"/>
                  </a:lnTo>
                  <a:lnTo>
                    <a:pt x="270" y="26"/>
                  </a:lnTo>
                  <a:lnTo>
                    <a:pt x="270" y="26"/>
                  </a:lnTo>
                  <a:lnTo>
                    <a:pt x="264" y="28"/>
                  </a:lnTo>
                  <a:lnTo>
                    <a:pt x="256" y="26"/>
                  </a:lnTo>
                  <a:lnTo>
                    <a:pt x="248" y="24"/>
                  </a:lnTo>
                  <a:lnTo>
                    <a:pt x="246" y="22"/>
                  </a:lnTo>
                  <a:lnTo>
                    <a:pt x="246" y="20"/>
                  </a:lnTo>
                  <a:lnTo>
                    <a:pt x="246" y="20"/>
                  </a:lnTo>
                  <a:lnTo>
                    <a:pt x="244" y="14"/>
                  </a:lnTo>
                  <a:lnTo>
                    <a:pt x="236" y="8"/>
                  </a:lnTo>
                  <a:lnTo>
                    <a:pt x="228" y="2"/>
                  </a:lnTo>
                  <a:lnTo>
                    <a:pt x="220" y="0"/>
                  </a:lnTo>
                  <a:lnTo>
                    <a:pt x="220" y="0"/>
                  </a:lnTo>
                  <a:lnTo>
                    <a:pt x="218" y="0"/>
                  </a:lnTo>
                  <a:lnTo>
                    <a:pt x="214" y="2"/>
                  </a:lnTo>
                  <a:lnTo>
                    <a:pt x="206" y="10"/>
                  </a:lnTo>
                  <a:lnTo>
                    <a:pt x="202" y="20"/>
                  </a:lnTo>
                  <a:lnTo>
                    <a:pt x="198" y="26"/>
                  </a:lnTo>
                  <a:lnTo>
                    <a:pt x="198" y="26"/>
                  </a:lnTo>
                  <a:lnTo>
                    <a:pt x="198" y="30"/>
                  </a:lnTo>
                  <a:lnTo>
                    <a:pt x="196" y="32"/>
                  </a:lnTo>
                  <a:lnTo>
                    <a:pt x="190" y="34"/>
                  </a:lnTo>
                  <a:lnTo>
                    <a:pt x="186" y="38"/>
                  </a:lnTo>
                  <a:lnTo>
                    <a:pt x="184" y="42"/>
                  </a:lnTo>
                  <a:lnTo>
                    <a:pt x="184" y="46"/>
                  </a:lnTo>
                  <a:lnTo>
                    <a:pt x="184" y="46"/>
                  </a:lnTo>
                  <a:lnTo>
                    <a:pt x="184" y="48"/>
                  </a:lnTo>
                  <a:lnTo>
                    <a:pt x="182" y="52"/>
                  </a:lnTo>
                  <a:lnTo>
                    <a:pt x="176" y="54"/>
                  </a:lnTo>
                  <a:lnTo>
                    <a:pt x="168" y="56"/>
                  </a:lnTo>
                  <a:lnTo>
                    <a:pt x="166" y="56"/>
                  </a:lnTo>
                  <a:lnTo>
                    <a:pt x="166" y="60"/>
                  </a:lnTo>
                  <a:lnTo>
                    <a:pt x="166" y="60"/>
                  </a:lnTo>
                  <a:lnTo>
                    <a:pt x="164" y="60"/>
                  </a:lnTo>
                  <a:lnTo>
                    <a:pt x="164" y="62"/>
                  </a:lnTo>
                  <a:lnTo>
                    <a:pt x="158" y="60"/>
                  </a:lnTo>
                  <a:lnTo>
                    <a:pt x="152" y="58"/>
                  </a:lnTo>
                  <a:lnTo>
                    <a:pt x="146" y="56"/>
                  </a:lnTo>
                  <a:lnTo>
                    <a:pt x="146" y="56"/>
                  </a:lnTo>
                  <a:lnTo>
                    <a:pt x="144" y="56"/>
                  </a:lnTo>
                  <a:lnTo>
                    <a:pt x="140" y="60"/>
                  </a:lnTo>
                  <a:lnTo>
                    <a:pt x="132" y="70"/>
                  </a:lnTo>
                  <a:lnTo>
                    <a:pt x="126" y="82"/>
                  </a:lnTo>
                  <a:lnTo>
                    <a:pt x="122" y="94"/>
                  </a:lnTo>
                  <a:lnTo>
                    <a:pt x="122" y="94"/>
                  </a:lnTo>
                  <a:lnTo>
                    <a:pt x="120" y="98"/>
                  </a:lnTo>
                  <a:lnTo>
                    <a:pt x="118" y="102"/>
                  </a:lnTo>
                  <a:lnTo>
                    <a:pt x="114" y="104"/>
                  </a:lnTo>
                  <a:lnTo>
                    <a:pt x="108" y="104"/>
                  </a:lnTo>
                  <a:lnTo>
                    <a:pt x="82" y="106"/>
                  </a:lnTo>
                  <a:lnTo>
                    <a:pt x="82" y="106"/>
                  </a:lnTo>
                  <a:lnTo>
                    <a:pt x="76" y="108"/>
                  </a:lnTo>
                  <a:lnTo>
                    <a:pt x="70" y="110"/>
                  </a:lnTo>
                  <a:lnTo>
                    <a:pt x="68" y="114"/>
                  </a:lnTo>
                  <a:lnTo>
                    <a:pt x="66" y="120"/>
                  </a:lnTo>
                  <a:lnTo>
                    <a:pt x="66" y="130"/>
                  </a:lnTo>
                  <a:lnTo>
                    <a:pt x="64" y="140"/>
                  </a:lnTo>
                  <a:lnTo>
                    <a:pt x="64" y="140"/>
                  </a:lnTo>
                  <a:lnTo>
                    <a:pt x="62" y="142"/>
                  </a:lnTo>
                  <a:lnTo>
                    <a:pt x="58" y="144"/>
                  </a:lnTo>
                  <a:lnTo>
                    <a:pt x="44" y="138"/>
                  </a:lnTo>
                  <a:lnTo>
                    <a:pt x="32" y="132"/>
                  </a:lnTo>
                  <a:lnTo>
                    <a:pt x="26" y="130"/>
                  </a:lnTo>
                  <a:lnTo>
                    <a:pt x="20" y="130"/>
                  </a:lnTo>
                  <a:lnTo>
                    <a:pt x="20" y="130"/>
                  </a:lnTo>
                  <a:lnTo>
                    <a:pt x="16" y="132"/>
                  </a:lnTo>
                  <a:lnTo>
                    <a:pt x="12" y="134"/>
                  </a:lnTo>
                  <a:lnTo>
                    <a:pt x="4" y="146"/>
                  </a:lnTo>
                  <a:lnTo>
                    <a:pt x="2" y="152"/>
                  </a:lnTo>
                  <a:lnTo>
                    <a:pt x="0" y="158"/>
                  </a:lnTo>
                  <a:lnTo>
                    <a:pt x="0" y="164"/>
                  </a:lnTo>
                  <a:lnTo>
                    <a:pt x="4" y="168"/>
                  </a:lnTo>
                  <a:lnTo>
                    <a:pt x="4" y="16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6" name="Freeform 113"/>
            <p:cNvSpPr>
              <a:spLocks/>
            </p:cNvSpPr>
            <p:nvPr/>
          </p:nvSpPr>
          <p:spPr bwMode="auto">
            <a:xfrm>
              <a:off x="12607925" y="6477000"/>
              <a:ext cx="168275" cy="95250"/>
            </a:xfrm>
            <a:custGeom>
              <a:avLst/>
              <a:gdLst>
                <a:gd name="T0" fmla="*/ 6 w 106"/>
                <a:gd name="T1" fmla="*/ 58 h 60"/>
                <a:gd name="T2" fmla="*/ 6 w 106"/>
                <a:gd name="T3" fmla="*/ 58 h 60"/>
                <a:gd name="T4" fmla="*/ 10 w 106"/>
                <a:gd name="T5" fmla="*/ 60 h 60"/>
                <a:gd name="T6" fmla="*/ 16 w 106"/>
                <a:gd name="T7" fmla="*/ 58 h 60"/>
                <a:gd name="T8" fmla="*/ 26 w 106"/>
                <a:gd name="T9" fmla="*/ 52 h 60"/>
                <a:gd name="T10" fmla="*/ 36 w 106"/>
                <a:gd name="T11" fmla="*/ 42 h 60"/>
                <a:gd name="T12" fmla="*/ 44 w 106"/>
                <a:gd name="T13" fmla="*/ 34 h 60"/>
                <a:gd name="T14" fmla="*/ 44 w 106"/>
                <a:gd name="T15" fmla="*/ 34 h 60"/>
                <a:gd name="T16" fmla="*/ 48 w 106"/>
                <a:gd name="T17" fmla="*/ 30 h 60"/>
                <a:gd name="T18" fmla="*/ 56 w 106"/>
                <a:gd name="T19" fmla="*/ 26 h 60"/>
                <a:gd name="T20" fmla="*/ 76 w 106"/>
                <a:gd name="T21" fmla="*/ 18 h 60"/>
                <a:gd name="T22" fmla="*/ 96 w 106"/>
                <a:gd name="T23" fmla="*/ 10 h 60"/>
                <a:gd name="T24" fmla="*/ 102 w 106"/>
                <a:gd name="T25" fmla="*/ 6 h 60"/>
                <a:gd name="T26" fmla="*/ 106 w 106"/>
                <a:gd name="T27" fmla="*/ 4 h 60"/>
                <a:gd name="T28" fmla="*/ 106 w 106"/>
                <a:gd name="T29" fmla="*/ 4 h 60"/>
                <a:gd name="T30" fmla="*/ 106 w 106"/>
                <a:gd name="T31" fmla="*/ 2 h 60"/>
                <a:gd name="T32" fmla="*/ 104 w 106"/>
                <a:gd name="T33" fmla="*/ 0 h 60"/>
                <a:gd name="T34" fmla="*/ 92 w 106"/>
                <a:gd name="T35" fmla="*/ 2 h 60"/>
                <a:gd name="T36" fmla="*/ 80 w 106"/>
                <a:gd name="T37" fmla="*/ 4 h 60"/>
                <a:gd name="T38" fmla="*/ 66 w 106"/>
                <a:gd name="T39" fmla="*/ 4 h 60"/>
                <a:gd name="T40" fmla="*/ 66 w 106"/>
                <a:gd name="T41" fmla="*/ 4 h 60"/>
                <a:gd name="T42" fmla="*/ 60 w 106"/>
                <a:gd name="T43" fmla="*/ 4 h 60"/>
                <a:gd name="T44" fmla="*/ 56 w 106"/>
                <a:gd name="T45" fmla="*/ 6 h 60"/>
                <a:gd name="T46" fmla="*/ 48 w 106"/>
                <a:gd name="T47" fmla="*/ 14 h 60"/>
                <a:gd name="T48" fmla="*/ 40 w 106"/>
                <a:gd name="T49" fmla="*/ 20 h 60"/>
                <a:gd name="T50" fmla="*/ 34 w 106"/>
                <a:gd name="T51" fmla="*/ 24 h 60"/>
                <a:gd name="T52" fmla="*/ 28 w 106"/>
                <a:gd name="T53" fmla="*/ 26 h 60"/>
                <a:gd name="T54" fmla="*/ 28 w 106"/>
                <a:gd name="T55" fmla="*/ 26 h 60"/>
                <a:gd name="T56" fmla="*/ 20 w 106"/>
                <a:gd name="T57" fmla="*/ 26 h 60"/>
                <a:gd name="T58" fmla="*/ 14 w 106"/>
                <a:gd name="T59" fmla="*/ 30 h 60"/>
                <a:gd name="T60" fmla="*/ 8 w 106"/>
                <a:gd name="T61" fmla="*/ 34 h 60"/>
                <a:gd name="T62" fmla="*/ 4 w 106"/>
                <a:gd name="T63" fmla="*/ 40 h 60"/>
                <a:gd name="T64" fmla="*/ 2 w 106"/>
                <a:gd name="T65" fmla="*/ 46 h 60"/>
                <a:gd name="T66" fmla="*/ 0 w 106"/>
                <a:gd name="T67" fmla="*/ 50 h 60"/>
                <a:gd name="T68" fmla="*/ 2 w 106"/>
                <a:gd name="T69" fmla="*/ 54 h 60"/>
                <a:gd name="T70" fmla="*/ 6 w 106"/>
                <a:gd name="T71" fmla="*/ 58 h 60"/>
                <a:gd name="T72" fmla="*/ 6 w 106"/>
                <a:gd name="T7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60">
                  <a:moveTo>
                    <a:pt x="6" y="58"/>
                  </a:moveTo>
                  <a:lnTo>
                    <a:pt x="6" y="58"/>
                  </a:lnTo>
                  <a:lnTo>
                    <a:pt x="10" y="60"/>
                  </a:lnTo>
                  <a:lnTo>
                    <a:pt x="16" y="58"/>
                  </a:lnTo>
                  <a:lnTo>
                    <a:pt x="26" y="52"/>
                  </a:lnTo>
                  <a:lnTo>
                    <a:pt x="36" y="42"/>
                  </a:lnTo>
                  <a:lnTo>
                    <a:pt x="44" y="34"/>
                  </a:lnTo>
                  <a:lnTo>
                    <a:pt x="44" y="34"/>
                  </a:lnTo>
                  <a:lnTo>
                    <a:pt x="48" y="30"/>
                  </a:lnTo>
                  <a:lnTo>
                    <a:pt x="56" y="26"/>
                  </a:lnTo>
                  <a:lnTo>
                    <a:pt x="76" y="18"/>
                  </a:lnTo>
                  <a:lnTo>
                    <a:pt x="96" y="10"/>
                  </a:lnTo>
                  <a:lnTo>
                    <a:pt x="102" y="6"/>
                  </a:lnTo>
                  <a:lnTo>
                    <a:pt x="106" y="4"/>
                  </a:lnTo>
                  <a:lnTo>
                    <a:pt x="106" y="4"/>
                  </a:lnTo>
                  <a:lnTo>
                    <a:pt x="106" y="2"/>
                  </a:lnTo>
                  <a:lnTo>
                    <a:pt x="104" y="0"/>
                  </a:lnTo>
                  <a:lnTo>
                    <a:pt x="92" y="2"/>
                  </a:lnTo>
                  <a:lnTo>
                    <a:pt x="80" y="4"/>
                  </a:lnTo>
                  <a:lnTo>
                    <a:pt x="66" y="4"/>
                  </a:lnTo>
                  <a:lnTo>
                    <a:pt x="66" y="4"/>
                  </a:lnTo>
                  <a:lnTo>
                    <a:pt x="60" y="4"/>
                  </a:lnTo>
                  <a:lnTo>
                    <a:pt x="56" y="6"/>
                  </a:lnTo>
                  <a:lnTo>
                    <a:pt x="48" y="14"/>
                  </a:lnTo>
                  <a:lnTo>
                    <a:pt x="40" y="20"/>
                  </a:lnTo>
                  <a:lnTo>
                    <a:pt x="34" y="24"/>
                  </a:lnTo>
                  <a:lnTo>
                    <a:pt x="28" y="26"/>
                  </a:lnTo>
                  <a:lnTo>
                    <a:pt x="28" y="26"/>
                  </a:lnTo>
                  <a:lnTo>
                    <a:pt x="20" y="26"/>
                  </a:lnTo>
                  <a:lnTo>
                    <a:pt x="14" y="30"/>
                  </a:lnTo>
                  <a:lnTo>
                    <a:pt x="8" y="34"/>
                  </a:lnTo>
                  <a:lnTo>
                    <a:pt x="4" y="40"/>
                  </a:lnTo>
                  <a:lnTo>
                    <a:pt x="2" y="46"/>
                  </a:lnTo>
                  <a:lnTo>
                    <a:pt x="0" y="50"/>
                  </a:lnTo>
                  <a:lnTo>
                    <a:pt x="2" y="54"/>
                  </a:lnTo>
                  <a:lnTo>
                    <a:pt x="6" y="58"/>
                  </a:lnTo>
                  <a:lnTo>
                    <a:pt x="6" y="5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7" name="Freeform 114"/>
            <p:cNvSpPr>
              <a:spLocks/>
            </p:cNvSpPr>
            <p:nvPr/>
          </p:nvSpPr>
          <p:spPr bwMode="auto">
            <a:xfrm>
              <a:off x="12153900" y="6588125"/>
              <a:ext cx="1765300" cy="1333500"/>
            </a:xfrm>
            <a:custGeom>
              <a:avLst/>
              <a:gdLst>
                <a:gd name="T0" fmla="*/ 1100 w 1112"/>
                <a:gd name="T1" fmla="*/ 460 h 840"/>
                <a:gd name="T2" fmla="*/ 1080 w 1112"/>
                <a:gd name="T3" fmla="*/ 410 h 840"/>
                <a:gd name="T4" fmla="*/ 1048 w 1112"/>
                <a:gd name="T5" fmla="*/ 372 h 840"/>
                <a:gd name="T6" fmla="*/ 1026 w 1112"/>
                <a:gd name="T7" fmla="*/ 336 h 840"/>
                <a:gd name="T8" fmla="*/ 1000 w 1112"/>
                <a:gd name="T9" fmla="*/ 316 h 840"/>
                <a:gd name="T10" fmla="*/ 978 w 1112"/>
                <a:gd name="T11" fmla="*/ 272 h 840"/>
                <a:gd name="T12" fmla="*/ 912 w 1112"/>
                <a:gd name="T13" fmla="*/ 220 h 840"/>
                <a:gd name="T14" fmla="*/ 888 w 1112"/>
                <a:gd name="T15" fmla="*/ 150 h 840"/>
                <a:gd name="T16" fmla="*/ 866 w 1112"/>
                <a:gd name="T17" fmla="*/ 102 h 840"/>
                <a:gd name="T18" fmla="*/ 834 w 1112"/>
                <a:gd name="T19" fmla="*/ 52 h 840"/>
                <a:gd name="T20" fmla="*/ 800 w 1112"/>
                <a:gd name="T21" fmla="*/ 6 h 840"/>
                <a:gd name="T22" fmla="*/ 786 w 1112"/>
                <a:gd name="T23" fmla="*/ 70 h 840"/>
                <a:gd name="T24" fmla="*/ 772 w 1112"/>
                <a:gd name="T25" fmla="*/ 162 h 840"/>
                <a:gd name="T26" fmla="*/ 716 w 1112"/>
                <a:gd name="T27" fmla="*/ 180 h 840"/>
                <a:gd name="T28" fmla="*/ 666 w 1112"/>
                <a:gd name="T29" fmla="*/ 148 h 840"/>
                <a:gd name="T30" fmla="*/ 614 w 1112"/>
                <a:gd name="T31" fmla="*/ 114 h 840"/>
                <a:gd name="T32" fmla="*/ 634 w 1112"/>
                <a:gd name="T33" fmla="*/ 72 h 840"/>
                <a:gd name="T34" fmla="*/ 652 w 1112"/>
                <a:gd name="T35" fmla="*/ 40 h 840"/>
                <a:gd name="T36" fmla="*/ 624 w 1112"/>
                <a:gd name="T37" fmla="*/ 34 h 840"/>
                <a:gd name="T38" fmla="*/ 546 w 1112"/>
                <a:gd name="T39" fmla="*/ 24 h 840"/>
                <a:gd name="T40" fmla="*/ 534 w 1112"/>
                <a:gd name="T41" fmla="*/ 34 h 840"/>
                <a:gd name="T42" fmla="*/ 482 w 1112"/>
                <a:gd name="T43" fmla="*/ 50 h 840"/>
                <a:gd name="T44" fmla="*/ 450 w 1112"/>
                <a:gd name="T45" fmla="*/ 102 h 840"/>
                <a:gd name="T46" fmla="*/ 430 w 1112"/>
                <a:gd name="T47" fmla="*/ 112 h 840"/>
                <a:gd name="T48" fmla="*/ 410 w 1112"/>
                <a:gd name="T49" fmla="*/ 106 h 840"/>
                <a:gd name="T50" fmla="*/ 368 w 1112"/>
                <a:gd name="T51" fmla="*/ 92 h 840"/>
                <a:gd name="T52" fmla="*/ 334 w 1112"/>
                <a:gd name="T53" fmla="*/ 108 h 840"/>
                <a:gd name="T54" fmla="*/ 316 w 1112"/>
                <a:gd name="T55" fmla="*/ 128 h 840"/>
                <a:gd name="T56" fmla="*/ 290 w 1112"/>
                <a:gd name="T57" fmla="*/ 154 h 840"/>
                <a:gd name="T58" fmla="*/ 282 w 1112"/>
                <a:gd name="T59" fmla="*/ 188 h 840"/>
                <a:gd name="T60" fmla="*/ 250 w 1112"/>
                <a:gd name="T61" fmla="*/ 188 h 840"/>
                <a:gd name="T62" fmla="*/ 174 w 1112"/>
                <a:gd name="T63" fmla="*/ 258 h 840"/>
                <a:gd name="T64" fmla="*/ 114 w 1112"/>
                <a:gd name="T65" fmla="*/ 282 h 840"/>
                <a:gd name="T66" fmla="*/ 46 w 1112"/>
                <a:gd name="T67" fmla="*/ 308 h 840"/>
                <a:gd name="T68" fmla="*/ 28 w 1112"/>
                <a:gd name="T69" fmla="*/ 310 h 840"/>
                <a:gd name="T70" fmla="*/ 16 w 1112"/>
                <a:gd name="T71" fmla="*/ 362 h 840"/>
                <a:gd name="T72" fmla="*/ 28 w 1112"/>
                <a:gd name="T73" fmla="*/ 442 h 840"/>
                <a:gd name="T74" fmla="*/ 20 w 1112"/>
                <a:gd name="T75" fmla="*/ 446 h 840"/>
                <a:gd name="T76" fmla="*/ 12 w 1112"/>
                <a:gd name="T77" fmla="*/ 460 h 840"/>
                <a:gd name="T78" fmla="*/ 50 w 1112"/>
                <a:gd name="T79" fmla="*/ 554 h 840"/>
                <a:gd name="T80" fmla="*/ 68 w 1112"/>
                <a:gd name="T81" fmla="*/ 654 h 840"/>
                <a:gd name="T82" fmla="*/ 66 w 1112"/>
                <a:gd name="T83" fmla="*/ 686 h 840"/>
                <a:gd name="T84" fmla="*/ 146 w 1112"/>
                <a:gd name="T85" fmla="*/ 700 h 840"/>
                <a:gd name="T86" fmla="*/ 250 w 1112"/>
                <a:gd name="T87" fmla="*/ 674 h 840"/>
                <a:gd name="T88" fmla="*/ 336 w 1112"/>
                <a:gd name="T89" fmla="*/ 632 h 840"/>
                <a:gd name="T90" fmla="*/ 466 w 1112"/>
                <a:gd name="T91" fmla="*/ 602 h 840"/>
                <a:gd name="T92" fmla="*/ 548 w 1112"/>
                <a:gd name="T93" fmla="*/ 618 h 840"/>
                <a:gd name="T94" fmla="*/ 578 w 1112"/>
                <a:gd name="T95" fmla="*/ 646 h 840"/>
                <a:gd name="T96" fmla="*/ 608 w 1112"/>
                <a:gd name="T97" fmla="*/ 698 h 840"/>
                <a:gd name="T98" fmla="*/ 656 w 1112"/>
                <a:gd name="T99" fmla="*/ 674 h 840"/>
                <a:gd name="T100" fmla="*/ 674 w 1112"/>
                <a:gd name="T101" fmla="*/ 668 h 840"/>
                <a:gd name="T102" fmla="*/ 656 w 1112"/>
                <a:gd name="T103" fmla="*/ 710 h 840"/>
                <a:gd name="T104" fmla="*/ 694 w 1112"/>
                <a:gd name="T105" fmla="*/ 696 h 840"/>
                <a:gd name="T106" fmla="*/ 710 w 1112"/>
                <a:gd name="T107" fmla="*/ 724 h 840"/>
                <a:gd name="T108" fmla="*/ 736 w 1112"/>
                <a:gd name="T109" fmla="*/ 788 h 840"/>
                <a:gd name="T110" fmla="*/ 830 w 1112"/>
                <a:gd name="T111" fmla="*/ 828 h 840"/>
                <a:gd name="T112" fmla="*/ 874 w 1112"/>
                <a:gd name="T113" fmla="*/ 804 h 840"/>
                <a:gd name="T114" fmla="*/ 882 w 1112"/>
                <a:gd name="T115" fmla="*/ 816 h 840"/>
                <a:gd name="T116" fmla="*/ 916 w 1112"/>
                <a:gd name="T117" fmla="*/ 838 h 840"/>
                <a:gd name="T118" fmla="*/ 966 w 1112"/>
                <a:gd name="T119" fmla="*/ 800 h 840"/>
                <a:gd name="T120" fmla="*/ 1036 w 1112"/>
                <a:gd name="T121" fmla="*/ 710 h 840"/>
                <a:gd name="T122" fmla="*/ 1084 w 1112"/>
                <a:gd name="T123" fmla="*/ 620 h 840"/>
                <a:gd name="T124" fmla="*/ 1104 w 1112"/>
                <a:gd name="T125" fmla="*/ 53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2" h="840">
                  <a:moveTo>
                    <a:pt x="1110" y="496"/>
                  </a:moveTo>
                  <a:lnTo>
                    <a:pt x="1110" y="496"/>
                  </a:lnTo>
                  <a:lnTo>
                    <a:pt x="1112" y="494"/>
                  </a:lnTo>
                  <a:lnTo>
                    <a:pt x="1112" y="490"/>
                  </a:lnTo>
                  <a:lnTo>
                    <a:pt x="1110" y="484"/>
                  </a:lnTo>
                  <a:lnTo>
                    <a:pt x="1108" y="478"/>
                  </a:lnTo>
                  <a:lnTo>
                    <a:pt x="1106" y="476"/>
                  </a:lnTo>
                  <a:lnTo>
                    <a:pt x="1104" y="476"/>
                  </a:lnTo>
                  <a:lnTo>
                    <a:pt x="1104" y="476"/>
                  </a:lnTo>
                  <a:lnTo>
                    <a:pt x="1102" y="476"/>
                  </a:lnTo>
                  <a:lnTo>
                    <a:pt x="1102" y="472"/>
                  </a:lnTo>
                  <a:lnTo>
                    <a:pt x="1100" y="460"/>
                  </a:lnTo>
                  <a:lnTo>
                    <a:pt x="1100" y="444"/>
                  </a:lnTo>
                  <a:lnTo>
                    <a:pt x="1102" y="430"/>
                  </a:lnTo>
                  <a:lnTo>
                    <a:pt x="1102" y="430"/>
                  </a:lnTo>
                  <a:lnTo>
                    <a:pt x="1104" y="422"/>
                  </a:lnTo>
                  <a:lnTo>
                    <a:pt x="1104" y="420"/>
                  </a:lnTo>
                  <a:lnTo>
                    <a:pt x="1100" y="420"/>
                  </a:lnTo>
                  <a:lnTo>
                    <a:pt x="1096" y="426"/>
                  </a:lnTo>
                  <a:lnTo>
                    <a:pt x="1096" y="426"/>
                  </a:lnTo>
                  <a:lnTo>
                    <a:pt x="1092" y="426"/>
                  </a:lnTo>
                  <a:lnTo>
                    <a:pt x="1090" y="426"/>
                  </a:lnTo>
                  <a:lnTo>
                    <a:pt x="1084" y="420"/>
                  </a:lnTo>
                  <a:lnTo>
                    <a:pt x="1080" y="410"/>
                  </a:lnTo>
                  <a:lnTo>
                    <a:pt x="1078" y="404"/>
                  </a:lnTo>
                  <a:lnTo>
                    <a:pt x="1078" y="404"/>
                  </a:lnTo>
                  <a:lnTo>
                    <a:pt x="1076" y="398"/>
                  </a:lnTo>
                  <a:lnTo>
                    <a:pt x="1070" y="390"/>
                  </a:lnTo>
                  <a:lnTo>
                    <a:pt x="1064" y="384"/>
                  </a:lnTo>
                  <a:lnTo>
                    <a:pt x="1060" y="384"/>
                  </a:lnTo>
                  <a:lnTo>
                    <a:pt x="1056" y="384"/>
                  </a:lnTo>
                  <a:lnTo>
                    <a:pt x="1056" y="384"/>
                  </a:lnTo>
                  <a:lnTo>
                    <a:pt x="1054" y="384"/>
                  </a:lnTo>
                  <a:lnTo>
                    <a:pt x="1052" y="382"/>
                  </a:lnTo>
                  <a:lnTo>
                    <a:pt x="1050" y="378"/>
                  </a:lnTo>
                  <a:lnTo>
                    <a:pt x="1048" y="372"/>
                  </a:lnTo>
                  <a:lnTo>
                    <a:pt x="1046" y="370"/>
                  </a:lnTo>
                  <a:lnTo>
                    <a:pt x="1044" y="370"/>
                  </a:lnTo>
                  <a:lnTo>
                    <a:pt x="1044" y="370"/>
                  </a:lnTo>
                  <a:lnTo>
                    <a:pt x="1040" y="370"/>
                  </a:lnTo>
                  <a:lnTo>
                    <a:pt x="1038" y="370"/>
                  </a:lnTo>
                  <a:lnTo>
                    <a:pt x="1034" y="362"/>
                  </a:lnTo>
                  <a:lnTo>
                    <a:pt x="1032" y="354"/>
                  </a:lnTo>
                  <a:lnTo>
                    <a:pt x="1034" y="342"/>
                  </a:lnTo>
                  <a:lnTo>
                    <a:pt x="1034" y="342"/>
                  </a:lnTo>
                  <a:lnTo>
                    <a:pt x="1034" y="336"/>
                  </a:lnTo>
                  <a:lnTo>
                    <a:pt x="1030" y="334"/>
                  </a:lnTo>
                  <a:lnTo>
                    <a:pt x="1026" y="336"/>
                  </a:lnTo>
                  <a:lnTo>
                    <a:pt x="1024" y="334"/>
                  </a:lnTo>
                  <a:lnTo>
                    <a:pt x="1022" y="334"/>
                  </a:lnTo>
                  <a:lnTo>
                    <a:pt x="1022" y="334"/>
                  </a:lnTo>
                  <a:lnTo>
                    <a:pt x="1020" y="330"/>
                  </a:lnTo>
                  <a:lnTo>
                    <a:pt x="1016" y="330"/>
                  </a:lnTo>
                  <a:lnTo>
                    <a:pt x="1006" y="334"/>
                  </a:lnTo>
                  <a:lnTo>
                    <a:pt x="1006" y="334"/>
                  </a:lnTo>
                  <a:lnTo>
                    <a:pt x="1004" y="334"/>
                  </a:lnTo>
                  <a:lnTo>
                    <a:pt x="1002" y="334"/>
                  </a:lnTo>
                  <a:lnTo>
                    <a:pt x="1000" y="328"/>
                  </a:lnTo>
                  <a:lnTo>
                    <a:pt x="1000" y="322"/>
                  </a:lnTo>
                  <a:lnTo>
                    <a:pt x="1000" y="316"/>
                  </a:lnTo>
                  <a:lnTo>
                    <a:pt x="1000" y="316"/>
                  </a:lnTo>
                  <a:lnTo>
                    <a:pt x="1000" y="310"/>
                  </a:lnTo>
                  <a:lnTo>
                    <a:pt x="1000" y="306"/>
                  </a:lnTo>
                  <a:lnTo>
                    <a:pt x="996" y="300"/>
                  </a:lnTo>
                  <a:lnTo>
                    <a:pt x="990" y="296"/>
                  </a:lnTo>
                  <a:lnTo>
                    <a:pt x="990" y="296"/>
                  </a:lnTo>
                  <a:lnTo>
                    <a:pt x="984" y="290"/>
                  </a:lnTo>
                  <a:lnTo>
                    <a:pt x="982" y="286"/>
                  </a:lnTo>
                  <a:lnTo>
                    <a:pt x="980" y="282"/>
                  </a:lnTo>
                  <a:lnTo>
                    <a:pt x="980" y="276"/>
                  </a:lnTo>
                  <a:lnTo>
                    <a:pt x="980" y="276"/>
                  </a:lnTo>
                  <a:lnTo>
                    <a:pt x="978" y="272"/>
                  </a:lnTo>
                  <a:lnTo>
                    <a:pt x="972" y="268"/>
                  </a:lnTo>
                  <a:lnTo>
                    <a:pt x="954" y="256"/>
                  </a:lnTo>
                  <a:lnTo>
                    <a:pt x="932" y="244"/>
                  </a:lnTo>
                  <a:lnTo>
                    <a:pt x="918" y="238"/>
                  </a:lnTo>
                  <a:lnTo>
                    <a:pt x="918" y="238"/>
                  </a:lnTo>
                  <a:lnTo>
                    <a:pt x="914" y="238"/>
                  </a:lnTo>
                  <a:lnTo>
                    <a:pt x="912" y="236"/>
                  </a:lnTo>
                  <a:lnTo>
                    <a:pt x="912" y="230"/>
                  </a:lnTo>
                  <a:lnTo>
                    <a:pt x="912" y="224"/>
                  </a:lnTo>
                  <a:lnTo>
                    <a:pt x="912" y="222"/>
                  </a:lnTo>
                  <a:lnTo>
                    <a:pt x="912" y="220"/>
                  </a:lnTo>
                  <a:lnTo>
                    <a:pt x="912" y="220"/>
                  </a:lnTo>
                  <a:lnTo>
                    <a:pt x="908" y="216"/>
                  </a:lnTo>
                  <a:lnTo>
                    <a:pt x="906" y="206"/>
                  </a:lnTo>
                  <a:lnTo>
                    <a:pt x="904" y="186"/>
                  </a:lnTo>
                  <a:lnTo>
                    <a:pt x="904" y="186"/>
                  </a:lnTo>
                  <a:lnTo>
                    <a:pt x="904" y="182"/>
                  </a:lnTo>
                  <a:lnTo>
                    <a:pt x="902" y="178"/>
                  </a:lnTo>
                  <a:lnTo>
                    <a:pt x="896" y="172"/>
                  </a:lnTo>
                  <a:lnTo>
                    <a:pt x="890" y="166"/>
                  </a:lnTo>
                  <a:lnTo>
                    <a:pt x="888" y="162"/>
                  </a:lnTo>
                  <a:lnTo>
                    <a:pt x="888" y="158"/>
                  </a:lnTo>
                  <a:lnTo>
                    <a:pt x="888" y="158"/>
                  </a:lnTo>
                  <a:lnTo>
                    <a:pt x="888" y="150"/>
                  </a:lnTo>
                  <a:lnTo>
                    <a:pt x="886" y="142"/>
                  </a:lnTo>
                  <a:lnTo>
                    <a:pt x="884" y="134"/>
                  </a:lnTo>
                  <a:lnTo>
                    <a:pt x="884" y="126"/>
                  </a:lnTo>
                  <a:lnTo>
                    <a:pt x="884" y="126"/>
                  </a:lnTo>
                  <a:lnTo>
                    <a:pt x="884" y="122"/>
                  </a:lnTo>
                  <a:lnTo>
                    <a:pt x="882" y="118"/>
                  </a:lnTo>
                  <a:lnTo>
                    <a:pt x="876" y="112"/>
                  </a:lnTo>
                  <a:lnTo>
                    <a:pt x="870" y="108"/>
                  </a:lnTo>
                  <a:lnTo>
                    <a:pt x="868" y="106"/>
                  </a:lnTo>
                  <a:lnTo>
                    <a:pt x="866" y="104"/>
                  </a:lnTo>
                  <a:lnTo>
                    <a:pt x="866" y="104"/>
                  </a:lnTo>
                  <a:lnTo>
                    <a:pt x="866" y="102"/>
                  </a:lnTo>
                  <a:lnTo>
                    <a:pt x="864" y="100"/>
                  </a:lnTo>
                  <a:lnTo>
                    <a:pt x="860" y="100"/>
                  </a:lnTo>
                  <a:lnTo>
                    <a:pt x="846" y="104"/>
                  </a:lnTo>
                  <a:lnTo>
                    <a:pt x="846" y="104"/>
                  </a:lnTo>
                  <a:lnTo>
                    <a:pt x="842" y="104"/>
                  </a:lnTo>
                  <a:lnTo>
                    <a:pt x="840" y="102"/>
                  </a:lnTo>
                  <a:lnTo>
                    <a:pt x="838" y="96"/>
                  </a:lnTo>
                  <a:lnTo>
                    <a:pt x="836" y="88"/>
                  </a:lnTo>
                  <a:lnTo>
                    <a:pt x="838" y="76"/>
                  </a:lnTo>
                  <a:lnTo>
                    <a:pt x="838" y="76"/>
                  </a:lnTo>
                  <a:lnTo>
                    <a:pt x="836" y="66"/>
                  </a:lnTo>
                  <a:lnTo>
                    <a:pt x="834" y="52"/>
                  </a:lnTo>
                  <a:lnTo>
                    <a:pt x="830" y="42"/>
                  </a:lnTo>
                  <a:lnTo>
                    <a:pt x="824" y="34"/>
                  </a:lnTo>
                  <a:lnTo>
                    <a:pt x="824" y="34"/>
                  </a:lnTo>
                  <a:lnTo>
                    <a:pt x="822" y="30"/>
                  </a:lnTo>
                  <a:lnTo>
                    <a:pt x="820" y="26"/>
                  </a:lnTo>
                  <a:lnTo>
                    <a:pt x="816" y="16"/>
                  </a:lnTo>
                  <a:lnTo>
                    <a:pt x="814" y="6"/>
                  </a:lnTo>
                  <a:lnTo>
                    <a:pt x="812" y="0"/>
                  </a:lnTo>
                  <a:lnTo>
                    <a:pt x="812" y="0"/>
                  </a:lnTo>
                  <a:lnTo>
                    <a:pt x="810" y="0"/>
                  </a:lnTo>
                  <a:lnTo>
                    <a:pt x="806" y="0"/>
                  </a:lnTo>
                  <a:lnTo>
                    <a:pt x="800" y="6"/>
                  </a:lnTo>
                  <a:lnTo>
                    <a:pt x="796" y="14"/>
                  </a:lnTo>
                  <a:lnTo>
                    <a:pt x="794" y="20"/>
                  </a:lnTo>
                  <a:lnTo>
                    <a:pt x="794" y="20"/>
                  </a:lnTo>
                  <a:lnTo>
                    <a:pt x="792" y="32"/>
                  </a:lnTo>
                  <a:lnTo>
                    <a:pt x="790" y="38"/>
                  </a:lnTo>
                  <a:lnTo>
                    <a:pt x="786" y="42"/>
                  </a:lnTo>
                  <a:lnTo>
                    <a:pt x="786" y="42"/>
                  </a:lnTo>
                  <a:lnTo>
                    <a:pt x="786" y="44"/>
                  </a:lnTo>
                  <a:lnTo>
                    <a:pt x="786" y="48"/>
                  </a:lnTo>
                  <a:lnTo>
                    <a:pt x="786" y="56"/>
                  </a:lnTo>
                  <a:lnTo>
                    <a:pt x="786" y="66"/>
                  </a:lnTo>
                  <a:lnTo>
                    <a:pt x="786" y="70"/>
                  </a:lnTo>
                  <a:lnTo>
                    <a:pt x="784" y="72"/>
                  </a:lnTo>
                  <a:lnTo>
                    <a:pt x="784" y="72"/>
                  </a:lnTo>
                  <a:lnTo>
                    <a:pt x="782" y="76"/>
                  </a:lnTo>
                  <a:lnTo>
                    <a:pt x="780" y="80"/>
                  </a:lnTo>
                  <a:lnTo>
                    <a:pt x="780" y="94"/>
                  </a:lnTo>
                  <a:lnTo>
                    <a:pt x="782" y="108"/>
                  </a:lnTo>
                  <a:lnTo>
                    <a:pt x="780" y="120"/>
                  </a:lnTo>
                  <a:lnTo>
                    <a:pt x="780" y="120"/>
                  </a:lnTo>
                  <a:lnTo>
                    <a:pt x="778" y="144"/>
                  </a:lnTo>
                  <a:lnTo>
                    <a:pt x="776" y="154"/>
                  </a:lnTo>
                  <a:lnTo>
                    <a:pt x="772" y="162"/>
                  </a:lnTo>
                  <a:lnTo>
                    <a:pt x="772" y="162"/>
                  </a:lnTo>
                  <a:lnTo>
                    <a:pt x="768" y="170"/>
                  </a:lnTo>
                  <a:lnTo>
                    <a:pt x="764" y="180"/>
                  </a:lnTo>
                  <a:lnTo>
                    <a:pt x="758" y="188"/>
                  </a:lnTo>
                  <a:lnTo>
                    <a:pt x="754" y="192"/>
                  </a:lnTo>
                  <a:lnTo>
                    <a:pt x="750" y="194"/>
                  </a:lnTo>
                  <a:lnTo>
                    <a:pt x="750" y="194"/>
                  </a:lnTo>
                  <a:lnTo>
                    <a:pt x="744" y="196"/>
                  </a:lnTo>
                  <a:lnTo>
                    <a:pt x="738" y="196"/>
                  </a:lnTo>
                  <a:lnTo>
                    <a:pt x="728" y="192"/>
                  </a:lnTo>
                  <a:lnTo>
                    <a:pt x="720" y="186"/>
                  </a:lnTo>
                  <a:lnTo>
                    <a:pt x="716" y="184"/>
                  </a:lnTo>
                  <a:lnTo>
                    <a:pt x="716" y="180"/>
                  </a:lnTo>
                  <a:lnTo>
                    <a:pt x="716" y="180"/>
                  </a:lnTo>
                  <a:lnTo>
                    <a:pt x="716" y="178"/>
                  </a:lnTo>
                  <a:lnTo>
                    <a:pt x="714" y="174"/>
                  </a:lnTo>
                  <a:lnTo>
                    <a:pt x="708" y="172"/>
                  </a:lnTo>
                  <a:lnTo>
                    <a:pt x="700" y="168"/>
                  </a:lnTo>
                  <a:lnTo>
                    <a:pt x="692" y="168"/>
                  </a:lnTo>
                  <a:lnTo>
                    <a:pt x="692" y="168"/>
                  </a:lnTo>
                  <a:lnTo>
                    <a:pt x="686" y="168"/>
                  </a:lnTo>
                  <a:lnTo>
                    <a:pt x="680" y="162"/>
                  </a:lnTo>
                  <a:lnTo>
                    <a:pt x="674" y="156"/>
                  </a:lnTo>
                  <a:lnTo>
                    <a:pt x="666" y="148"/>
                  </a:lnTo>
                  <a:lnTo>
                    <a:pt x="666" y="148"/>
                  </a:lnTo>
                  <a:lnTo>
                    <a:pt x="660" y="144"/>
                  </a:lnTo>
                  <a:lnTo>
                    <a:pt x="656" y="144"/>
                  </a:lnTo>
                  <a:lnTo>
                    <a:pt x="648" y="144"/>
                  </a:lnTo>
                  <a:lnTo>
                    <a:pt x="642" y="144"/>
                  </a:lnTo>
                  <a:lnTo>
                    <a:pt x="640" y="142"/>
                  </a:lnTo>
                  <a:lnTo>
                    <a:pt x="638" y="138"/>
                  </a:lnTo>
                  <a:lnTo>
                    <a:pt x="638" y="138"/>
                  </a:lnTo>
                  <a:lnTo>
                    <a:pt x="634" y="130"/>
                  </a:lnTo>
                  <a:lnTo>
                    <a:pt x="630" y="126"/>
                  </a:lnTo>
                  <a:lnTo>
                    <a:pt x="620" y="118"/>
                  </a:lnTo>
                  <a:lnTo>
                    <a:pt x="620" y="118"/>
                  </a:lnTo>
                  <a:lnTo>
                    <a:pt x="614" y="114"/>
                  </a:lnTo>
                  <a:lnTo>
                    <a:pt x="614" y="110"/>
                  </a:lnTo>
                  <a:lnTo>
                    <a:pt x="616" y="108"/>
                  </a:lnTo>
                  <a:lnTo>
                    <a:pt x="622" y="104"/>
                  </a:lnTo>
                  <a:lnTo>
                    <a:pt x="622" y="104"/>
                  </a:lnTo>
                  <a:lnTo>
                    <a:pt x="626" y="98"/>
                  </a:lnTo>
                  <a:lnTo>
                    <a:pt x="628" y="94"/>
                  </a:lnTo>
                  <a:lnTo>
                    <a:pt x="628" y="88"/>
                  </a:lnTo>
                  <a:lnTo>
                    <a:pt x="624" y="82"/>
                  </a:lnTo>
                  <a:lnTo>
                    <a:pt x="624" y="82"/>
                  </a:lnTo>
                  <a:lnTo>
                    <a:pt x="624" y="76"/>
                  </a:lnTo>
                  <a:lnTo>
                    <a:pt x="626" y="74"/>
                  </a:lnTo>
                  <a:lnTo>
                    <a:pt x="634" y="72"/>
                  </a:lnTo>
                  <a:lnTo>
                    <a:pt x="642" y="68"/>
                  </a:lnTo>
                  <a:lnTo>
                    <a:pt x="642" y="68"/>
                  </a:lnTo>
                  <a:lnTo>
                    <a:pt x="646" y="66"/>
                  </a:lnTo>
                  <a:lnTo>
                    <a:pt x="648" y="64"/>
                  </a:lnTo>
                  <a:lnTo>
                    <a:pt x="648" y="58"/>
                  </a:lnTo>
                  <a:lnTo>
                    <a:pt x="648" y="54"/>
                  </a:lnTo>
                  <a:lnTo>
                    <a:pt x="648" y="52"/>
                  </a:lnTo>
                  <a:lnTo>
                    <a:pt x="650" y="50"/>
                  </a:lnTo>
                  <a:lnTo>
                    <a:pt x="650" y="50"/>
                  </a:lnTo>
                  <a:lnTo>
                    <a:pt x="656" y="46"/>
                  </a:lnTo>
                  <a:lnTo>
                    <a:pt x="654" y="42"/>
                  </a:lnTo>
                  <a:lnTo>
                    <a:pt x="652" y="40"/>
                  </a:lnTo>
                  <a:lnTo>
                    <a:pt x="644" y="36"/>
                  </a:lnTo>
                  <a:lnTo>
                    <a:pt x="644" y="36"/>
                  </a:lnTo>
                  <a:lnTo>
                    <a:pt x="642" y="36"/>
                  </a:lnTo>
                  <a:lnTo>
                    <a:pt x="640" y="38"/>
                  </a:lnTo>
                  <a:lnTo>
                    <a:pt x="638" y="42"/>
                  </a:lnTo>
                  <a:lnTo>
                    <a:pt x="636" y="46"/>
                  </a:lnTo>
                  <a:lnTo>
                    <a:pt x="634" y="48"/>
                  </a:lnTo>
                  <a:lnTo>
                    <a:pt x="634" y="48"/>
                  </a:lnTo>
                  <a:lnTo>
                    <a:pt x="632" y="46"/>
                  </a:lnTo>
                  <a:lnTo>
                    <a:pt x="630" y="40"/>
                  </a:lnTo>
                  <a:lnTo>
                    <a:pt x="626" y="36"/>
                  </a:lnTo>
                  <a:lnTo>
                    <a:pt x="624" y="34"/>
                  </a:lnTo>
                  <a:lnTo>
                    <a:pt x="624" y="34"/>
                  </a:lnTo>
                  <a:lnTo>
                    <a:pt x="616" y="40"/>
                  </a:lnTo>
                  <a:lnTo>
                    <a:pt x="610" y="44"/>
                  </a:lnTo>
                  <a:lnTo>
                    <a:pt x="606" y="44"/>
                  </a:lnTo>
                  <a:lnTo>
                    <a:pt x="604" y="42"/>
                  </a:lnTo>
                  <a:lnTo>
                    <a:pt x="604" y="42"/>
                  </a:lnTo>
                  <a:lnTo>
                    <a:pt x="600" y="38"/>
                  </a:lnTo>
                  <a:lnTo>
                    <a:pt x="594" y="36"/>
                  </a:lnTo>
                  <a:lnTo>
                    <a:pt x="580" y="32"/>
                  </a:lnTo>
                  <a:lnTo>
                    <a:pt x="550" y="26"/>
                  </a:lnTo>
                  <a:lnTo>
                    <a:pt x="550" y="26"/>
                  </a:lnTo>
                  <a:lnTo>
                    <a:pt x="546" y="24"/>
                  </a:lnTo>
                  <a:lnTo>
                    <a:pt x="542" y="22"/>
                  </a:lnTo>
                  <a:lnTo>
                    <a:pt x="536" y="16"/>
                  </a:lnTo>
                  <a:lnTo>
                    <a:pt x="530" y="10"/>
                  </a:lnTo>
                  <a:lnTo>
                    <a:pt x="528" y="10"/>
                  </a:lnTo>
                  <a:lnTo>
                    <a:pt x="526" y="10"/>
                  </a:lnTo>
                  <a:lnTo>
                    <a:pt x="526" y="10"/>
                  </a:lnTo>
                  <a:lnTo>
                    <a:pt x="522" y="12"/>
                  </a:lnTo>
                  <a:lnTo>
                    <a:pt x="524" y="16"/>
                  </a:lnTo>
                  <a:lnTo>
                    <a:pt x="536" y="28"/>
                  </a:lnTo>
                  <a:lnTo>
                    <a:pt x="536" y="28"/>
                  </a:lnTo>
                  <a:lnTo>
                    <a:pt x="536" y="32"/>
                  </a:lnTo>
                  <a:lnTo>
                    <a:pt x="534" y="34"/>
                  </a:lnTo>
                  <a:lnTo>
                    <a:pt x="530" y="38"/>
                  </a:lnTo>
                  <a:lnTo>
                    <a:pt x="522" y="40"/>
                  </a:lnTo>
                  <a:lnTo>
                    <a:pt x="506" y="42"/>
                  </a:lnTo>
                  <a:lnTo>
                    <a:pt x="494" y="40"/>
                  </a:lnTo>
                  <a:lnTo>
                    <a:pt x="494" y="40"/>
                  </a:lnTo>
                  <a:lnTo>
                    <a:pt x="490" y="40"/>
                  </a:lnTo>
                  <a:lnTo>
                    <a:pt x="490" y="44"/>
                  </a:lnTo>
                  <a:lnTo>
                    <a:pt x="490" y="48"/>
                  </a:lnTo>
                  <a:lnTo>
                    <a:pt x="488" y="48"/>
                  </a:lnTo>
                  <a:lnTo>
                    <a:pt x="486" y="48"/>
                  </a:lnTo>
                  <a:lnTo>
                    <a:pt x="486" y="48"/>
                  </a:lnTo>
                  <a:lnTo>
                    <a:pt x="482" y="50"/>
                  </a:lnTo>
                  <a:lnTo>
                    <a:pt x="480" y="50"/>
                  </a:lnTo>
                  <a:lnTo>
                    <a:pt x="476" y="58"/>
                  </a:lnTo>
                  <a:lnTo>
                    <a:pt x="472" y="66"/>
                  </a:lnTo>
                  <a:lnTo>
                    <a:pt x="466" y="74"/>
                  </a:lnTo>
                  <a:lnTo>
                    <a:pt x="466" y="74"/>
                  </a:lnTo>
                  <a:lnTo>
                    <a:pt x="462" y="80"/>
                  </a:lnTo>
                  <a:lnTo>
                    <a:pt x="462" y="84"/>
                  </a:lnTo>
                  <a:lnTo>
                    <a:pt x="460" y="88"/>
                  </a:lnTo>
                  <a:lnTo>
                    <a:pt x="456" y="94"/>
                  </a:lnTo>
                  <a:lnTo>
                    <a:pt x="456" y="94"/>
                  </a:lnTo>
                  <a:lnTo>
                    <a:pt x="450" y="98"/>
                  </a:lnTo>
                  <a:lnTo>
                    <a:pt x="450" y="102"/>
                  </a:lnTo>
                  <a:lnTo>
                    <a:pt x="452" y="108"/>
                  </a:lnTo>
                  <a:lnTo>
                    <a:pt x="456" y="116"/>
                  </a:lnTo>
                  <a:lnTo>
                    <a:pt x="456" y="116"/>
                  </a:lnTo>
                  <a:lnTo>
                    <a:pt x="460" y="120"/>
                  </a:lnTo>
                  <a:lnTo>
                    <a:pt x="460" y="122"/>
                  </a:lnTo>
                  <a:lnTo>
                    <a:pt x="460" y="124"/>
                  </a:lnTo>
                  <a:lnTo>
                    <a:pt x="458" y="126"/>
                  </a:lnTo>
                  <a:lnTo>
                    <a:pt x="450" y="124"/>
                  </a:lnTo>
                  <a:lnTo>
                    <a:pt x="444" y="120"/>
                  </a:lnTo>
                  <a:lnTo>
                    <a:pt x="444" y="120"/>
                  </a:lnTo>
                  <a:lnTo>
                    <a:pt x="436" y="114"/>
                  </a:lnTo>
                  <a:lnTo>
                    <a:pt x="430" y="112"/>
                  </a:lnTo>
                  <a:lnTo>
                    <a:pt x="426" y="114"/>
                  </a:lnTo>
                  <a:lnTo>
                    <a:pt x="426" y="120"/>
                  </a:lnTo>
                  <a:lnTo>
                    <a:pt x="426" y="120"/>
                  </a:lnTo>
                  <a:lnTo>
                    <a:pt x="426" y="124"/>
                  </a:lnTo>
                  <a:lnTo>
                    <a:pt x="424" y="126"/>
                  </a:lnTo>
                  <a:lnTo>
                    <a:pt x="420" y="126"/>
                  </a:lnTo>
                  <a:lnTo>
                    <a:pt x="418" y="122"/>
                  </a:lnTo>
                  <a:lnTo>
                    <a:pt x="416" y="114"/>
                  </a:lnTo>
                  <a:lnTo>
                    <a:pt x="416" y="114"/>
                  </a:lnTo>
                  <a:lnTo>
                    <a:pt x="416" y="110"/>
                  </a:lnTo>
                  <a:lnTo>
                    <a:pt x="416" y="108"/>
                  </a:lnTo>
                  <a:lnTo>
                    <a:pt x="410" y="106"/>
                  </a:lnTo>
                  <a:lnTo>
                    <a:pt x="404" y="104"/>
                  </a:lnTo>
                  <a:lnTo>
                    <a:pt x="402" y="104"/>
                  </a:lnTo>
                  <a:lnTo>
                    <a:pt x="402" y="102"/>
                  </a:lnTo>
                  <a:lnTo>
                    <a:pt x="402" y="102"/>
                  </a:lnTo>
                  <a:lnTo>
                    <a:pt x="398" y="96"/>
                  </a:lnTo>
                  <a:lnTo>
                    <a:pt x="392" y="90"/>
                  </a:lnTo>
                  <a:lnTo>
                    <a:pt x="384" y="86"/>
                  </a:lnTo>
                  <a:lnTo>
                    <a:pt x="378" y="84"/>
                  </a:lnTo>
                  <a:lnTo>
                    <a:pt x="378" y="84"/>
                  </a:lnTo>
                  <a:lnTo>
                    <a:pt x="374" y="86"/>
                  </a:lnTo>
                  <a:lnTo>
                    <a:pt x="370" y="90"/>
                  </a:lnTo>
                  <a:lnTo>
                    <a:pt x="368" y="92"/>
                  </a:lnTo>
                  <a:lnTo>
                    <a:pt x="362" y="94"/>
                  </a:lnTo>
                  <a:lnTo>
                    <a:pt x="362" y="94"/>
                  </a:lnTo>
                  <a:lnTo>
                    <a:pt x="358" y="94"/>
                  </a:lnTo>
                  <a:lnTo>
                    <a:pt x="354" y="96"/>
                  </a:lnTo>
                  <a:lnTo>
                    <a:pt x="354" y="100"/>
                  </a:lnTo>
                  <a:lnTo>
                    <a:pt x="354" y="106"/>
                  </a:lnTo>
                  <a:lnTo>
                    <a:pt x="354" y="106"/>
                  </a:lnTo>
                  <a:lnTo>
                    <a:pt x="354" y="108"/>
                  </a:lnTo>
                  <a:lnTo>
                    <a:pt x="352" y="110"/>
                  </a:lnTo>
                  <a:lnTo>
                    <a:pt x="348" y="110"/>
                  </a:lnTo>
                  <a:lnTo>
                    <a:pt x="340" y="108"/>
                  </a:lnTo>
                  <a:lnTo>
                    <a:pt x="334" y="108"/>
                  </a:lnTo>
                  <a:lnTo>
                    <a:pt x="334" y="108"/>
                  </a:lnTo>
                  <a:lnTo>
                    <a:pt x="330" y="108"/>
                  </a:lnTo>
                  <a:lnTo>
                    <a:pt x="330" y="110"/>
                  </a:lnTo>
                  <a:lnTo>
                    <a:pt x="330" y="114"/>
                  </a:lnTo>
                  <a:lnTo>
                    <a:pt x="330" y="118"/>
                  </a:lnTo>
                  <a:lnTo>
                    <a:pt x="330" y="118"/>
                  </a:lnTo>
                  <a:lnTo>
                    <a:pt x="328" y="120"/>
                  </a:lnTo>
                  <a:lnTo>
                    <a:pt x="328" y="120"/>
                  </a:lnTo>
                  <a:lnTo>
                    <a:pt x="326" y="120"/>
                  </a:lnTo>
                  <a:lnTo>
                    <a:pt x="322" y="124"/>
                  </a:lnTo>
                  <a:lnTo>
                    <a:pt x="320" y="126"/>
                  </a:lnTo>
                  <a:lnTo>
                    <a:pt x="316" y="128"/>
                  </a:lnTo>
                  <a:lnTo>
                    <a:pt x="316" y="128"/>
                  </a:lnTo>
                  <a:lnTo>
                    <a:pt x="312" y="130"/>
                  </a:lnTo>
                  <a:lnTo>
                    <a:pt x="312" y="132"/>
                  </a:lnTo>
                  <a:lnTo>
                    <a:pt x="310" y="138"/>
                  </a:lnTo>
                  <a:lnTo>
                    <a:pt x="310" y="154"/>
                  </a:lnTo>
                  <a:lnTo>
                    <a:pt x="310" y="154"/>
                  </a:lnTo>
                  <a:lnTo>
                    <a:pt x="310" y="158"/>
                  </a:lnTo>
                  <a:lnTo>
                    <a:pt x="308" y="158"/>
                  </a:lnTo>
                  <a:lnTo>
                    <a:pt x="304" y="156"/>
                  </a:lnTo>
                  <a:lnTo>
                    <a:pt x="296" y="154"/>
                  </a:lnTo>
                  <a:lnTo>
                    <a:pt x="290" y="154"/>
                  </a:lnTo>
                  <a:lnTo>
                    <a:pt x="290" y="154"/>
                  </a:lnTo>
                  <a:lnTo>
                    <a:pt x="288" y="154"/>
                  </a:lnTo>
                  <a:lnTo>
                    <a:pt x="288" y="156"/>
                  </a:lnTo>
                  <a:lnTo>
                    <a:pt x="288" y="160"/>
                  </a:lnTo>
                  <a:lnTo>
                    <a:pt x="292" y="166"/>
                  </a:lnTo>
                  <a:lnTo>
                    <a:pt x="294" y="174"/>
                  </a:lnTo>
                  <a:lnTo>
                    <a:pt x="294" y="174"/>
                  </a:lnTo>
                  <a:lnTo>
                    <a:pt x="294" y="180"/>
                  </a:lnTo>
                  <a:lnTo>
                    <a:pt x="292" y="182"/>
                  </a:lnTo>
                  <a:lnTo>
                    <a:pt x="286" y="188"/>
                  </a:lnTo>
                  <a:lnTo>
                    <a:pt x="286" y="188"/>
                  </a:lnTo>
                  <a:lnTo>
                    <a:pt x="284" y="188"/>
                  </a:lnTo>
                  <a:lnTo>
                    <a:pt x="282" y="188"/>
                  </a:lnTo>
                  <a:lnTo>
                    <a:pt x="278" y="182"/>
                  </a:lnTo>
                  <a:lnTo>
                    <a:pt x="276" y="174"/>
                  </a:lnTo>
                  <a:lnTo>
                    <a:pt x="274" y="166"/>
                  </a:lnTo>
                  <a:lnTo>
                    <a:pt x="274" y="166"/>
                  </a:lnTo>
                  <a:lnTo>
                    <a:pt x="274" y="164"/>
                  </a:lnTo>
                  <a:lnTo>
                    <a:pt x="274" y="164"/>
                  </a:lnTo>
                  <a:lnTo>
                    <a:pt x="268" y="164"/>
                  </a:lnTo>
                  <a:lnTo>
                    <a:pt x="262" y="170"/>
                  </a:lnTo>
                  <a:lnTo>
                    <a:pt x="254" y="178"/>
                  </a:lnTo>
                  <a:lnTo>
                    <a:pt x="254" y="178"/>
                  </a:lnTo>
                  <a:lnTo>
                    <a:pt x="250" y="182"/>
                  </a:lnTo>
                  <a:lnTo>
                    <a:pt x="250" y="188"/>
                  </a:lnTo>
                  <a:lnTo>
                    <a:pt x="250" y="198"/>
                  </a:lnTo>
                  <a:lnTo>
                    <a:pt x="254" y="206"/>
                  </a:lnTo>
                  <a:lnTo>
                    <a:pt x="254" y="208"/>
                  </a:lnTo>
                  <a:lnTo>
                    <a:pt x="252" y="210"/>
                  </a:lnTo>
                  <a:lnTo>
                    <a:pt x="252" y="210"/>
                  </a:lnTo>
                  <a:lnTo>
                    <a:pt x="236" y="224"/>
                  </a:lnTo>
                  <a:lnTo>
                    <a:pt x="214" y="248"/>
                  </a:lnTo>
                  <a:lnTo>
                    <a:pt x="214" y="248"/>
                  </a:lnTo>
                  <a:lnTo>
                    <a:pt x="208" y="254"/>
                  </a:lnTo>
                  <a:lnTo>
                    <a:pt x="202" y="256"/>
                  </a:lnTo>
                  <a:lnTo>
                    <a:pt x="188" y="258"/>
                  </a:lnTo>
                  <a:lnTo>
                    <a:pt x="174" y="258"/>
                  </a:lnTo>
                  <a:lnTo>
                    <a:pt x="168" y="260"/>
                  </a:lnTo>
                  <a:lnTo>
                    <a:pt x="166" y="262"/>
                  </a:lnTo>
                  <a:lnTo>
                    <a:pt x="166" y="262"/>
                  </a:lnTo>
                  <a:lnTo>
                    <a:pt x="158" y="266"/>
                  </a:lnTo>
                  <a:lnTo>
                    <a:pt x="152" y="266"/>
                  </a:lnTo>
                  <a:lnTo>
                    <a:pt x="146" y="268"/>
                  </a:lnTo>
                  <a:lnTo>
                    <a:pt x="140" y="270"/>
                  </a:lnTo>
                  <a:lnTo>
                    <a:pt x="140" y="270"/>
                  </a:lnTo>
                  <a:lnTo>
                    <a:pt x="124" y="282"/>
                  </a:lnTo>
                  <a:lnTo>
                    <a:pt x="116" y="284"/>
                  </a:lnTo>
                  <a:lnTo>
                    <a:pt x="114" y="284"/>
                  </a:lnTo>
                  <a:lnTo>
                    <a:pt x="114" y="282"/>
                  </a:lnTo>
                  <a:lnTo>
                    <a:pt x="114" y="282"/>
                  </a:lnTo>
                  <a:lnTo>
                    <a:pt x="112" y="280"/>
                  </a:lnTo>
                  <a:lnTo>
                    <a:pt x="108" y="278"/>
                  </a:lnTo>
                  <a:lnTo>
                    <a:pt x="100" y="280"/>
                  </a:lnTo>
                  <a:lnTo>
                    <a:pt x="90" y="284"/>
                  </a:lnTo>
                  <a:lnTo>
                    <a:pt x="80" y="290"/>
                  </a:lnTo>
                  <a:lnTo>
                    <a:pt x="80" y="290"/>
                  </a:lnTo>
                  <a:lnTo>
                    <a:pt x="72" y="296"/>
                  </a:lnTo>
                  <a:lnTo>
                    <a:pt x="64" y="302"/>
                  </a:lnTo>
                  <a:lnTo>
                    <a:pt x="54" y="306"/>
                  </a:lnTo>
                  <a:lnTo>
                    <a:pt x="46" y="308"/>
                  </a:lnTo>
                  <a:lnTo>
                    <a:pt x="46" y="308"/>
                  </a:lnTo>
                  <a:lnTo>
                    <a:pt x="44" y="310"/>
                  </a:lnTo>
                  <a:lnTo>
                    <a:pt x="40" y="312"/>
                  </a:lnTo>
                  <a:lnTo>
                    <a:pt x="38" y="318"/>
                  </a:lnTo>
                  <a:lnTo>
                    <a:pt x="34" y="324"/>
                  </a:lnTo>
                  <a:lnTo>
                    <a:pt x="32" y="328"/>
                  </a:lnTo>
                  <a:lnTo>
                    <a:pt x="32" y="328"/>
                  </a:lnTo>
                  <a:lnTo>
                    <a:pt x="30" y="328"/>
                  </a:lnTo>
                  <a:lnTo>
                    <a:pt x="30" y="328"/>
                  </a:lnTo>
                  <a:lnTo>
                    <a:pt x="28" y="322"/>
                  </a:lnTo>
                  <a:lnTo>
                    <a:pt x="30" y="312"/>
                  </a:lnTo>
                  <a:lnTo>
                    <a:pt x="30" y="312"/>
                  </a:lnTo>
                  <a:lnTo>
                    <a:pt x="28" y="310"/>
                  </a:lnTo>
                  <a:lnTo>
                    <a:pt x="28" y="310"/>
                  </a:lnTo>
                  <a:lnTo>
                    <a:pt x="24" y="316"/>
                  </a:lnTo>
                  <a:lnTo>
                    <a:pt x="20" y="322"/>
                  </a:lnTo>
                  <a:lnTo>
                    <a:pt x="16" y="332"/>
                  </a:lnTo>
                  <a:lnTo>
                    <a:pt x="16" y="332"/>
                  </a:lnTo>
                  <a:lnTo>
                    <a:pt x="14" y="336"/>
                  </a:lnTo>
                  <a:lnTo>
                    <a:pt x="14" y="340"/>
                  </a:lnTo>
                  <a:lnTo>
                    <a:pt x="18" y="346"/>
                  </a:lnTo>
                  <a:lnTo>
                    <a:pt x="20" y="354"/>
                  </a:lnTo>
                  <a:lnTo>
                    <a:pt x="18" y="358"/>
                  </a:lnTo>
                  <a:lnTo>
                    <a:pt x="16" y="362"/>
                  </a:lnTo>
                  <a:lnTo>
                    <a:pt x="16" y="362"/>
                  </a:lnTo>
                  <a:lnTo>
                    <a:pt x="10" y="372"/>
                  </a:lnTo>
                  <a:lnTo>
                    <a:pt x="6" y="382"/>
                  </a:lnTo>
                  <a:lnTo>
                    <a:pt x="6" y="388"/>
                  </a:lnTo>
                  <a:lnTo>
                    <a:pt x="6" y="394"/>
                  </a:lnTo>
                  <a:lnTo>
                    <a:pt x="8" y="400"/>
                  </a:lnTo>
                  <a:lnTo>
                    <a:pt x="12" y="406"/>
                  </a:lnTo>
                  <a:lnTo>
                    <a:pt x="12" y="406"/>
                  </a:lnTo>
                  <a:lnTo>
                    <a:pt x="20" y="418"/>
                  </a:lnTo>
                  <a:lnTo>
                    <a:pt x="26" y="426"/>
                  </a:lnTo>
                  <a:lnTo>
                    <a:pt x="28" y="436"/>
                  </a:lnTo>
                  <a:lnTo>
                    <a:pt x="28" y="442"/>
                  </a:lnTo>
                  <a:lnTo>
                    <a:pt x="28" y="442"/>
                  </a:lnTo>
                  <a:lnTo>
                    <a:pt x="26" y="444"/>
                  </a:lnTo>
                  <a:lnTo>
                    <a:pt x="24" y="442"/>
                  </a:lnTo>
                  <a:lnTo>
                    <a:pt x="18" y="438"/>
                  </a:lnTo>
                  <a:lnTo>
                    <a:pt x="14" y="430"/>
                  </a:lnTo>
                  <a:lnTo>
                    <a:pt x="12" y="428"/>
                  </a:lnTo>
                  <a:lnTo>
                    <a:pt x="10" y="428"/>
                  </a:lnTo>
                  <a:lnTo>
                    <a:pt x="10" y="428"/>
                  </a:lnTo>
                  <a:lnTo>
                    <a:pt x="10" y="430"/>
                  </a:lnTo>
                  <a:lnTo>
                    <a:pt x="12" y="432"/>
                  </a:lnTo>
                  <a:lnTo>
                    <a:pt x="16" y="436"/>
                  </a:lnTo>
                  <a:lnTo>
                    <a:pt x="18" y="442"/>
                  </a:lnTo>
                  <a:lnTo>
                    <a:pt x="20" y="446"/>
                  </a:lnTo>
                  <a:lnTo>
                    <a:pt x="18" y="448"/>
                  </a:lnTo>
                  <a:lnTo>
                    <a:pt x="18" y="448"/>
                  </a:lnTo>
                  <a:lnTo>
                    <a:pt x="16" y="448"/>
                  </a:lnTo>
                  <a:lnTo>
                    <a:pt x="14" y="446"/>
                  </a:lnTo>
                  <a:lnTo>
                    <a:pt x="8" y="440"/>
                  </a:lnTo>
                  <a:lnTo>
                    <a:pt x="4" y="434"/>
                  </a:lnTo>
                  <a:lnTo>
                    <a:pt x="0" y="432"/>
                  </a:lnTo>
                  <a:lnTo>
                    <a:pt x="0" y="432"/>
                  </a:lnTo>
                  <a:lnTo>
                    <a:pt x="0" y="432"/>
                  </a:lnTo>
                  <a:lnTo>
                    <a:pt x="0" y="436"/>
                  </a:lnTo>
                  <a:lnTo>
                    <a:pt x="2" y="442"/>
                  </a:lnTo>
                  <a:lnTo>
                    <a:pt x="12" y="460"/>
                  </a:lnTo>
                  <a:lnTo>
                    <a:pt x="22" y="480"/>
                  </a:lnTo>
                  <a:lnTo>
                    <a:pt x="26" y="488"/>
                  </a:lnTo>
                  <a:lnTo>
                    <a:pt x="28" y="494"/>
                  </a:lnTo>
                  <a:lnTo>
                    <a:pt x="28" y="494"/>
                  </a:lnTo>
                  <a:lnTo>
                    <a:pt x="28" y="500"/>
                  </a:lnTo>
                  <a:lnTo>
                    <a:pt x="32" y="506"/>
                  </a:lnTo>
                  <a:lnTo>
                    <a:pt x="40" y="518"/>
                  </a:lnTo>
                  <a:lnTo>
                    <a:pt x="48" y="530"/>
                  </a:lnTo>
                  <a:lnTo>
                    <a:pt x="50" y="538"/>
                  </a:lnTo>
                  <a:lnTo>
                    <a:pt x="50" y="546"/>
                  </a:lnTo>
                  <a:lnTo>
                    <a:pt x="50" y="546"/>
                  </a:lnTo>
                  <a:lnTo>
                    <a:pt x="50" y="554"/>
                  </a:lnTo>
                  <a:lnTo>
                    <a:pt x="52" y="564"/>
                  </a:lnTo>
                  <a:lnTo>
                    <a:pt x="60" y="584"/>
                  </a:lnTo>
                  <a:lnTo>
                    <a:pt x="68" y="600"/>
                  </a:lnTo>
                  <a:lnTo>
                    <a:pt x="74" y="608"/>
                  </a:lnTo>
                  <a:lnTo>
                    <a:pt x="74" y="608"/>
                  </a:lnTo>
                  <a:lnTo>
                    <a:pt x="76" y="610"/>
                  </a:lnTo>
                  <a:lnTo>
                    <a:pt x="74" y="614"/>
                  </a:lnTo>
                  <a:lnTo>
                    <a:pt x="72" y="622"/>
                  </a:lnTo>
                  <a:lnTo>
                    <a:pt x="68" y="632"/>
                  </a:lnTo>
                  <a:lnTo>
                    <a:pt x="68" y="644"/>
                  </a:lnTo>
                  <a:lnTo>
                    <a:pt x="68" y="644"/>
                  </a:lnTo>
                  <a:lnTo>
                    <a:pt x="68" y="654"/>
                  </a:lnTo>
                  <a:lnTo>
                    <a:pt x="66" y="662"/>
                  </a:lnTo>
                  <a:lnTo>
                    <a:pt x="60" y="666"/>
                  </a:lnTo>
                  <a:lnTo>
                    <a:pt x="52" y="666"/>
                  </a:lnTo>
                  <a:lnTo>
                    <a:pt x="52" y="666"/>
                  </a:lnTo>
                  <a:lnTo>
                    <a:pt x="50" y="668"/>
                  </a:lnTo>
                  <a:lnTo>
                    <a:pt x="48" y="670"/>
                  </a:lnTo>
                  <a:lnTo>
                    <a:pt x="48" y="676"/>
                  </a:lnTo>
                  <a:lnTo>
                    <a:pt x="52" y="682"/>
                  </a:lnTo>
                  <a:lnTo>
                    <a:pt x="56" y="684"/>
                  </a:lnTo>
                  <a:lnTo>
                    <a:pt x="60" y="684"/>
                  </a:lnTo>
                  <a:lnTo>
                    <a:pt x="60" y="684"/>
                  </a:lnTo>
                  <a:lnTo>
                    <a:pt x="66" y="686"/>
                  </a:lnTo>
                  <a:lnTo>
                    <a:pt x="70" y="690"/>
                  </a:lnTo>
                  <a:lnTo>
                    <a:pt x="72" y="696"/>
                  </a:lnTo>
                  <a:lnTo>
                    <a:pt x="80" y="702"/>
                  </a:lnTo>
                  <a:lnTo>
                    <a:pt x="80" y="702"/>
                  </a:lnTo>
                  <a:lnTo>
                    <a:pt x="86" y="706"/>
                  </a:lnTo>
                  <a:lnTo>
                    <a:pt x="92" y="706"/>
                  </a:lnTo>
                  <a:lnTo>
                    <a:pt x="108" y="708"/>
                  </a:lnTo>
                  <a:lnTo>
                    <a:pt x="132" y="708"/>
                  </a:lnTo>
                  <a:lnTo>
                    <a:pt x="132" y="708"/>
                  </a:lnTo>
                  <a:lnTo>
                    <a:pt x="136" y="708"/>
                  </a:lnTo>
                  <a:lnTo>
                    <a:pt x="140" y="706"/>
                  </a:lnTo>
                  <a:lnTo>
                    <a:pt x="146" y="700"/>
                  </a:lnTo>
                  <a:lnTo>
                    <a:pt x="152" y="694"/>
                  </a:lnTo>
                  <a:lnTo>
                    <a:pt x="156" y="692"/>
                  </a:lnTo>
                  <a:lnTo>
                    <a:pt x="160" y="692"/>
                  </a:lnTo>
                  <a:lnTo>
                    <a:pt x="160" y="692"/>
                  </a:lnTo>
                  <a:lnTo>
                    <a:pt x="168" y="690"/>
                  </a:lnTo>
                  <a:lnTo>
                    <a:pt x="172" y="688"/>
                  </a:lnTo>
                  <a:lnTo>
                    <a:pt x="180" y="678"/>
                  </a:lnTo>
                  <a:lnTo>
                    <a:pt x="180" y="678"/>
                  </a:lnTo>
                  <a:lnTo>
                    <a:pt x="184" y="676"/>
                  </a:lnTo>
                  <a:lnTo>
                    <a:pt x="188" y="674"/>
                  </a:lnTo>
                  <a:lnTo>
                    <a:pt x="206" y="672"/>
                  </a:lnTo>
                  <a:lnTo>
                    <a:pt x="250" y="674"/>
                  </a:lnTo>
                  <a:lnTo>
                    <a:pt x="250" y="674"/>
                  </a:lnTo>
                  <a:lnTo>
                    <a:pt x="270" y="674"/>
                  </a:lnTo>
                  <a:lnTo>
                    <a:pt x="286" y="670"/>
                  </a:lnTo>
                  <a:lnTo>
                    <a:pt x="290" y="666"/>
                  </a:lnTo>
                  <a:lnTo>
                    <a:pt x="294" y="662"/>
                  </a:lnTo>
                  <a:lnTo>
                    <a:pt x="300" y="652"/>
                  </a:lnTo>
                  <a:lnTo>
                    <a:pt x="300" y="652"/>
                  </a:lnTo>
                  <a:lnTo>
                    <a:pt x="302" y="650"/>
                  </a:lnTo>
                  <a:lnTo>
                    <a:pt x="306" y="646"/>
                  </a:lnTo>
                  <a:lnTo>
                    <a:pt x="316" y="642"/>
                  </a:lnTo>
                  <a:lnTo>
                    <a:pt x="328" y="638"/>
                  </a:lnTo>
                  <a:lnTo>
                    <a:pt x="336" y="632"/>
                  </a:lnTo>
                  <a:lnTo>
                    <a:pt x="336" y="632"/>
                  </a:lnTo>
                  <a:lnTo>
                    <a:pt x="344" y="628"/>
                  </a:lnTo>
                  <a:lnTo>
                    <a:pt x="352" y="624"/>
                  </a:lnTo>
                  <a:lnTo>
                    <a:pt x="362" y="624"/>
                  </a:lnTo>
                  <a:lnTo>
                    <a:pt x="378" y="624"/>
                  </a:lnTo>
                  <a:lnTo>
                    <a:pt x="378" y="624"/>
                  </a:lnTo>
                  <a:lnTo>
                    <a:pt x="394" y="624"/>
                  </a:lnTo>
                  <a:lnTo>
                    <a:pt x="410" y="618"/>
                  </a:lnTo>
                  <a:lnTo>
                    <a:pt x="438" y="606"/>
                  </a:lnTo>
                  <a:lnTo>
                    <a:pt x="438" y="606"/>
                  </a:lnTo>
                  <a:lnTo>
                    <a:pt x="450" y="604"/>
                  </a:lnTo>
                  <a:lnTo>
                    <a:pt x="466" y="602"/>
                  </a:lnTo>
                  <a:lnTo>
                    <a:pt x="482" y="602"/>
                  </a:lnTo>
                  <a:lnTo>
                    <a:pt x="496" y="600"/>
                  </a:lnTo>
                  <a:lnTo>
                    <a:pt x="496" y="600"/>
                  </a:lnTo>
                  <a:lnTo>
                    <a:pt x="500" y="600"/>
                  </a:lnTo>
                  <a:lnTo>
                    <a:pt x="504" y="600"/>
                  </a:lnTo>
                  <a:lnTo>
                    <a:pt x="510" y="608"/>
                  </a:lnTo>
                  <a:lnTo>
                    <a:pt x="518" y="614"/>
                  </a:lnTo>
                  <a:lnTo>
                    <a:pt x="522" y="616"/>
                  </a:lnTo>
                  <a:lnTo>
                    <a:pt x="528" y="616"/>
                  </a:lnTo>
                  <a:lnTo>
                    <a:pt x="528" y="616"/>
                  </a:lnTo>
                  <a:lnTo>
                    <a:pt x="538" y="616"/>
                  </a:lnTo>
                  <a:lnTo>
                    <a:pt x="548" y="618"/>
                  </a:lnTo>
                  <a:lnTo>
                    <a:pt x="554" y="620"/>
                  </a:lnTo>
                  <a:lnTo>
                    <a:pt x="560" y="620"/>
                  </a:lnTo>
                  <a:lnTo>
                    <a:pt x="560" y="620"/>
                  </a:lnTo>
                  <a:lnTo>
                    <a:pt x="566" y="620"/>
                  </a:lnTo>
                  <a:lnTo>
                    <a:pt x="568" y="624"/>
                  </a:lnTo>
                  <a:lnTo>
                    <a:pt x="572" y="626"/>
                  </a:lnTo>
                  <a:lnTo>
                    <a:pt x="576" y="628"/>
                  </a:lnTo>
                  <a:lnTo>
                    <a:pt x="576" y="628"/>
                  </a:lnTo>
                  <a:lnTo>
                    <a:pt x="580" y="630"/>
                  </a:lnTo>
                  <a:lnTo>
                    <a:pt x="582" y="634"/>
                  </a:lnTo>
                  <a:lnTo>
                    <a:pt x="582" y="640"/>
                  </a:lnTo>
                  <a:lnTo>
                    <a:pt x="578" y="646"/>
                  </a:lnTo>
                  <a:lnTo>
                    <a:pt x="578" y="646"/>
                  </a:lnTo>
                  <a:lnTo>
                    <a:pt x="576" y="648"/>
                  </a:lnTo>
                  <a:lnTo>
                    <a:pt x="578" y="650"/>
                  </a:lnTo>
                  <a:lnTo>
                    <a:pt x="584" y="654"/>
                  </a:lnTo>
                  <a:lnTo>
                    <a:pt x="592" y="658"/>
                  </a:lnTo>
                  <a:lnTo>
                    <a:pt x="598" y="662"/>
                  </a:lnTo>
                  <a:lnTo>
                    <a:pt x="602" y="668"/>
                  </a:lnTo>
                  <a:lnTo>
                    <a:pt x="602" y="668"/>
                  </a:lnTo>
                  <a:lnTo>
                    <a:pt x="608" y="678"/>
                  </a:lnTo>
                  <a:lnTo>
                    <a:pt x="608" y="684"/>
                  </a:lnTo>
                  <a:lnTo>
                    <a:pt x="606" y="690"/>
                  </a:lnTo>
                  <a:lnTo>
                    <a:pt x="608" y="698"/>
                  </a:lnTo>
                  <a:lnTo>
                    <a:pt x="608" y="698"/>
                  </a:lnTo>
                  <a:lnTo>
                    <a:pt x="612" y="704"/>
                  </a:lnTo>
                  <a:lnTo>
                    <a:pt x="616" y="706"/>
                  </a:lnTo>
                  <a:lnTo>
                    <a:pt x="618" y="706"/>
                  </a:lnTo>
                  <a:lnTo>
                    <a:pt x="624" y="700"/>
                  </a:lnTo>
                  <a:lnTo>
                    <a:pt x="630" y="690"/>
                  </a:lnTo>
                  <a:lnTo>
                    <a:pt x="630" y="690"/>
                  </a:lnTo>
                  <a:lnTo>
                    <a:pt x="636" y="686"/>
                  </a:lnTo>
                  <a:lnTo>
                    <a:pt x="640" y="682"/>
                  </a:lnTo>
                  <a:lnTo>
                    <a:pt x="648" y="680"/>
                  </a:lnTo>
                  <a:lnTo>
                    <a:pt x="654" y="676"/>
                  </a:lnTo>
                  <a:lnTo>
                    <a:pt x="656" y="674"/>
                  </a:lnTo>
                  <a:lnTo>
                    <a:pt x="658" y="670"/>
                  </a:lnTo>
                  <a:lnTo>
                    <a:pt x="658" y="670"/>
                  </a:lnTo>
                  <a:lnTo>
                    <a:pt x="662" y="658"/>
                  </a:lnTo>
                  <a:lnTo>
                    <a:pt x="668" y="650"/>
                  </a:lnTo>
                  <a:lnTo>
                    <a:pt x="674" y="644"/>
                  </a:lnTo>
                  <a:lnTo>
                    <a:pt x="678" y="644"/>
                  </a:lnTo>
                  <a:lnTo>
                    <a:pt x="682" y="646"/>
                  </a:lnTo>
                  <a:lnTo>
                    <a:pt x="682" y="646"/>
                  </a:lnTo>
                  <a:lnTo>
                    <a:pt x="684" y="648"/>
                  </a:lnTo>
                  <a:lnTo>
                    <a:pt x="684" y="650"/>
                  </a:lnTo>
                  <a:lnTo>
                    <a:pt x="680" y="658"/>
                  </a:lnTo>
                  <a:lnTo>
                    <a:pt x="674" y="668"/>
                  </a:lnTo>
                  <a:lnTo>
                    <a:pt x="670" y="684"/>
                  </a:lnTo>
                  <a:lnTo>
                    <a:pt x="670" y="684"/>
                  </a:lnTo>
                  <a:lnTo>
                    <a:pt x="668" y="692"/>
                  </a:lnTo>
                  <a:lnTo>
                    <a:pt x="664" y="698"/>
                  </a:lnTo>
                  <a:lnTo>
                    <a:pt x="662" y="702"/>
                  </a:lnTo>
                  <a:lnTo>
                    <a:pt x="660" y="702"/>
                  </a:lnTo>
                  <a:lnTo>
                    <a:pt x="656" y="702"/>
                  </a:lnTo>
                  <a:lnTo>
                    <a:pt x="654" y="704"/>
                  </a:lnTo>
                  <a:lnTo>
                    <a:pt x="652" y="706"/>
                  </a:lnTo>
                  <a:lnTo>
                    <a:pt x="652" y="706"/>
                  </a:lnTo>
                  <a:lnTo>
                    <a:pt x="654" y="708"/>
                  </a:lnTo>
                  <a:lnTo>
                    <a:pt x="656" y="710"/>
                  </a:lnTo>
                  <a:lnTo>
                    <a:pt x="664" y="712"/>
                  </a:lnTo>
                  <a:lnTo>
                    <a:pt x="670" y="712"/>
                  </a:lnTo>
                  <a:lnTo>
                    <a:pt x="674" y="710"/>
                  </a:lnTo>
                  <a:lnTo>
                    <a:pt x="676" y="708"/>
                  </a:lnTo>
                  <a:lnTo>
                    <a:pt x="678" y="704"/>
                  </a:lnTo>
                  <a:lnTo>
                    <a:pt x="678" y="704"/>
                  </a:lnTo>
                  <a:lnTo>
                    <a:pt x="680" y="694"/>
                  </a:lnTo>
                  <a:lnTo>
                    <a:pt x="682" y="688"/>
                  </a:lnTo>
                  <a:lnTo>
                    <a:pt x="684" y="688"/>
                  </a:lnTo>
                  <a:lnTo>
                    <a:pt x="686" y="688"/>
                  </a:lnTo>
                  <a:lnTo>
                    <a:pt x="694" y="696"/>
                  </a:lnTo>
                  <a:lnTo>
                    <a:pt x="694" y="696"/>
                  </a:lnTo>
                  <a:lnTo>
                    <a:pt x="696" y="700"/>
                  </a:lnTo>
                  <a:lnTo>
                    <a:pt x="696" y="704"/>
                  </a:lnTo>
                  <a:lnTo>
                    <a:pt x="694" y="714"/>
                  </a:lnTo>
                  <a:lnTo>
                    <a:pt x="690" y="720"/>
                  </a:lnTo>
                  <a:lnTo>
                    <a:pt x="690" y="722"/>
                  </a:lnTo>
                  <a:lnTo>
                    <a:pt x="690" y="726"/>
                  </a:lnTo>
                  <a:lnTo>
                    <a:pt x="690" y="726"/>
                  </a:lnTo>
                  <a:lnTo>
                    <a:pt x="690" y="728"/>
                  </a:lnTo>
                  <a:lnTo>
                    <a:pt x="692" y="728"/>
                  </a:lnTo>
                  <a:lnTo>
                    <a:pt x="698" y="726"/>
                  </a:lnTo>
                  <a:lnTo>
                    <a:pt x="704" y="724"/>
                  </a:lnTo>
                  <a:lnTo>
                    <a:pt x="710" y="724"/>
                  </a:lnTo>
                  <a:lnTo>
                    <a:pt x="710" y="724"/>
                  </a:lnTo>
                  <a:lnTo>
                    <a:pt x="714" y="726"/>
                  </a:lnTo>
                  <a:lnTo>
                    <a:pt x="718" y="728"/>
                  </a:lnTo>
                  <a:lnTo>
                    <a:pt x="726" y="738"/>
                  </a:lnTo>
                  <a:lnTo>
                    <a:pt x="732" y="750"/>
                  </a:lnTo>
                  <a:lnTo>
                    <a:pt x="732" y="756"/>
                  </a:lnTo>
                  <a:lnTo>
                    <a:pt x="732" y="762"/>
                  </a:lnTo>
                  <a:lnTo>
                    <a:pt x="732" y="762"/>
                  </a:lnTo>
                  <a:lnTo>
                    <a:pt x="730" y="772"/>
                  </a:lnTo>
                  <a:lnTo>
                    <a:pt x="732" y="780"/>
                  </a:lnTo>
                  <a:lnTo>
                    <a:pt x="732" y="784"/>
                  </a:lnTo>
                  <a:lnTo>
                    <a:pt x="736" y="788"/>
                  </a:lnTo>
                  <a:lnTo>
                    <a:pt x="740" y="792"/>
                  </a:lnTo>
                  <a:lnTo>
                    <a:pt x="748" y="796"/>
                  </a:lnTo>
                  <a:lnTo>
                    <a:pt x="748" y="796"/>
                  </a:lnTo>
                  <a:lnTo>
                    <a:pt x="758" y="802"/>
                  </a:lnTo>
                  <a:lnTo>
                    <a:pt x="762" y="806"/>
                  </a:lnTo>
                  <a:lnTo>
                    <a:pt x="768" y="808"/>
                  </a:lnTo>
                  <a:lnTo>
                    <a:pt x="774" y="808"/>
                  </a:lnTo>
                  <a:lnTo>
                    <a:pt x="774" y="808"/>
                  </a:lnTo>
                  <a:lnTo>
                    <a:pt x="788" y="810"/>
                  </a:lnTo>
                  <a:lnTo>
                    <a:pt x="804" y="816"/>
                  </a:lnTo>
                  <a:lnTo>
                    <a:pt x="820" y="822"/>
                  </a:lnTo>
                  <a:lnTo>
                    <a:pt x="830" y="828"/>
                  </a:lnTo>
                  <a:lnTo>
                    <a:pt x="830" y="828"/>
                  </a:lnTo>
                  <a:lnTo>
                    <a:pt x="834" y="830"/>
                  </a:lnTo>
                  <a:lnTo>
                    <a:pt x="838" y="830"/>
                  </a:lnTo>
                  <a:lnTo>
                    <a:pt x="848" y="826"/>
                  </a:lnTo>
                  <a:lnTo>
                    <a:pt x="858" y="818"/>
                  </a:lnTo>
                  <a:lnTo>
                    <a:pt x="862" y="814"/>
                  </a:lnTo>
                  <a:lnTo>
                    <a:pt x="864" y="808"/>
                  </a:lnTo>
                  <a:lnTo>
                    <a:pt x="864" y="808"/>
                  </a:lnTo>
                  <a:lnTo>
                    <a:pt x="866" y="804"/>
                  </a:lnTo>
                  <a:lnTo>
                    <a:pt x="870" y="802"/>
                  </a:lnTo>
                  <a:lnTo>
                    <a:pt x="872" y="802"/>
                  </a:lnTo>
                  <a:lnTo>
                    <a:pt x="874" y="804"/>
                  </a:lnTo>
                  <a:lnTo>
                    <a:pt x="878" y="808"/>
                  </a:lnTo>
                  <a:lnTo>
                    <a:pt x="878" y="810"/>
                  </a:lnTo>
                  <a:lnTo>
                    <a:pt x="876" y="812"/>
                  </a:lnTo>
                  <a:lnTo>
                    <a:pt x="876" y="812"/>
                  </a:lnTo>
                  <a:lnTo>
                    <a:pt x="874" y="814"/>
                  </a:lnTo>
                  <a:lnTo>
                    <a:pt x="872" y="816"/>
                  </a:lnTo>
                  <a:lnTo>
                    <a:pt x="874" y="822"/>
                  </a:lnTo>
                  <a:lnTo>
                    <a:pt x="878" y="824"/>
                  </a:lnTo>
                  <a:lnTo>
                    <a:pt x="880" y="824"/>
                  </a:lnTo>
                  <a:lnTo>
                    <a:pt x="880" y="820"/>
                  </a:lnTo>
                  <a:lnTo>
                    <a:pt x="880" y="820"/>
                  </a:lnTo>
                  <a:lnTo>
                    <a:pt x="882" y="816"/>
                  </a:lnTo>
                  <a:lnTo>
                    <a:pt x="884" y="812"/>
                  </a:lnTo>
                  <a:lnTo>
                    <a:pt x="886" y="812"/>
                  </a:lnTo>
                  <a:lnTo>
                    <a:pt x="888" y="816"/>
                  </a:lnTo>
                  <a:lnTo>
                    <a:pt x="888" y="816"/>
                  </a:lnTo>
                  <a:lnTo>
                    <a:pt x="892" y="820"/>
                  </a:lnTo>
                  <a:lnTo>
                    <a:pt x="896" y="824"/>
                  </a:lnTo>
                  <a:lnTo>
                    <a:pt x="902" y="828"/>
                  </a:lnTo>
                  <a:lnTo>
                    <a:pt x="906" y="832"/>
                  </a:lnTo>
                  <a:lnTo>
                    <a:pt x="906" y="832"/>
                  </a:lnTo>
                  <a:lnTo>
                    <a:pt x="912" y="840"/>
                  </a:lnTo>
                  <a:lnTo>
                    <a:pt x="914" y="840"/>
                  </a:lnTo>
                  <a:lnTo>
                    <a:pt x="916" y="838"/>
                  </a:lnTo>
                  <a:lnTo>
                    <a:pt x="916" y="838"/>
                  </a:lnTo>
                  <a:lnTo>
                    <a:pt x="916" y="834"/>
                  </a:lnTo>
                  <a:lnTo>
                    <a:pt x="918" y="830"/>
                  </a:lnTo>
                  <a:lnTo>
                    <a:pt x="922" y="826"/>
                  </a:lnTo>
                  <a:lnTo>
                    <a:pt x="928" y="824"/>
                  </a:lnTo>
                  <a:lnTo>
                    <a:pt x="928" y="824"/>
                  </a:lnTo>
                  <a:lnTo>
                    <a:pt x="934" y="820"/>
                  </a:lnTo>
                  <a:lnTo>
                    <a:pt x="940" y="816"/>
                  </a:lnTo>
                  <a:lnTo>
                    <a:pt x="954" y="804"/>
                  </a:lnTo>
                  <a:lnTo>
                    <a:pt x="954" y="804"/>
                  </a:lnTo>
                  <a:lnTo>
                    <a:pt x="958" y="802"/>
                  </a:lnTo>
                  <a:lnTo>
                    <a:pt x="966" y="800"/>
                  </a:lnTo>
                  <a:lnTo>
                    <a:pt x="984" y="796"/>
                  </a:lnTo>
                  <a:lnTo>
                    <a:pt x="1010" y="794"/>
                  </a:lnTo>
                  <a:lnTo>
                    <a:pt x="1010" y="794"/>
                  </a:lnTo>
                  <a:lnTo>
                    <a:pt x="1012" y="792"/>
                  </a:lnTo>
                  <a:lnTo>
                    <a:pt x="1012" y="788"/>
                  </a:lnTo>
                  <a:lnTo>
                    <a:pt x="1016" y="774"/>
                  </a:lnTo>
                  <a:lnTo>
                    <a:pt x="1020" y="740"/>
                  </a:lnTo>
                  <a:lnTo>
                    <a:pt x="1020" y="740"/>
                  </a:lnTo>
                  <a:lnTo>
                    <a:pt x="1020" y="732"/>
                  </a:lnTo>
                  <a:lnTo>
                    <a:pt x="1022" y="728"/>
                  </a:lnTo>
                  <a:lnTo>
                    <a:pt x="1030" y="718"/>
                  </a:lnTo>
                  <a:lnTo>
                    <a:pt x="1036" y="710"/>
                  </a:lnTo>
                  <a:lnTo>
                    <a:pt x="1038" y="704"/>
                  </a:lnTo>
                  <a:lnTo>
                    <a:pt x="1040" y="698"/>
                  </a:lnTo>
                  <a:lnTo>
                    <a:pt x="1040" y="698"/>
                  </a:lnTo>
                  <a:lnTo>
                    <a:pt x="1044" y="680"/>
                  </a:lnTo>
                  <a:lnTo>
                    <a:pt x="1052" y="662"/>
                  </a:lnTo>
                  <a:lnTo>
                    <a:pt x="1062" y="646"/>
                  </a:lnTo>
                  <a:lnTo>
                    <a:pt x="1068" y="638"/>
                  </a:lnTo>
                  <a:lnTo>
                    <a:pt x="1068" y="638"/>
                  </a:lnTo>
                  <a:lnTo>
                    <a:pt x="1074" y="636"/>
                  </a:lnTo>
                  <a:lnTo>
                    <a:pt x="1078" y="634"/>
                  </a:lnTo>
                  <a:lnTo>
                    <a:pt x="1082" y="628"/>
                  </a:lnTo>
                  <a:lnTo>
                    <a:pt x="1084" y="620"/>
                  </a:lnTo>
                  <a:lnTo>
                    <a:pt x="1084" y="620"/>
                  </a:lnTo>
                  <a:lnTo>
                    <a:pt x="1088" y="612"/>
                  </a:lnTo>
                  <a:lnTo>
                    <a:pt x="1092" y="602"/>
                  </a:lnTo>
                  <a:lnTo>
                    <a:pt x="1098" y="592"/>
                  </a:lnTo>
                  <a:lnTo>
                    <a:pt x="1100" y="582"/>
                  </a:lnTo>
                  <a:lnTo>
                    <a:pt x="1100" y="582"/>
                  </a:lnTo>
                  <a:lnTo>
                    <a:pt x="1100" y="572"/>
                  </a:lnTo>
                  <a:lnTo>
                    <a:pt x="1104" y="562"/>
                  </a:lnTo>
                  <a:lnTo>
                    <a:pt x="1106" y="552"/>
                  </a:lnTo>
                  <a:lnTo>
                    <a:pt x="1106" y="548"/>
                  </a:lnTo>
                  <a:lnTo>
                    <a:pt x="1106" y="548"/>
                  </a:lnTo>
                  <a:lnTo>
                    <a:pt x="1104" y="536"/>
                  </a:lnTo>
                  <a:lnTo>
                    <a:pt x="1104" y="528"/>
                  </a:lnTo>
                  <a:lnTo>
                    <a:pt x="1110" y="520"/>
                  </a:lnTo>
                  <a:lnTo>
                    <a:pt x="1110" y="520"/>
                  </a:lnTo>
                  <a:lnTo>
                    <a:pt x="1112" y="516"/>
                  </a:lnTo>
                  <a:lnTo>
                    <a:pt x="1112" y="514"/>
                  </a:lnTo>
                  <a:lnTo>
                    <a:pt x="1112" y="506"/>
                  </a:lnTo>
                  <a:lnTo>
                    <a:pt x="1110" y="500"/>
                  </a:lnTo>
                  <a:lnTo>
                    <a:pt x="1110" y="498"/>
                  </a:lnTo>
                  <a:lnTo>
                    <a:pt x="1110" y="496"/>
                  </a:lnTo>
                  <a:lnTo>
                    <a:pt x="1110" y="496"/>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8" name="Freeform 115"/>
            <p:cNvSpPr>
              <a:spLocks/>
            </p:cNvSpPr>
            <p:nvPr/>
          </p:nvSpPr>
          <p:spPr bwMode="auto">
            <a:xfrm>
              <a:off x="12446000" y="6477000"/>
              <a:ext cx="190500" cy="31750"/>
            </a:xfrm>
            <a:custGeom>
              <a:avLst/>
              <a:gdLst>
                <a:gd name="T0" fmla="*/ 100 w 120"/>
                <a:gd name="T1" fmla="*/ 8 h 20"/>
                <a:gd name="T2" fmla="*/ 100 w 120"/>
                <a:gd name="T3" fmla="*/ 8 h 20"/>
                <a:gd name="T4" fmla="*/ 110 w 120"/>
                <a:gd name="T5" fmla="*/ 8 h 20"/>
                <a:gd name="T6" fmla="*/ 118 w 120"/>
                <a:gd name="T7" fmla="*/ 6 h 20"/>
                <a:gd name="T8" fmla="*/ 120 w 120"/>
                <a:gd name="T9" fmla="*/ 4 h 20"/>
                <a:gd name="T10" fmla="*/ 118 w 120"/>
                <a:gd name="T11" fmla="*/ 4 h 20"/>
                <a:gd name="T12" fmla="*/ 108 w 120"/>
                <a:gd name="T13" fmla="*/ 0 h 20"/>
                <a:gd name="T14" fmla="*/ 108 w 120"/>
                <a:gd name="T15" fmla="*/ 0 h 20"/>
                <a:gd name="T16" fmla="*/ 102 w 120"/>
                <a:gd name="T17" fmla="*/ 0 h 20"/>
                <a:gd name="T18" fmla="*/ 94 w 120"/>
                <a:gd name="T19" fmla="*/ 2 h 20"/>
                <a:gd name="T20" fmla="*/ 80 w 120"/>
                <a:gd name="T21" fmla="*/ 6 h 20"/>
                <a:gd name="T22" fmla="*/ 66 w 120"/>
                <a:gd name="T23" fmla="*/ 8 h 20"/>
                <a:gd name="T24" fmla="*/ 58 w 120"/>
                <a:gd name="T25" fmla="*/ 8 h 20"/>
                <a:gd name="T26" fmla="*/ 50 w 120"/>
                <a:gd name="T27" fmla="*/ 6 h 20"/>
                <a:gd name="T28" fmla="*/ 50 w 120"/>
                <a:gd name="T29" fmla="*/ 6 h 20"/>
                <a:gd name="T30" fmla="*/ 42 w 120"/>
                <a:gd name="T31" fmla="*/ 4 h 20"/>
                <a:gd name="T32" fmla="*/ 34 w 120"/>
                <a:gd name="T33" fmla="*/ 2 h 20"/>
                <a:gd name="T34" fmla="*/ 16 w 120"/>
                <a:gd name="T35" fmla="*/ 4 h 20"/>
                <a:gd name="T36" fmla="*/ 4 w 120"/>
                <a:gd name="T37" fmla="*/ 8 h 20"/>
                <a:gd name="T38" fmla="*/ 0 w 120"/>
                <a:gd name="T39" fmla="*/ 10 h 20"/>
                <a:gd name="T40" fmla="*/ 0 w 120"/>
                <a:gd name="T41" fmla="*/ 12 h 20"/>
                <a:gd name="T42" fmla="*/ 0 w 120"/>
                <a:gd name="T43" fmla="*/ 12 h 20"/>
                <a:gd name="T44" fmla="*/ 2 w 120"/>
                <a:gd name="T45" fmla="*/ 16 h 20"/>
                <a:gd name="T46" fmla="*/ 6 w 120"/>
                <a:gd name="T47" fmla="*/ 16 h 20"/>
                <a:gd name="T48" fmla="*/ 16 w 120"/>
                <a:gd name="T49" fmla="*/ 20 h 20"/>
                <a:gd name="T50" fmla="*/ 44 w 120"/>
                <a:gd name="T51" fmla="*/ 20 h 20"/>
                <a:gd name="T52" fmla="*/ 44 w 120"/>
                <a:gd name="T53" fmla="*/ 20 h 20"/>
                <a:gd name="T54" fmla="*/ 60 w 120"/>
                <a:gd name="T55" fmla="*/ 20 h 20"/>
                <a:gd name="T56" fmla="*/ 74 w 120"/>
                <a:gd name="T57" fmla="*/ 16 h 20"/>
                <a:gd name="T58" fmla="*/ 88 w 120"/>
                <a:gd name="T59" fmla="*/ 12 h 20"/>
                <a:gd name="T60" fmla="*/ 100 w 120"/>
                <a:gd name="T61" fmla="*/ 8 h 20"/>
                <a:gd name="T62" fmla="*/ 100 w 120"/>
                <a:gd name="T63"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0" h="20">
                  <a:moveTo>
                    <a:pt x="100" y="8"/>
                  </a:moveTo>
                  <a:lnTo>
                    <a:pt x="100" y="8"/>
                  </a:lnTo>
                  <a:lnTo>
                    <a:pt x="110" y="8"/>
                  </a:lnTo>
                  <a:lnTo>
                    <a:pt x="118" y="6"/>
                  </a:lnTo>
                  <a:lnTo>
                    <a:pt x="120" y="4"/>
                  </a:lnTo>
                  <a:lnTo>
                    <a:pt x="118" y="4"/>
                  </a:lnTo>
                  <a:lnTo>
                    <a:pt x="108" y="0"/>
                  </a:lnTo>
                  <a:lnTo>
                    <a:pt x="108" y="0"/>
                  </a:lnTo>
                  <a:lnTo>
                    <a:pt x="102" y="0"/>
                  </a:lnTo>
                  <a:lnTo>
                    <a:pt x="94" y="2"/>
                  </a:lnTo>
                  <a:lnTo>
                    <a:pt x="80" y="6"/>
                  </a:lnTo>
                  <a:lnTo>
                    <a:pt x="66" y="8"/>
                  </a:lnTo>
                  <a:lnTo>
                    <a:pt x="58" y="8"/>
                  </a:lnTo>
                  <a:lnTo>
                    <a:pt x="50" y="6"/>
                  </a:lnTo>
                  <a:lnTo>
                    <a:pt x="50" y="6"/>
                  </a:lnTo>
                  <a:lnTo>
                    <a:pt x="42" y="4"/>
                  </a:lnTo>
                  <a:lnTo>
                    <a:pt x="34" y="2"/>
                  </a:lnTo>
                  <a:lnTo>
                    <a:pt x="16" y="4"/>
                  </a:lnTo>
                  <a:lnTo>
                    <a:pt x="4" y="8"/>
                  </a:lnTo>
                  <a:lnTo>
                    <a:pt x="0" y="10"/>
                  </a:lnTo>
                  <a:lnTo>
                    <a:pt x="0" y="12"/>
                  </a:lnTo>
                  <a:lnTo>
                    <a:pt x="0" y="12"/>
                  </a:lnTo>
                  <a:lnTo>
                    <a:pt x="2" y="16"/>
                  </a:lnTo>
                  <a:lnTo>
                    <a:pt x="6" y="16"/>
                  </a:lnTo>
                  <a:lnTo>
                    <a:pt x="16" y="20"/>
                  </a:lnTo>
                  <a:lnTo>
                    <a:pt x="44" y="20"/>
                  </a:lnTo>
                  <a:lnTo>
                    <a:pt x="44" y="20"/>
                  </a:lnTo>
                  <a:lnTo>
                    <a:pt x="60" y="20"/>
                  </a:lnTo>
                  <a:lnTo>
                    <a:pt x="74" y="16"/>
                  </a:lnTo>
                  <a:lnTo>
                    <a:pt x="88" y="12"/>
                  </a:lnTo>
                  <a:lnTo>
                    <a:pt x="100" y="8"/>
                  </a:lnTo>
                  <a:lnTo>
                    <a:pt x="100" y="8"/>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sp>
          <p:nvSpPr>
            <p:cNvPr id="429" name="Freeform 116"/>
            <p:cNvSpPr>
              <a:spLocks/>
            </p:cNvSpPr>
            <p:nvPr/>
          </p:nvSpPr>
          <p:spPr bwMode="auto">
            <a:xfrm>
              <a:off x="12284075" y="6470650"/>
              <a:ext cx="127000" cy="47625"/>
            </a:xfrm>
            <a:custGeom>
              <a:avLst/>
              <a:gdLst>
                <a:gd name="T0" fmla="*/ 40 w 80"/>
                <a:gd name="T1" fmla="*/ 4 h 30"/>
                <a:gd name="T2" fmla="*/ 40 w 80"/>
                <a:gd name="T3" fmla="*/ 4 h 30"/>
                <a:gd name="T4" fmla="*/ 36 w 80"/>
                <a:gd name="T5" fmla="*/ 8 h 30"/>
                <a:gd name="T6" fmla="*/ 30 w 80"/>
                <a:gd name="T7" fmla="*/ 10 h 30"/>
                <a:gd name="T8" fmla="*/ 22 w 80"/>
                <a:gd name="T9" fmla="*/ 10 h 30"/>
                <a:gd name="T10" fmla="*/ 16 w 80"/>
                <a:gd name="T11" fmla="*/ 6 h 30"/>
                <a:gd name="T12" fmla="*/ 16 w 80"/>
                <a:gd name="T13" fmla="*/ 6 h 30"/>
                <a:gd name="T14" fmla="*/ 12 w 80"/>
                <a:gd name="T15" fmla="*/ 6 h 30"/>
                <a:gd name="T16" fmla="*/ 8 w 80"/>
                <a:gd name="T17" fmla="*/ 6 h 30"/>
                <a:gd name="T18" fmla="*/ 4 w 80"/>
                <a:gd name="T19" fmla="*/ 10 h 30"/>
                <a:gd name="T20" fmla="*/ 0 w 80"/>
                <a:gd name="T21" fmla="*/ 14 h 30"/>
                <a:gd name="T22" fmla="*/ 0 w 80"/>
                <a:gd name="T23" fmla="*/ 18 h 30"/>
                <a:gd name="T24" fmla="*/ 2 w 80"/>
                <a:gd name="T25" fmla="*/ 20 h 30"/>
                <a:gd name="T26" fmla="*/ 2 w 80"/>
                <a:gd name="T27" fmla="*/ 20 h 30"/>
                <a:gd name="T28" fmla="*/ 6 w 80"/>
                <a:gd name="T29" fmla="*/ 24 h 30"/>
                <a:gd name="T30" fmla="*/ 16 w 80"/>
                <a:gd name="T31" fmla="*/ 30 h 30"/>
                <a:gd name="T32" fmla="*/ 28 w 80"/>
                <a:gd name="T33" fmla="*/ 30 h 30"/>
                <a:gd name="T34" fmla="*/ 34 w 80"/>
                <a:gd name="T35" fmla="*/ 30 h 30"/>
                <a:gd name="T36" fmla="*/ 42 w 80"/>
                <a:gd name="T37" fmla="*/ 28 h 30"/>
                <a:gd name="T38" fmla="*/ 42 w 80"/>
                <a:gd name="T39" fmla="*/ 28 h 30"/>
                <a:gd name="T40" fmla="*/ 56 w 80"/>
                <a:gd name="T41" fmla="*/ 24 h 30"/>
                <a:gd name="T42" fmla="*/ 66 w 80"/>
                <a:gd name="T43" fmla="*/ 22 h 30"/>
                <a:gd name="T44" fmla="*/ 76 w 80"/>
                <a:gd name="T45" fmla="*/ 20 h 30"/>
                <a:gd name="T46" fmla="*/ 78 w 80"/>
                <a:gd name="T47" fmla="*/ 20 h 30"/>
                <a:gd name="T48" fmla="*/ 80 w 80"/>
                <a:gd name="T49" fmla="*/ 16 h 30"/>
                <a:gd name="T50" fmla="*/ 80 w 80"/>
                <a:gd name="T51" fmla="*/ 16 h 30"/>
                <a:gd name="T52" fmla="*/ 80 w 80"/>
                <a:gd name="T53" fmla="*/ 12 h 30"/>
                <a:gd name="T54" fmla="*/ 76 w 80"/>
                <a:gd name="T55" fmla="*/ 8 h 30"/>
                <a:gd name="T56" fmla="*/ 64 w 80"/>
                <a:gd name="T57" fmla="*/ 4 h 30"/>
                <a:gd name="T58" fmla="*/ 48 w 80"/>
                <a:gd name="T59" fmla="*/ 0 h 30"/>
                <a:gd name="T60" fmla="*/ 42 w 80"/>
                <a:gd name="T61" fmla="*/ 2 h 30"/>
                <a:gd name="T62" fmla="*/ 40 w 80"/>
                <a:gd name="T63" fmla="*/ 4 h 30"/>
                <a:gd name="T64" fmla="*/ 40 w 80"/>
                <a:gd name="T65"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30">
                  <a:moveTo>
                    <a:pt x="40" y="4"/>
                  </a:moveTo>
                  <a:lnTo>
                    <a:pt x="40" y="4"/>
                  </a:lnTo>
                  <a:lnTo>
                    <a:pt x="36" y="8"/>
                  </a:lnTo>
                  <a:lnTo>
                    <a:pt x="30" y="10"/>
                  </a:lnTo>
                  <a:lnTo>
                    <a:pt x="22" y="10"/>
                  </a:lnTo>
                  <a:lnTo>
                    <a:pt x="16" y="6"/>
                  </a:lnTo>
                  <a:lnTo>
                    <a:pt x="16" y="6"/>
                  </a:lnTo>
                  <a:lnTo>
                    <a:pt x="12" y="6"/>
                  </a:lnTo>
                  <a:lnTo>
                    <a:pt x="8" y="6"/>
                  </a:lnTo>
                  <a:lnTo>
                    <a:pt x="4" y="10"/>
                  </a:lnTo>
                  <a:lnTo>
                    <a:pt x="0" y="14"/>
                  </a:lnTo>
                  <a:lnTo>
                    <a:pt x="0" y="18"/>
                  </a:lnTo>
                  <a:lnTo>
                    <a:pt x="2" y="20"/>
                  </a:lnTo>
                  <a:lnTo>
                    <a:pt x="2" y="20"/>
                  </a:lnTo>
                  <a:lnTo>
                    <a:pt x="6" y="24"/>
                  </a:lnTo>
                  <a:lnTo>
                    <a:pt x="16" y="30"/>
                  </a:lnTo>
                  <a:lnTo>
                    <a:pt x="28" y="30"/>
                  </a:lnTo>
                  <a:lnTo>
                    <a:pt x="34" y="30"/>
                  </a:lnTo>
                  <a:lnTo>
                    <a:pt x="42" y="28"/>
                  </a:lnTo>
                  <a:lnTo>
                    <a:pt x="42" y="28"/>
                  </a:lnTo>
                  <a:lnTo>
                    <a:pt x="56" y="24"/>
                  </a:lnTo>
                  <a:lnTo>
                    <a:pt x="66" y="22"/>
                  </a:lnTo>
                  <a:lnTo>
                    <a:pt x="76" y="20"/>
                  </a:lnTo>
                  <a:lnTo>
                    <a:pt x="78" y="20"/>
                  </a:lnTo>
                  <a:lnTo>
                    <a:pt x="80" y="16"/>
                  </a:lnTo>
                  <a:lnTo>
                    <a:pt x="80" y="16"/>
                  </a:lnTo>
                  <a:lnTo>
                    <a:pt x="80" y="12"/>
                  </a:lnTo>
                  <a:lnTo>
                    <a:pt x="76" y="8"/>
                  </a:lnTo>
                  <a:lnTo>
                    <a:pt x="64" y="4"/>
                  </a:lnTo>
                  <a:lnTo>
                    <a:pt x="48" y="0"/>
                  </a:lnTo>
                  <a:lnTo>
                    <a:pt x="42" y="2"/>
                  </a:lnTo>
                  <a:lnTo>
                    <a:pt x="40" y="4"/>
                  </a:lnTo>
                  <a:lnTo>
                    <a:pt x="40" y="4"/>
                  </a:lnTo>
                  <a:close/>
                </a:path>
              </a:pathLst>
            </a:custGeom>
            <a:grpFill/>
            <a:ln w="6350">
              <a:noFill/>
              <a:prstDash val="solid"/>
              <a:round/>
              <a:headEnd/>
              <a:tailEnd/>
            </a:ln>
          </p:spPr>
          <p:txBody>
            <a:bodyPr vert="horz" wrap="square" lIns="78191" tIns="39096" rIns="78191" bIns="39096" numCol="1" anchor="t" anchorCtr="0" compatLnSpc="1">
              <a:prstTxWarp prst="textNoShape">
                <a:avLst/>
              </a:prstTxWarp>
            </a:bodyPr>
            <a:lstStyle/>
            <a:p>
              <a:endParaRPr lang="en-GB" sz="1539"/>
            </a:p>
          </p:txBody>
        </p:sp>
      </p:grpSp>
      <p:grpSp>
        <p:nvGrpSpPr>
          <p:cNvPr id="17" name="Group 16">
            <a:extLst>
              <a:ext uri="{FF2B5EF4-FFF2-40B4-BE49-F238E27FC236}">
                <a16:creationId xmlns:a16="http://schemas.microsoft.com/office/drawing/2014/main" id="{199F1C0A-7292-4ADF-932C-811898C1E478}"/>
              </a:ext>
            </a:extLst>
          </p:cNvPr>
          <p:cNvGrpSpPr/>
          <p:nvPr/>
        </p:nvGrpSpPr>
        <p:grpSpPr>
          <a:xfrm>
            <a:off x="442913" y="3028017"/>
            <a:ext cx="4735479" cy="1255552"/>
            <a:chOff x="442913" y="3028017"/>
            <a:chExt cx="4735479" cy="1255552"/>
          </a:xfrm>
        </p:grpSpPr>
        <p:sp>
          <p:nvSpPr>
            <p:cNvPr id="451" name="Text Placeholder 61">
              <a:extLst>
                <a:ext uri="{FF2B5EF4-FFF2-40B4-BE49-F238E27FC236}">
                  <a16:creationId xmlns:a16="http://schemas.microsoft.com/office/drawing/2014/main" id="{5D0A2E2C-9161-4A27-AAB9-6CF00888A388}"/>
                </a:ext>
              </a:extLst>
            </p:cNvPr>
            <p:cNvSpPr txBox="1">
              <a:spLocks/>
            </p:cNvSpPr>
            <p:nvPr/>
          </p:nvSpPr>
          <p:spPr>
            <a:xfrm>
              <a:off x="457400" y="3028017"/>
              <a:ext cx="2897038" cy="1255552"/>
            </a:xfrm>
            <a:prstGeom prst="rect">
              <a:avLst/>
            </a:prstGeom>
          </p:spPr>
          <p:txBody>
            <a:bodyPr vert="horz" lIns="108000" tIns="0" rIns="0" bIns="0" rtlCol="0" anchor="ctr">
              <a:noAutofit/>
            </a:bodyPr>
            <a:lstStyle>
              <a:lvl1pPr marL="0" indent="0" algn="l" defTabSz="1066114" rtl="0" eaLnBrk="1" latinLnBrk="0" hangingPunct="1">
                <a:lnSpc>
                  <a:spcPct val="100000"/>
                </a:lnSpc>
                <a:spcBef>
                  <a:spcPts val="600"/>
                </a:spcBef>
                <a:spcAft>
                  <a:spcPts val="600"/>
                </a:spcAft>
                <a:buFont typeface="Arial" pitchFamily="34" charset="0"/>
                <a:buNone/>
                <a:defRPr kumimoji="0" lang="en-US" sz="1000" b="1" i="1" u="none" strike="noStrike" kern="1200" cap="none" spc="0" normalizeH="0" baseline="0" noProof="0" dirty="0" smtClean="0">
                  <a:ln>
                    <a:noFill/>
                  </a:ln>
                  <a:solidFill>
                    <a:schemeClr val="accent1"/>
                  </a:solidFill>
                  <a:effectLst/>
                  <a:uLnTx/>
                  <a:uFillTx/>
                  <a:latin typeface="+mj-lt"/>
                  <a:ea typeface="+mn-ea"/>
                  <a:cs typeface="Arial" pitchFamily="34" charset="0"/>
                </a:defRPr>
              </a:lvl1pPr>
              <a:lvl2pPr marL="0" indent="0" algn="l" defTabSz="1066114" rtl="0" eaLnBrk="1" latinLnBrk="0" hangingPunct="1">
                <a:lnSpc>
                  <a:spcPct val="100000"/>
                </a:lnSpc>
                <a:spcBef>
                  <a:spcPts val="0"/>
                </a:spcBef>
                <a:spcAft>
                  <a:spcPts val="600"/>
                </a:spcAft>
                <a:buFont typeface="Arial" pitchFamily="34" charset="0"/>
                <a:buNone/>
                <a:defRPr kumimoji="0" lang="en-US" sz="1000" b="1" i="0" u="none" strike="noStrike" kern="1200" cap="none" spc="0" normalizeH="0" baseline="0" noProof="0" dirty="0" smtClean="0">
                  <a:ln>
                    <a:noFill/>
                  </a:ln>
                  <a:solidFill>
                    <a:schemeClr val="accent1"/>
                  </a:solidFill>
                  <a:effectLst/>
                  <a:uLnTx/>
                  <a:uFillTx/>
                  <a:latin typeface="+mj-lt"/>
                  <a:ea typeface="+mn-ea"/>
                  <a:cs typeface="Arial" pitchFamily="34" charset="0"/>
                </a:defRPr>
              </a:lvl2pPr>
              <a:lvl3pPr marL="0" indent="0" algn="l" defTabSz="1066114" rtl="0" eaLnBrk="1" latinLnBrk="0" hangingPunct="1">
                <a:lnSpc>
                  <a:spcPct val="100000"/>
                </a:lnSpc>
                <a:spcBef>
                  <a:spcPts val="0"/>
                </a:spcBef>
                <a:spcAft>
                  <a:spcPts val="600"/>
                </a:spcAft>
                <a:buClr>
                  <a:srgbClr val="97989A"/>
                </a:buClr>
                <a:buFont typeface="Arial" pitchFamily="34" charset="0"/>
                <a:buNone/>
                <a:defRPr kumimoji="0" lang="en-US" sz="1000" b="0" i="1" u="none" strike="noStrike" kern="1200" cap="none" spc="0" normalizeH="0" baseline="0" noProof="0" dirty="0" smtClean="0">
                  <a:ln>
                    <a:noFill/>
                  </a:ln>
                  <a:solidFill>
                    <a:schemeClr val="accent1"/>
                  </a:solidFill>
                  <a:effectLst/>
                  <a:uLnTx/>
                  <a:uFillTx/>
                  <a:latin typeface="+mj-lt"/>
                  <a:ea typeface="+mn-ea"/>
                  <a:cs typeface="Arial" pitchFamily="34" charset="0"/>
                </a:defRPr>
              </a:lvl3pPr>
              <a:lvl4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kumimoji="0" lang="en-US" sz="1000" b="1" i="0" u="none" strike="noStrike" kern="1200" cap="none" spc="0" normalizeH="0" baseline="0" noProof="0" dirty="0" smtClean="0">
                  <a:ln>
                    <a:noFill/>
                  </a:ln>
                  <a:solidFill>
                    <a:schemeClr val="tx1"/>
                  </a:solidFill>
                  <a:effectLst/>
                  <a:uLnTx/>
                  <a:uFillTx/>
                  <a:latin typeface="+mj-lt"/>
                  <a:ea typeface="+mn-ea"/>
                  <a:cs typeface="Arial" pitchFamily="34" charset="0"/>
                </a:defRPr>
              </a:lvl4pPr>
              <a:lvl5pPr marL="0" indent="0" algn="l" defTabSz="1066114" rtl="0" eaLnBrk="1" latinLnBrk="0" hangingPunct="1">
                <a:lnSpc>
                  <a:spcPct val="100000"/>
                </a:lnSpc>
                <a:spcBef>
                  <a:spcPts val="0"/>
                </a:spcBef>
                <a:spcAft>
                  <a:spcPts val="600"/>
                </a:spcAft>
                <a:buClr>
                  <a:srgbClr val="97989A"/>
                </a:buClr>
                <a:buFont typeface="Univers 45 Light" pitchFamily="2" charset="0"/>
                <a:buNone/>
                <a:defRPr kumimoji="0" lang="en-GB" sz="1000" b="0" i="1" u="none" strike="noStrike" kern="1200" cap="none" spc="0" normalizeH="0" baseline="0" noProof="0" dirty="0" smtClean="0">
                  <a:ln>
                    <a:noFill/>
                  </a:ln>
                  <a:solidFill>
                    <a:schemeClr val="tx1"/>
                  </a:solidFill>
                  <a:effectLst/>
                  <a:uLnTx/>
                  <a:uFillTx/>
                  <a:latin typeface="+mj-lt"/>
                  <a:ea typeface="+mn-ea"/>
                  <a:cs typeface="Arial" pitchFamily="34" charset="0"/>
                </a:defRPr>
              </a:lvl5pPr>
              <a:lvl6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sz="1000" kern="1200">
                  <a:solidFill>
                    <a:schemeClr val="tx1"/>
                  </a:solidFill>
                  <a:latin typeface="+mj-lt"/>
                  <a:ea typeface="+mn-ea"/>
                  <a:cs typeface="+mn-cs"/>
                </a:defRPr>
              </a:lvl6pPr>
              <a:lvl7pPr marL="18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7pPr>
              <a:lvl8pPr marL="36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8pPr>
              <a:lvl9pPr marL="180000" indent="-180000" algn="l" defTabSz="1066114" rtl="0" eaLnBrk="1" latinLnBrk="0" hangingPunct="1">
                <a:lnSpc>
                  <a:spcPct val="100000"/>
                </a:lnSpc>
                <a:spcBef>
                  <a:spcPts val="0"/>
                </a:spcBef>
                <a:spcAft>
                  <a:spcPts val="600"/>
                </a:spcAft>
                <a:buClrTx/>
                <a:buSzPct val="100000"/>
                <a:buFont typeface="+mj-lt"/>
                <a:buAutoNum type="arabicPeriod"/>
                <a:defRPr sz="1000" kern="1200" baseline="0">
                  <a:solidFill>
                    <a:schemeClr val="tx1"/>
                  </a:solidFill>
                  <a:latin typeface="+mj-lt"/>
                  <a:ea typeface="+mn-ea"/>
                  <a:cs typeface="+mn-cs"/>
                </a:defRPr>
              </a:lvl9pPr>
            </a:lstStyle>
            <a:p>
              <a:pPr>
                <a:spcBef>
                  <a:spcPts val="0"/>
                </a:spcBef>
                <a:spcAft>
                  <a:spcPts val="257"/>
                </a:spcAft>
              </a:pPr>
              <a:r>
                <a:rPr lang="el-GR" sz="1600" i="0" dirty="0">
                  <a:solidFill>
                    <a:schemeClr val="tx1"/>
                  </a:solidFill>
                  <a:latin typeface="+mn-lt"/>
                </a:rPr>
                <a:t>2.7 Ενδυνάμωση και εμβάθυνση του Στρατηγικού Διαλόγου Ελλάδας - ΗΠΑ </a:t>
              </a:r>
            </a:p>
          </p:txBody>
        </p:sp>
        <p:cxnSp>
          <p:nvCxnSpPr>
            <p:cNvPr id="454" name="Straight Connector 453">
              <a:extLst>
                <a:ext uri="{FF2B5EF4-FFF2-40B4-BE49-F238E27FC236}">
                  <a16:creationId xmlns:a16="http://schemas.microsoft.com/office/drawing/2014/main" id="{3494E3D9-44F2-4F39-AC69-0A096976D1D6}"/>
                </a:ext>
              </a:extLst>
            </p:cNvPr>
            <p:cNvCxnSpPr/>
            <p:nvPr/>
          </p:nvCxnSpPr>
          <p:spPr>
            <a:xfrm>
              <a:off x="442913" y="3028017"/>
              <a:ext cx="0" cy="1255552"/>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56" name="Oval 455">
              <a:extLst>
                <a:ext uri="{FF2B5EF4-FFF2-40B4-BE49-F238E27FC236}">
                  <a16:creationId xmlns:a16="http://schemas.microsoft.com/office/drawing/2014/main" id="{29C6A0C2-1D11-4E1E-A755-900247770923}"/>
                </a:ext>
              </a:extLst>
            </p:cNvPr>
            <p:cNvSpPr/>
            <p:nvPr/>
          </p:nvSpPr>
          <p:spPr>
            <a:xfrm>
              <a:off x="5021448" y="3450560"/>
              <a:ext cx="156944" cy="15694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458" name="Oval 457">
              <a:extLst>
                <a:ext uri="{FF2B5EF4-FFF2-40B4-BE49-F238E27FC236}">
                  <a16:creationId xmlns:a16="http://schemas.microsoft.com/office/drawing/2014/main" id="{41CD7F04-272E-4E77-B25B-44740EAFC8B3}"/>
                </a:ext>
              </a:extLst>
            </p:cNvPr>
            <p:cNvSpPr/>
            <p:nvPr/>
          </p:nvSpPr>
          <p:spPr>
            <a:xfrm>
              <a:off x="3449790" y="3028018"/>
              <a:ext cx="156944" cy="15694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462" name="Straight Connector 461">
              <a:extLst>
                <a:ext uri="{FF2B5EF4-FFF2-40B4-BE49-F238E27FC236}">
                  <a16:creationId xmlns:a16="http://schemas.microsoft.com/office/drawing/2014/main" id="{DABCEBF4-2CE1-4450-8147-C124F274D899}"/>
                </a:ext>
              </a:extLst>
            </p:cNvPr>
            <p:cNvCxnSpPr/>
            <p:nvPr/>
          </p:nvCxnSpPr>
          <p:spPr>
            <a:xfrm>
              <a:off x="3382631" y="3028017"/>
              <a:ext cx="0" cy="1255552"/>
            </a:xfrm>
            <a:prstGeom prst="line">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465" name="Connector: Elbow 46">
              <a:extLst>
                <a:ext uri="{FF2B5EF4-FFF2-40B4-BE49-F238E27FC236}">
                  <a16:creationId xmlns:a16="http://schemas.microsoft.com/office/drawing/2014/main" id="{62077FD0-C250-478F-8CA7-A84BB7FD62CE}"/>
                </a:ext>
              </a:extLst>
            </p:cNvPr>
            <p:cNvCxnSpPr>
              <a:cxnSpLocks/>
              <a:stCxn id="458" idx="6"/>
              <a:endCxn id="456" idx="0"/>
            </p:cNvCxnSpPr>
            <p:nvPr/>
          </p:nvCxnSpPr>
          <p:spPr>
            <a:xfrm>
              <a:off x="3482571" y="3106491"/>
              <a:ext cx="1617349" cy="344069"/>
            </a:xfrm>
            <a:prstGeom prst="bentConnector2">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E6F06039-1C07-4E6E-9900-99F213C376EA}"/>
              </a:ext>
            </a:extLst>
          </p:cNvPr>
          <p:cNvGrpSpPr/>
          <p:nvPr/>
        </p:nvGrpSpPr>
        <p:grpSpPr>
          <a:xfrm>
            <a:off x="442913" y="3970582"/>
            <a:ext cx="5393282" cy="1848639"/>
            <a:chOff x="442913" y="3970582"/>
            <a:chExt cx="5393282" cy="1848639"/>
          </a:xfrm>
        </p:grpSpPr>
        <p:sp>
          <p:nvSpPr>
            <p:cNvPr id="452" name="Text Placeholder 61">
              <a:extLst>
                <a:ext uri="{FF2B5EF4-FFF2-40B4-BE49-F238E27FC236}">
                  <a16:creationId xmlns:a16="http://schemas.microsoft.com/office/drawing/2014/main" id="{4FC3C9C9-6633-4D77-96B4-9CF32E055648}"/>
                </a:ext>
              </a:extLst>
            </p:cNvPr>
            <p:cNvSpPr txBox="1">
              <a:spLocks/>
            </p:cNvSpPr>
            <p:nvPr/>
          </p:nvSpPr>
          <p:spPr>
            <a:xfrm>
              <a:off x="457400" y="4563669"/>
              <a:ext cx="2897038" cy="1255552"/>
            </a:xfrm>
            <a:prstGeom prst="rect">
              <a:avLst/>
            </a:prstGeom>
          </p:spPr>
          <p:txBody>
            <a:bodyPr vert="horz" lIns="108000" tIns="0" rIns="0" bIns="0" rtlCol="0" anchor="ctr">
              <a:noAutofit/>
            </a:bodyPr>
            <a:lstStyle>
              <a:lvl1pPr marL="0" indent="0" algn="l" defTabSz="1066114" rtl="0" eaLnBrk="1" latinLnBrk="0" hangingPunct="1">
                <a:lnSpc>
                  <a:spcPct val="100000"/>
                </a:lnSpc>
                <a:spcBef>
                  <a:spcPts val="600"/>
                </a:spcBef>
                <a:spcAft>
                  <a:spcPts val="600"/>
                </a:spcAft>
                <a:buFont typeface="Arial" pitchFamily="34" charset="0"/>
                <a:buNone/>
                <a:defRPr kumimoji="0" lang="en-US" sz="1000" b="1" i="1" u="none" strike="noStrike" kern="1200" cap="none" spc="0" normalizeH="0" baseline="0" noProof="0" dirty="0" smtClean="0">
                  <a:ln>
                    <a:noFill/>
                  </a:ln>
                  <a:solidFill>
                    <a:schemeClr val="accent1"/>
                  </a:solidFill>
                  <a:effectLst/>
                  <a:uLnTx/>
                  <a:uFillTx/>
                  <a:latin typeface="+mj-lt"/>
                  <a:ea typeface="+mn-ea"/>
                  <a:cs typeface="Arial" pitchFamily="34" charset="0"/>
                </a:defRPr>
              </a:lvl1pPr>
              <a:lvl2pPr marL="0" indent="0" algn="l" defTabSz="1066114" rtl="0" eaLnBrk="1" latinLnBrk="0" hangingPunct="1">
                <a:lnSpc>
                  <a:spcPct val="100000"/>
                </a:lnSpc>
                <a:spcBef>
                  <a:spcPts val="0"/>
                </a:spcBef>
                <a:spcAft>
                  <a:spcPts val="600"/>
                </a:spcAft>
                <a:buFont typeface="Arial" pitchFamily="34" charset="0"/>
                <a:buNone/>
                <a:defRPr kumimoji="0" lang="en-US" sz="1000" b="1" i="0" u="none" strike="noStrike" kern="1200" cap="none" spc="0" normalizeH="0" baseline="0" noProof="0" dirty="0" smtClean="0">
                  <a:ln>
                    <a:noFill/>
                  </a:ln>
                  <a:solidFill>
                    <a:schemeClr val="accent1"/>
                  </a:solidFill>
                  <a:effectLst/>
                  <a:uLnTx/>
                  <a:uFillTx/>
                  <a:latin typeface="+mj-lt"/>
                  <a:ea typeface="+mn-ea"/>
                  <a:cs typeface="Arial" pitchFamily="34" charset="0"/>
                </a:defRPr>
              </a:lvl2pPr>
              <a:lvl3pPr marL="0" indent="0" algn="l" defTabSz="1066114" rtl="0" eaLnBrk="1" latinLnBrk="0" hangingPunct="1">
                <a:lnSpc>
                  <a:spcPct val="100000"/>
                </a:lnSpc>
                <a:spcBef>
                  <a:spcPts val="0"/>
                </a:spcBef>
                <a:spcAft>
                  <a:spcPts val="600"/>
                </a:spcAft>
                <a:buClr>
                  <a:srgbClr val="97989A"/>
                </a:buClr>
                <a:buFont typeface="Arial" pitchFamily="34" charset="0"/>
                <a:buNone/>
                <a:defRPr kumimoji="0" lang="en-US" sz="1000" b="0" i="1" u="none" strike="noStrike" kern="1200" cap="none" spc="0" normalizeH="0" baseline="0" noProof="0" dirty="0" smtClean="0">
                  <a:ln>
                    <a:noFill/>
                  </a:ln>
                  <a:solidFill>
                    <a:schemeClr val="accent1"/>
                  </a:solidFill>
                  <a:effectLst/>
                  <a:uLnTx/>
                  <a:uFillTx/>
                  <a:latin typeface="+mj-lt"/>
                  <a:ea typeface="+mn-ea"/>
                  <a:cs typeface="Arial" pitchFamily="34" charset="0"/>
                </a:defRPr>
              </a:lvl3pPr>
              <a:lvl4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kumimoji="0" lang="en-US" sz="1000" b="1" i="0" u="none" strike="noStrike" kern="1200" cap="none" spc="0" normalizeH="0" baseline="0" noProof="0" dirty="0" smtClean="0">
                  <a:ln>
                    <a:noFill/>
                  </a:ln>
                  <a:solidFill>
                    <a:schemeClr val="tx1"/>
                  </a:solidFill>
                  <a:effectLst/>
                  <a:uLnTx/>
                  <a:uFillTx/>
                  <a:latin typeface="+mj-lt"/>
                  <a:ea typeface="+mn-ea"/>
                  <a:cs typeface="Arial" pitchFamily="34" charset="0"/>
                </a:defRPr>
              </a:lvl4pPr>
              <a:lvl5pPr marL="0" indent="0" algn="l" defTabSz="1066114" rtl="0" eaLnBrk="1" latinLnBrk="0" hangingPunct="1">
                <a:lnSpc>
                  <a:spcPct val="100000"/>
                </a:lnSpc>
                <a:spcBef>
                  <a:spcPts val="0"/>
                </a:spcBef>
                <a:spcAft>
                  <a:spcPts val="600"/>
                </a:spcAft>
                <a:buClr>
                  <a:srgbClr val="97989A"/>
                </a:buClr>
                <a:buFont typeface="Univers 45 Light" pitchFamily="2" charset="0"/>
                <a:buNone/>
                <a:defRPr kumimoji="0" lang="en-GB" sz="1000" b="0" i="1" u="none" strike="noStrike" kern="1200" cap="none" spc="0" normalizeH="0" baseline="0" noProof="0" dirty="0" smtClean="0">
                  <a:ln>
                    <a:noFill/>
                  </a:ln>
                  <a:solidFill>
                    <a:schemeClr val="tx1"/>
                  </a:solidFill>
                  <a:effectLst/>
                  <a:uLnTx/>
                  <a:uFillTx/>
                  <a:latin typeface="+mj-lt"/>
                  <a:ea typeface="+mn-ea"/>
                  <a:cs typeface="Arial" pitchFamily="34" charset="0"/>
                </a:defRPr>
              </a:lvl5pPr>
              <a:lvl6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sz="1000" kern="1200">
                  <a:solidFill>
                    <a:schemeClr val="tx1"/>
                  </a:solidFill>
                  <a:latin typeface="+mj-lt"/>
                  <a:ea typeface="+mn-ea"/>
                  <a:cs typeface="+mn-cs"/>
                </a:defRPr>
              </a:lvl6pPr>
              <a:lvl7pPr marL="18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7pPr>
              <a:lvl8pPr marL="36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8pPr>
              <a:lvl9pPr marL="180000" indent="-180000" algn="l" defTabSz="1066114" rtl="0" eaLnBrk="1" latinLnBrk="0" hangingPunct="1">
                <a:lnSpc>
                  <a:spcPct val="100000"/>
                </a:lnSpc>
                <a:spcBef>
                  <a:spcPts val="0"/>
                </a:spcBef>
                <a:spcAft>
                  <a:spcPts val="600"/>
                </a:spcAft>
                <a:buClrTx/>
                <a:buSzPct val="100000"/>
                <a:buFont typeface="+mj-lt"/>
                <a:buAutoNum type="arabicPeriod"/>
                <a:defRPr sz="1000" kern="1200" baseline="0">
                  <a:solidFill>
                    <a:schemeClr val="tx1"/>
                  </a:solidFill>
                  <a:latin typeface="+mj-lt"/>
                  <a:ea typeface="+mn-ea"/>
                  <a:cs typeface="+mn-cs"/>
                </a:defRPr>
              </a:lvl9pPr>
            </a:lstStyle>
            <a:p>
              <a:pPr>
                <a:spcBef>
                  <a:spcPts val="0"/>
                </a:spcBef>
                <a:spcAft>
                  <a:spcPts val="257"/>
                </a:spcAft>
              </a:pPr>
              <a:r>
                <a:rPr lang="el-GR" sz="1600" i="0" dirty="0">
                  <a:solidFill>
                    <a:schemeClr val="tx1"/>
                  </a:solidFill>
                  <a:latin typeface="+mn-lt"/>
                </a:rPr>
                <a:t>2.6 UNCLOS -  Ανάδειξη και προώθηση σχέσεων με χώρες που σέβονται το Διεθνές Δίκαιο της Θάλασσας</a:t>
              </a:r>
            </a:p>
          </p:txBody>
        </p:sp>
        <p:cxnSp>
          <p:nvCxnSpPr>
            <p:cNvPr id="455" name="Straight Connector 454">
              <a:extLst>
                <a:ext uri="{FF2B5EF4-FFF2-40B4-BE49-F238E27FC236}">
                  <a16:creationId xmlns:a16="http://schemas.microsoft.com/office/drawing/2014/main" id="{7FC8BCCE-478E-474A-AA9B-7A594896984C}"/>
                </a:ext>
              </a:extLst>
            </p:cNvPr>
            <p:cNvCxnSpPr>
              <a:cxnSpLocks/>
            </p:cNvCxnSpPr>
            <p:nvPr/>
          </p:nvCxnSpPr>
          <p:spPr>
            <a:xfrm>
              <a:off x="442913" y="4563668"/>
              <a:ext cx="0" cy="1255552"/>
            </a:xfrm>
            <a:prstGeom prst="lin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57" name="Oval 456">
              <a:extLst>
                <a:ext uri="{FF2B5EF4-FFF2-40B4-BE49-F238E27FC236}">
                  <a16:creationId xmlns:a16="http://schemas.microsoft.com/office/drawing/2014/main" id="{9D0F176C-C4FD-4423-9B6C-A3DBD738D6E0}"/>
                </a:ext>
              </a:extLst>
            </p:cNvPr>
            <p:cNvSpPr/>
            <p:nvPr/>
          </p:nvSpPr>
          <p:spPr>
            <a:xfrm>
              <a:off x="5679251" y="3970582"/>
              <a:ext cx="156944" cy="15694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460" name="Oval 459">
              <a:extLst>
                <a:ext uri="{FF2B5EF4-FFF2-40B4-BE49-F238E27FC236}">
                  <a16:creationId xmlns:a16="http://schemas.microsoft.com/office/drawing/2014/main" id="{B5507D02-5003-4CF0-86C9-69921959C50D}"/>
                </a:ext>
              </a:extLst>
            </p:cNvPr>
            <p:cNvSpPr/>
            <p:nvPr/>
          </p:nvSpPr>
          <p:spPr>
            <a:xfrm>
              <a:off x="3449790" y="4563670"/>
              <a:ext cx="156944" cy="15694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463" name="Straight Connector 462">
              <a:extLst>
                <a:ext uri="{FF2B5EF4-FFF2-40B4-BE49-F238E27FC236}">
                  <a16:creationId xmlns:a16="http://schemas.microsoft.com/office/drawing/2014/main" id="{2E0E3D5E-7A32-476D-9904-AFF760AE2730}"/>
                </a:ext>
              </a:extLst>
            </p:cNvPr>
            <p:cNvCxnSpPr>
              <a:cxnSpLocks/>
            </p:cNvCxnSpPr>
            <p:nvPr/>
          </p:nvCxnSpPr>
          <p:spPr>
            <a:xfrm>
              <a:off x="3382631" y="4563668"/>
              <a:ext cx="0" cy="1255552"/>
            </a:xfrm>
            <a:prstGeom prst="line">
              <a:avLst/>
            </a:prstGeom>
            <a:ln w="19050">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466" name="Connector: Elbow 49">
              <a:extLst>
                <a:ext uri="{FF2B5EF4-FFF2-40B4-BE49-F238E27FC236}">
                  <a16:creationId xmlns:a16="http://schemas.microsoft.com/office/drawing/2014/main" id="{A06A406A-179D-402C-987F-C41C795E78DF}"/>
                </a:ext>
              </a:extLst>
            </p:cNvPr>
            <p:cNvCxnSpPr>
              <a:cxnSpLocks/>
              <a:stCxn id="460" idx="6"/>
              <a:endCxn id="457" idx="4"/>
            </p:cNvCxnSpPr>
            <p:nvPr/>
          </p:nvCxnSpPr>
          <p:spPr>
            <a:xfrm flipV="1">
              <a:off x="3606734" y="4127526"/>
              <a:ext cx="2150989" cy="514616"/>
            </a:xfrm>
            <a:prstGeom prst="bentConnector2">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D6568160-4762-4044-B2DA-8F1A2797FF86}"/>
              </a:ext>
            </a:extLst>
          </p:cNvPr>
          <p:cNvGrpSpPr/>
          <p:nvPr/>
        </p:nvGrpSpPr>
        <p:grpSpPr>
          <a:xfrm>
            <a:off x="442913" y="1329698"/>
            <a:ext cx="5625308" cy="2314682"/>
            <a:chOff x="442913" y="1329698"/>
            <a:chExt cx="5625308" cy="2314682"/>
          </a:xfrm>
        </p:grpSpPr>
        <p:sp>
          <p:nvSpPr>
            <p:cNvPr id="450" name="Text Placeholder 61">
              <a:extLst>
                <a:ext uri="{FF2B5EF4-FFF2-40B4-BE49-F238E27FC236}">
                  <a16:creationId xmlns:a16="http://schemas.microsoft.com/office/drawing/2014/main" id="{21A04DC9-A50A-41BB-81D8-276C2BCFF39A}"/>
                </a:ext>
              </a:extLst>
            </p:cNvPr>
            <p:cNvSpPr txBox="1">
              <a:spLocks/>
            </p:cNvSpPr>
            <p:nvPr/>
          </p:nvSpPr>
          <p:spPr>
            <a:xfrm>
              <a:off x="457400" y="1329699"/>
              <a:ext cx="2897038" cy="1255552"/>
            </a:xfrm>
            <a:prstGeom prst="rect">
              <a:avLst/>
            </a:prstGeom>
          </p:spPr>
          <p:txBody>
            <a:bodyPr vert="horz" lIns="108000" tIns="0" rIns="0" bIns="0" rtlCol="0" anchor="ctr">
              <a:noAutofit/>
            </a:bodyPr>
            <a:lstStyle>
              <a:lvl1pPr marL="0" indent="0" algn="l" defTabSz="1066114" rtl="0" eaLnBrk="1" latinLnBrk="0" hangingPunct="1">
                <a:lnSpc>
                  <a:spcPct val="100000"/>
                </a:lnSpc>
                <a:spcBef>
                  <a:spcPts val="600"/>
                </a:spcBef>
                <a:spcAft>
                  <a:spcPts val="600"/>
                </a:spcAft>
                <a:buFont typeface="Arial" pitchFamily="34" charset="0"/>
                <a:buNone/>
                <a:defRPr kumimoji="0" lang="en-US" sz="1000" b="1" i="1" u="none" strike="noStrike" kern="1200" cap="none" spc="0" normalizeH="0" baseline="0" noProof="0" dirty="0" smtClean="0">
                  <a:ln>
                    <a:noFill/>
                  </a:ln>
                  <a:solidFill>
                    <a:schemeClr val="accent1"/>
                  </a:solidFill>
                  <a:effectLst/>
                  <a:uLnTx/>
                  <a:uFillTx/>
                  <a:latin typeface="+mj-lt"/>
                  <a:ea typeface="+mn-ea"/>
                  <a:cs typeface="Arial" pitchFamily="34" charset="0"/>
                </a:defRPr>
              </a:lvl1pPr>
              <a:lvl2pPr marL="0" indent="0" algn="l" defTabSz="1066114" rtl="0" eaLnBrk="1" latinLnBrk="0" hangingPunct="1">
                <a:lnSpc>
                  <a:spcPct val="100000"/>
                </a:lnSpc>
                <a:spcBef>
                  <a:spcPts val="0"/>
                </a:spcBef>
                <a:spcAft>
                  <a:spcPts val="600"/>
                </a:spcAft>
                <a:buFont typeface="Arial" pitchFamily="34" charset="0"/>
                <a:buNone/>
                <a:defRPr kumimoji="0" lang="en-US" sz="1000" b="1" i="0" u="none" strike="noStrike" kern="1200" cap="none" spc="0" normalizeH="0" baseline="0" noProof="0" dirty="0" smtClean="0">
                  <a:ln>
                    <a:noFill/>
                  </a:ln>
                  <a:solidFill>
                    <a:schemeClr val="accent1"/>
                  </a:solidFill>
                  <a:effectLst/>
                  <a:uLnTx/>
                  <a:uFillTx/>
                  <a:latin typeface="+mj-lt"/>
                  <a:ea typeface="+mn-ea"/>
                  <a:cs typeface="Arial" pitchFamily="34" charset="0"/>
                </a:defRPr>
              </a:lvl2pPr>
              <a:lvl3pPr marL="0" indent="0" algn="l" defTabSz="1066114" rtl="0" eaLnBrk="1" latinLnBrk="0" hangingPunct="1">
                <a:lnSpc>
                  <a:spcPct val="100000"/>
                </a:lnSpc>
                <a:spcBef>
                  <a:spcPts val="0"/>
                </a:spcBef>
                <a:spcAft>
                  <a:spcPts val="600"/>
                </a:spcAft>
                <a:buClr>
                  <a:srgbClr val="97989A"/>
                </a:buClr>
                <a:buFont typeface="Arial" pitchFamily="34" charset="0"/>
                <a:buNone/>
                <a:defRPr kumimoji="0" lang="en-US" sz="1000" b="0" i="1" u="none" strike="noStrike" kern="1200" cap="none" spc="0" normalizeH="0" baseline="0" noProof="0" dirty="0" smtClean="0">
                  <a:ln>
                    <a:noFill/>
                  </a:ln>
                  <a:solidFill>
                    <a:schemeClr val="accent1"/>
                  </a:solidFill>
                  <a:effectLst/>
                  <a:uLnTx/>
                  <a:uFillTx/>
                  <a:latin typeface="+mj-lt"/>
                  <a:ea typeface="+mn-ea"/>
                  <a:cs typeface="Arial" pitchFamily="34" charset="0"/>
                </a:defRPr>
              </a:lvl3pPr>
              <a:lvl4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kumimoji="0" lang="en-US" sz="1000" b="1" i="0" u="none" strike="noStrike" kern="1200" cap="none" spc="0" normalizeH="0" baseline="0" noProof="0" dirty="0" smtClean="0">
                  <a:ln>
                    <a:noFill/>
                  </a:ln>
                  <a:solidFill>
                    <a:schemeClr val="tx1"/>
                  </a:solidFill>
                  <a:effectLst/>
                  <a:uLnTx/>
                  <a:uFillTx/>
                  <a:latin typeface="+mj-lt"/>
                  <a:ea typeface="+mn-ea"/>
                  <a:cs typeface="Arial" pitchFamily="34" charset="0"/>
                </a:defRPr>
              </a:lvl4pPr>
              <a:lvl5pPr marL="0" indent="0" algn="l" defTabSz="1066114" rtl="0" eaLnBrk="1" latinLnBrk="0" hangingPunct="1">
                <a:lnSpc>
                  <a:spcPct val="100000"/>
                </a:lnSpc>
                <a:spcBef>
                  <a:spcPts val="0"/>
                </a:spcBef>
                <a:spcAft>
                  <a:spcPts val="600"/>
                </a:spcAft>
                <a:buClr>
                  <a:srgbClr val="97989A"/>
                </a:buClr>
                <a:buFont typeface="Univers 45 Light" pitchFamily="2" charset="0"/>
                <a:buNone/>
                <a:defRPr kumimoji="0" lang="en-GB" sz="1000" b="0" i="1" u="none" strike="noStrike" kern="1200" cap="none" spc="0" normalizeH="0" baseline="0" noProof="0" dirty="0" smtClean="0">
                  <a:ln>
                    <a:noFill/>
                  </a:ln>
                  <a:solidFill>
                    <a:schemeClr val="tx1"/>
                  </a:solidFill>
                  <a:effectLst/>
                  <a:uLnTx/>
                  <a:uFillTx/>
                  <a:latin typeface="+mj-lt"/>
                  <a:ea typeface="+mn-ea"/>
                  <a:cs typeface="Arial" pitchFamily="34" charset="0"/>
                </a:defRPr>
              </a:lvl5pPr>
              <a:lvl6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sz="1000" kern="1200">
                  <a:solidFill>
                    <a:schemeClr val="tx1"/>
                  </a:solidFill>
                  <a:latin typeface="+mj-lt"/>
                  <a:ea typeface="+mn-ea"/>
                  <a:cs typeface="+mn-cs"/>
                </a:defRPr>
              </a:lvl6pPr>
              <a:lvl7pPr marL="18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7pPr>
              <a:lvl8pPr marL="36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8pPr>
              <a:lvl9pPr marL="180000" indent="-180000" algn="l" defTabSz="1066114" rtl="0" eaLnBrk="1" latinLnBrk="0" hangingPunct="1">
                <a:lnSpc>
                  <a:spcPct val="100000"/>
                </a:lnSpc>
                <a:spcBef>
                  <a:spcPts val="0"/>
                </a:spcBef>
                <a:spcAft>
                  <a:spcPts val="600"/>
                </a:spcAft>
                <a:buClrTx/>
                <a:buSzPct val="100000"/>
                <a:buFont typeface="+mj-lt"/>
                <a:buAutoNum type="arabicPeriod"/>
                <a:defRPr sz="1000" kern="1200" baseline="0">
                  <a:solidFill>
                    <a:schemeClr val="tx1"/>
                  </a:solidFill>
                  <a:latin typeface="+mj-lt"/>
                  <a:ea typeface="+mn-ea"/>
                  <a:cs typeface="+mn-cs"/>
                </a:defRPr>
              </a:lvl9pPr>
            </a:lstStyle>
            <a:p>
              <a:pPr>
                <a:spcBef>
                  <a:spcPts val="0"/>
                </a:spcBef>
                <a:spcAft>
                  <a:spcPts val="257"/>
                </a:spcAft>
              </a:pPr>
              <a:r>
                <a:rPr lang="el-GR" sz="1600" i="0" dirty="0">
                  <a:solidFill>
                    <a:schemeClr val="tx1"/>
                  </a:solidFill>
                  <a:latin typeface="+mn-lt"/>
                </a:rPr>
                <a:t>2.5 Πρόληψη και αντιμετώπιση κρίσεων σε διεθνές επίπεδο – ΝΑΤΟ. Εφαρμογή συμφωνιών ΗΠΑ, Γαλλία, Ηνωμένα Αραβικά Εμιράτα</a:t>
              </a:r>
            </a:p>
          </p:txBody>
        </p:sp>
        <p:cxnSp>
          <p:nvCxnSpPr>
            <p:cNvPr id="453" name="Straight Connector 452">
              <a:extLst>
                <a:ext uri="{FF2B5EF4-FFF2-40B4-BE49-F238E27FC236}">
                  <a16:creationId xmlns:a16="http://schemas.microsoft.com/office/drawing/2014/main" id="{FCBF0D01-DEB7-425F-8290-320EACF2DCAD}"/>
                </a:ext>
              </a:extLst>
            </p:cNvPr>
            <p:cNvCxnSpPr/>
            <p:nvPr/>
          </p:nvCxnSpPr>
          <p:spPr>
            <a:xfrm>
              <a:off x="442913" y="1329699"/>
              <a:ext cx="0" cy="1255552"/>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59" name="Oval 458">
              <a:extLst>
                <a:ext uri="{FF2B5EF4-FFF2-40B4-BE49-F238E27FC236}">
                  <a16:creationId xmlns:a16="http://schemas.microsoft.com/office/drawing/2014/main" id="{7FC38334-5636-41D3-B70D-9E69EEBC710C}"/>
                </a:ext>
              </a:extLst>
            </p:cNvPr>
            <p:cNvSpPr/>
            <p:nvPr/>
          </p:nvSpPr>
          <p:spPr>
            <a:xfrm>
              <a:off x="3449790" y="1329698"/>
              <a:ext cx="156944" cy="156944"/>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461" name="Straight Connector 460">
              <a:extLst>
                <a:ext uri="{FF2B5EF4-FFF2-40B4-BE49-F238E27FC236}">
                  <a16:creationId xmlns:a16="http://schemas.microsoft.com/office/drawing/2014/main" id="{7EB61D09-11DA-4651-83E8-FE1F6D3E64FE}"/>
                </a:ext>
              </a:extLst>
            </p:cNvPr>
            <p:cNvCxnSpPr/>
            <p:nvPr/>
          </p:nvCxnSpPr>
          <p:spPr>
            <a:xfrm>
              <a:off x="3382631" y="1329699"/>
              <a:ext cx="0" cy="1255552"/>
            </a:xfrm>
            <a:prstGeom prst="line">
              <a:avLst/>
            </a:prstGeom>
            <a:ln w="190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64" name="Connector: Elbow 44">
              <a:extLst>
                <a:ext uri="{FF2B5EF4-FFF2-40B4-BE49-F238E27FC236}">
                  <a16:creationId xmlns:a16="http://schemas.microsoft.com/office/drawing/2014/main" id="{8277CFAF-9065-4FEA-8BCB-885D361DD00D}"/>
                </a:ext>
              </a:extLst>
            </p:cNvPr>
            <p:cNvCxnSpPr>
              <a:cxnSpLocks/>
              <a:stCxn id="459" idx="6"/>
              <a:endCxn id="467" idx="0"/>
            </p:cNvCxnSpPr>
            <p:nvPr/>
          </p:nvCxnSpPr>
          <p:spPr>
            <a:xfrm>
              <a:off x="3606734" y="1408170"/>
              <a:ext cx="2383015" cy="2079266"/>
            </a:xfrm>
            <a:prstGeom prst="bentConnector2">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67" name="Oval 466">
              <a:extLst>
                <a:ext uri="{FF2B5EF4-FFF2-40B4-BE49-F238E27FC236}">
                  <a16:creationId xmlns:a16="http://schemas.microsoft.com/office/drawing/2014/main" id="{5AA5B615-6462-4D00-996D-77B69EE6931A}"/>
                </a:ext>
              </a:extLst>
            </p:cNvPr>
            <p:cNvSpPr/>
            <p:nvPr/>
          </p:nvSpPr>
          <p:spPr>
            <a:xfrm>
              <a:off x="5911277" y="3487436"/>
              <a:ext cx="156944" cy="156944"/>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grpSp>
      <p:grpSp>
        <p:nvGrpSpPr>
          <p:cNvPr id="19" name="Group 18">
            <a:extLst>
              <a:ext uri="{FF2B5EF4-FFF2-40B4-BE49-F238E27FC236}">
                <a16:creationId xmlns:a16="http://schemas.microsoft.com/office/drawing/2014/main" id="{9FF6AC74-17F6-412A-8688-36D136AA3E0A}"/>
              </a:ext>
            </a:extLst>
          </p:cNvPr>
          <p:cNvGrpSpPr/>
          <p:nvPr/>
        </p:nvGrpSpPr>
        <p:grpSpPr>
          <a:xfrm>
            <a:off x="6686999" y="1863725"/>
            <a:ext cx="5062089" cy="1908000"/>
            <a:chOff x="6686999" y="1863725"/>
            <a:chExt cx="5062089" cy="1908000"/>
          </a:xfrm>
        </p:grpSpPr>
        <p:sp>
          <p:nvSpPr>
            <p:cNvPr id="431" name="Text Placeholder 61">
              <a:extLst>
                <a:ext uri="{FF2B5EF4-FFF2-40B4-BE49-F238E27FC236}">
                  <a16:creationId xmlns:a16="http://schemas.microsoft.com/office/drawing/2014/main" id="{77E65032-8E8B-491C-93E7-1354F83FE9AC}"/>
                </a:ext>
              </a:extLst>
            </p:cNvPr>
            <p:cNvSpPr txBox="1">
              <a:spLocks/>
            </p:cNvSpPr>
            <p:nvPr/>
          </p:nvSpPr>
          <p:spPr>
            <a:xfrm flipH="1">
              <a:off x="8784892" y="1863726"/>
              <a:ext cx="2897038" cy="1035830"/>
            </a:xfrm>
            <a:prstGeom prst="rect">
              <a:avLst/>
            </a:prstGeom>
          </p:spPr>
          <p:txBody>
            <a:bodyPr vert="horz" lIns="108000" tIns="0" rIns="0" bIns="0" rtlCol="0">
              <a:noAutofit/>
            </a:bodyPr>
            <a:lstStyle>
              <a:lvl1pPr marL="0" indent="0" algn="l" defTabSz="1066114" rtl="0" eaLnBrk="1" latinLnBrk="0" hangingPunct="1">
                <a:lnSpc>
                  <a:spcPct val="100000"/>
                </a:lnSpc>
                <a:spcBef>
                  <a:spcPts val="600"/>
                </a:spcBef>
                <a:spcAft>
                  <a:spcPts val="600"/>
                </a:spcAft>
                <a:buFont typeface="Arial" pitchFamily="34" charset="0"/>
                <a:buNone/>
                <a:defRPr kumimoji="0" lang="en-US" sz="1000" b="1" i="1" u="none" strike="noStrike" kern="1200" cap="none" spc="0" normalizeH="0" baseline="0" noProof="0" dirty="0" smtClean="0">
                  <a:ln>
                    <a:noFill/>
                  </a:ln>
                  <a:solidFill>
                    <a:schemeClr val="accent1"/>
                  </a:solidFill>
                  <a:effectLst/>
                  <a:uLnTx/>
                  <a:uFillTx/>
                  <a:latin typeface="+mj-lt"/>
                  <a:ea typeface="+mn-ea"/>
                  <a:cs typeface="Arial" pitchFamily="34" charset="0"/>
                </a:defRPr>
              </a:lvl1pPr>
              <a:lvl2pPr marL="0" indent="0" algn="l" defTabSz="1066114" rtl="0" eaLnBrk="1" latinLnBrk="0" hangingPunct="1">
                <a:lnSpc>
                  <a:spcPct val="100000"/>
                </a:lnSpc>
                <a:spcBef>
                  <a:spcPts val="0"/>
                </a:spcBef>
                <a:spcAft>
                  <a:spcPts val="600"/>
                </a:spcAft>
                <a:buFont typeface="Arial" pitchFamily="34" charset="0"/>
                <a:buNone/>
                <a:defRPr kumimoji="0" lang="en-US" sz="1000" b="1" i="0" u="none" strike="noStrike" kern="1200" cap="none" spc="0" normalizeH="0" baseline="0" noProof="0" dirty="0" smtClean="0">
                  <a:ln>
                    <a:noFill/>
                  </a:ln>
                  <a:solidFill>
                    <a:schemeClr val="accent1"/>
                  </a:solidFill>
                  <a:effectLst/>
                  <a:uLnTx/>
                  <a:uFillTx/>
                  <a:latin typeface="+mj-lt"/>
                  <a:ea typeface="+mn-ea"/>
                  <a:cs typeface="Arial" pitchFamily="34" charset="0"/>
                </a:defRPr>
              </a:lvl2pPr>
              <a:lvl3pPr marL="0" indent="0" algn="l" defTabSz="1066114" rtl="0" eaLnBrk="1" latinLnBrk="0" hangingPunct="1">
                <a:lnSpc>
                  <a:spcPct val="100000"/>
                </a:lnSpc>
                <a:spcBef>
                  <a:spcPts val="0"/>
                </a:spcBef>
                <a:spcAft>
                  <a:spcPts val="600"/>
                </a:spcAft>
                <a:buClr>
                  <a:srgbClr val="97989A"/>
                </a:buClr>
                <a:buFont typeface="Arial" pitchFamily="34" charset="0"/>
                <a:buNone/>
                <a:defRPr kumimoji="0" lang="en-US" sz="1000" b="0" i="1" u="none" strike="noStrike" kern="1200" cap="none" spc="0" normalizeH="0" baseline="0" noProof="0" dirty="0" smtClean="0">
                  <a:ln>
                    <a:noFill/>
                  </a:ln>
                  <a:solidFill>
                    <a:schemeClr val="accent1"/>
                  </a:solidFill>
                  <a:effectLst/>
                  <a:uLnTx/>
                  <a:uFillTx/>
                  <a:latin typeface="+mj-lt"/>
                  <a:ea typeface="+mn-ea"/>
                  <a:cs typeface="Arial" pitchFamily="34" charset="0"/>
                </a:defRPr>
              </a:lvl3pPr>
              <a:lvl4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kumimoji="0" lang="en-US" sz="1000" b="1" i="0" u="none" strike="noStrike" kern="1200" cap="none" spc="0" normalizeH="0" baseline="0" noProof="0" dirty="0" smtClean="0">
                  <a:ln>
                    <a:noFill/>
                  </a:ln>
                  <a:solidFill>
                    <a:schemeClr val="tx1"/>
                  </a:solidFill>
                  <a:effectLst/>
                  <a:uLnTx/>
                  <a:uFillTx/>
                  <a:latin typeface="+mj-lt"/>
                  <a:ea typeface="+mn-ea"/>
                  <a:cs typeface="Arial" pitchFamily="34" charset="0"/>
                </a:defRPr>
              </a:lvl4pPr>
              <a:lvl5pPr marL="0" indent="0" algn="l" defTabSz="1066114" rtl="0" eaLnBrk="1" latinLnBrk="0" hangingPunct="1">
                <a:lnSpc>
                  <a:spcPct val="100000"/>
                </a:lnSpc>
                <a:spcBef>
                  <a:spcPts val="0"/>
                </a:spcBef>
                <a:spcAft>
                  <a:spcPts val="600"/>
                </a:spcAft>
                <a:buClr>
                  <a:srgbClr val="97989A"/>
                </a:buClr>
                <a:buFont typeface="Univers 45 Light" pitchFamily="2" charset="0"/>
                <a:buNone/>
                <a:defRPr kumimoji="0" lang="en-GB" sz="1000" b="0" i="1" u="none" strike="noStrike" kern="1200" cap="none" spc="0" normalizeH="0" baseline="0" noProof="0" dirty="0" smtClean="0">
                  <a:ln>
                    <a:noFill/>
                  </a:ln>
                  <a:solidFill>
                    <a:schemeClr val="tx1"/>
                  </a:solidFill>
                  <a:effectLst/>
                  <a:uLnTx/>
                  <a:uFillTx/>
                  <a:latin typeface="+mj-lt"/>
                  <a:ea typeface="+mn-ea"/>
                  <a:cs typeface="Arial" pitchFamily="34" charset="0"/>
                </a:defRPr>
              </a:lvl5pPr>
              <a:lvl6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sz="1000" kern="1200">
                  <a:solidFill>
                    <a:schemeClr val="tx1"/>
                  </a:solidFill>
                  <a:latin typeface="+mj-lt"/>
                  <a:ea typeface="+mn-ea"/>
                  <a:cs typeface="+mn-cs"/>
                </a:defRPr>
              </a:lvl6pPr>
              <a:lvl7pPr marL="18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7pPr>
              <a:lvl8pPr marL="36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8pPr>
              <a:lvl9pPr marL="180000" indent="-180000" algn="l" defTabSz="1066114" rtl="0" eaLnBrk="1" latinLnBrk="0" hangingPunct="1">
                <a:lnSpc>
                  <a:spcPct val="100000"/>
                </a:lnSpc>
                <a:spcBef>
                  <a:spcPts val="0"/>
                </a:spcBef>
                <a:spcAft>
                  <a:spcPts val="600"/>
                </a:spcAft>
                <a:buClrTx/>
                <a:buSzPct val="100000"/>
                <a:buFont typeface="+mj-lt"/>
                <a:buAutoNum type="arabicPeriod"/>
                <a:defRPr sz="1000" kern="1200" baseline="0">
                  <a:solidFill>
                    <a:schemeClr val="tx1"/>
                  </a:solidFill>
                  <a:latin typeface="+mj-lt"/>
                  <a:ea typeface="+mn-ea"/>
                  <a:cs typeface="+mn-cs"/>
                </a:defRPr>
              </a:lvl9pPr>
            </a:lstStyle>
            <a:p>
              <a:pPr>
                <a:spcBef>
                  <a:spcPts val="0"/>
                </a:spcBef>
                <a:spcAft>
                  <a:spcPts val="257"/>
                </a:spcAft>
              </a:pPr>
              <a:r>
                <a:rPr lang="el-GR" sz="1600" i="0" dirty="0">
                  <a:solidFill>
                    <a:schemeClr val="tx1"/>
                  </a:solidFill>
                  <a:latin typeface="+mn-lt"/>
                </a:rPr>
                <a:t>2.8 Ανάπτυξη συνεργασίας σε επιλεγμένους τομείς με τα Μόνιμα Μέλη Συμβουλίου Ασφαλείας Ρωσία και Κίνα εντός των ορίων που θέτουν η διεθνής νομιμότητα, οι δεσμεύσεις και οι εθνικές μας προτεραιότητες</a:t>
              </a:r>
            </a:p>
          </p:txBody>
        </p:sp>
        <p:sp>
          <p:nvSpPr>
            <p:cNvPr id="433" name="Oval 432">
              <a:extLst>
                <a:ext uri="{FF2B5EF4-FFF2-40B4-BE49-F238E27FC236}">
                  <a16:creationId xmlns:a16="http://schemas.microsoft.com/office/drawing/2014/main" id="{1DD21560-CC0D-46D1-8BEA-D925C16B8FF2}"/>
                </a:ext>
              </a:extLst>
            </p:cNvPr>
            <p:cNvSpPr/>
            <p:nvPr/>
          </p:nvSpPr>
          <p:spPr>
            <a:xfrm flipH="1">
              <a:off x="8557044" y="2042272"/>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437" name="Straight Connector 436">
              <a:extLst>
                <a:ext uri="{FF2B5EF4-FFF2-40B4-BE49-F238E27FC236}">
                  <a16:creationId xmlns:a16="http://schemas.microsoft.com/office/drawing/2014/main" id="{07DC9D15-2FFC-49BD-B56B-7391EDCDEA7A}"/>
                </a:ext>
              </a:extLst>
            </p:cNvPr>
            <p:cNvCxnSpPr>
              <a:cxnSpLocks/>
            </p:cNvCxnSpPr>
            <p:nvPr/>
          </p:nvCxnSpPr>
          <p:spPr>
            <a:xfrm>
              <a:off x="8781145" y="1863725"/>
              <a:ext cx="0" cy="190800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443" name="Oval 442">
              <a:extLst>
                <a:ext uri="{FF2B5EF4-FFF2-40B4-BE49-F238E27FC236}">
                  <a16:creationId xmlns:a16="http://schemas.microsoft.com/office/drawing/2014/main" id="{A0E81B2D-53E3-4386-8545-825D901990F0}"/>
                </a:ext>
              </a:extLst>
            </p:cNvPr>
            <p:cNvSpPr/>
            <p:nvPr/>
          </p:nvSpPr>
          <p:spPr>
            <a:xfrm flipH="1">
              <a:off x="6686999" y="3368383"/>
              <a:ext cx="156944" cy="15694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447" name="Connector: Elbow 58">
              <a:extLst>
                <a:ext uri="{FF2B5EF4-FFF2-40B4-BE49-F238E27FC236}">
                  <a16:creationId xmlns:a16="http://schemas.microsoft.com/office/drawing/2014/main" id="{D9F78447-7C95-4D56-BF86-46B35A2CC9B4}"/>
                </a:ext>
              </a:extLst>
            </p:cNvPr>
            <p:cNvCxnSpPr>
              <a:cxnSpLocks/>
              <a:stCxn id="433" idx="6"/>
              <a:endCxn id="443" idx="0"/>
            </p:cNvCxnSpPr>
            <p:nvPr/>
          </p:nvCxnSpPr>
          <p:spPr>
            <a:xfrm rot="10800000" flipV="1">
              <a:off x="6765472" y="2120743"/>
              <a:ext cx="1791573" cy="1247639"/>
            </a:xfrm>
            <a:prstGeom prst="bentConnector2">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07DC9D15-2FFC-49BD-B56B-7391EDCDEA7A}"/>
                </a:ext>
              </a:extLst>
            </p:cNvPr>
            <p:cNvCxnSpPr>
              <a:cxnSpLocks/>
            </p:cNvCxnSpPr>
            <p:nvPr/>
          </p:nvCxnSpPr>
          <p:spPr>
            <a:xfrm>
              <a:off x="11749088" y="1863725"/>
              <a:ext cx="0" cy="190800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9D97524-3161-47D5-A533-BFB30D1A53C1}"/>
              </a:ext>
            </a:extLst>
          </p:cNvPr>
          <p:cNvGrpSpPr/>
          <p:nvPr/>
        </p:nvGrpSpPr>
        <p:grpSpPr>
          <a:xfrm>
            <a:off x="5983367" y="4341881"/>
            <a:ext cx="5765721" cy="1035830"/>
            <a:chOff x="5983367" y="4341881"/>
            <a:chExt cx="5765721" cy="1035830"/>
          </a:xfrm>
        </p:grpSpPr>
        <p:sp>
          <p:nvSpPr>
            <p:cNvPr id="439" name="Text Placeholder 61">
              <a:extLst>
                <a:ext uri="{FF2B5EF4-FFF2-40B4-BE49-F238E27FC236}">
                  <a16:creationId xmlns:a16="http://schemas.microsoft.com/office/drawing/2014/main" id="{08BA2349-C8D4-419A-95F9-FE442AF8B3B6}"/>
                </a:ext>
              </a:extLst>
            </p:cNvPr>
            <p:cNvSpPr txBox="1">
              <a:spLocks/>
            </p:cNvSpPr>
            <p:nvPr/>
          </p:nvSpPr>
          <p:spPr>
            <a:xfrm flipH="1">
              <a:off x="8746681" y="4375836"/>
              <a:ext cx="2897038" cy="984885"/>
            </a:xfrm>
            <a:prstGeom prst="rect">
              <a:avLst/>
            </a:prstGeom>
          </p:spPr>
          <p:txBody>
            <a:bodyPr vert="horz" wrap="square" lIns="108000" tIns="0" rIns="0" bIns="0" rtlCol="0" anchor="ctr">
              <a:spAutoFit/>
            </a:bodyPr>
            <a:lstStyle>
              <a:lvl1pPr marL="0" indent="0" algn="l" defTabSz="1066114" rtl="0" eaLnBrk="1" latinLnBrk="0" hangingPunct="1">
                <a:lnSpc>
                  <a:spcPct val="100000"/>
                </a:lnSpc>
                <a:spcBef>
                  <a:spcPts val="600"/>
                </a:spcBef>
                <a:spcAft>
                  <a:spcPts val="600"/>
                </a:spcAft>
                <a:buFont typeface="Arial" pitchFamily="34" charset="0"/>
                <a:buNone/>
                <a:defRPr kumimoji="0" lang="en-US" sz="1000" b="1" i="1" u="none" strike="noStrike" kern="1200" cap="none" spc="0" normalizeH="0" baseline="0" noProof="0" dirty="0" smtClean="0">
                  <a:ln>
                    <a:noFill/>
                  </a:ln>
                  <a:solidFill>
                    <a:schemeClr val="accent1"/>
                  </a:solidFill>
                  <a:effectLst/>
                  <a:uLnTx/>
                  <a:uFillTx/>
                  <a:latin typeface="+mj-lt"/>
                  <a:ea typeface="+mn-ea"/>
                  <a:cs typeface="Arial" pitchFamily="34" charset="0"/>
                </a:defRPr>
              </a:lvl1pPr>
              <a:lvl2pPr marL="0" indent="0" algn="l" defTabSz="1066114" rtl="0" eaLnBrk="1" latinLnBrk="0" hangingPunct="1">
                <a:lnSpc>
                  <a:spcPct val="100000"/>
                </a:lnSpc>
                <a:spcBef>
                  <a:spcPts val="0"/>
                </a:spcBef>
                <a:spcAft>
                  <a:spcPts val="600"/>
                </a:spcAft>
                <a:buFont typeface="Arial" pitchFamily="34" charset="0"/>
                <a:buNone/>
                <a:defRPr kumimoji="0" lang="en-US" sz="1000" b="1" i="0" u="none" strike="noStrike" kern="1200" cap="none" spc="0" normalizeH="0" baseline="0" noProof="0" dirty="0" smtClean="0">
                  <a:ln>
                    <a:noFill/>
                  </a:ln>
                  <a:solidFill>
                    <a:schemeClr val="accent1"/>
                  </a:solidFill>
                  <a:effectLst/>
                  <a:uLnTx/>
                  <a:uFillTx/>
                  <a:latin typeface="+mj-lt"/>
                  <a:ea typeface="+mn-ea"/>
                  <a:cs typeface="Arial" pitchFamily="34" charset="0"/>
                </a:defRPr>
              </a:lvl2pPr>
              <a:lvl3pPr marL="0" indent="0" algn="l" defTabSz="1066114" rtl="0" eaLnBrk="1" latinLnBrk="0" hangingPunct="1">
                <a:lnSpc>
                  <a:spcPct val="100000"/>
                </a:lnSpc>
                <a:spcBef>
                  <a:spcPts val="0"/>
                </a:spcBef>
                <a:spcAft>
                  <a:spcPts val="600"/>
                </a:spcAft>
                <a:buClr>
                  <a:srgbClr val="97989A"/>
                </a:buClr>
                <a:buFont typeface="Arial" pitchFamily="34" charset="0"/>
                <a:buNone/>
                <a:defRPr kumimoji="0" lang="en-US" sz="1000" b="0" i="1" u="none" strike="noStrike" kern="1200" cap="none" spc="0" normalizeH="0" baseline="0" noProof="0" dirty="0" smtClean="0">
                  <a:ln>
                    <a:noFill/>
                  </a:ln>
                  <a:solidFill>
                    <a:schemeClr val="accent1"/>
                  </a:solidFill>
                  <a:effectLst/>
                  <a:uLnTx/>
                  <a:uFillTx/>
                  <a:latin typeface="+mj-lt"/>
                  <a:ea typeface="+mn-ea"/>
                  <a:cs typeface="Arial" pitchFamily="34" charset="0"/>
                </a:defRPr>
              </a:lvl3pPr>
              <a:lvl4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kumimoji="0" lang="en-US" sz="1000" b="1" i="0" u="none" strike="noStrike" kern="1200" cap="none" spc="0" normalizeH="0" baseline="0" noProof="0" dirty="0" smtClean="0">
                  <a:ln>
                    <a:noFill/>
                  </a:ln>
                  <a:solidFill>
                    <a:schemeClr val="tx1"/>
                  </a:solidFill>
                  <a:effectLst/>
                  <a:uLnTx/>
                  <a:uFillTx/>
                  <a:latin typeface="+mj-lt"/>
                  <a:ea typeface="+mn-ea"/>
                  <a:cs typeface="Arial" pitchFamily="34" charset="0"/>
                </a:defRPr>
              </a:lvl4pPr>
              <a:lvl5pPr marL="0" indent="0" algn="l" defTabSz="1066114" rtl="0" eaLnBrk="1" latinLnBrk="0" hangingPunct="1">
                <a:lnSpc>
                  <a:spcPct val="100000"/>
                </a:lnSpc>
                <a:spcBef>
                  <a:spcPts val="0"/>
                </a:spcBef>
                <a:spcAft>
                  <a:spcPts val="600"/>
                </a:spcAft>
                <a:buClr>
                  <a:srgbClr val="97989A"/>
                </a:buClr>
                <a:buFont typeface="Univers 45 Light" pitchFamily="2" charset="0"/>
                <a:buNone/>
                <a:defRPr kumimoji="0" lang="en-GB" sz="1000" b="0" i="1" u="none" strike="noStrike" kern="1200" cap="none" spc="0" normalizeH="0" baseline="0" noProof="0" dirty="0" smtClean="0">
                  <a:ln>
                    <a:noFill/>
                  </a:ln>
                  <a:solidFill>
                    <a:schemeClr val="tx1"/>
                  </a:solidFill>
                  <a:effectLst/>
                  <a:uLnTx/>
                  <a:uFillTx/>
                  <a:latin typeface="+mj-lt"/>
                  <a:ea typeface="+mn-ea"/>
                  <a:cs typeface="Arial" pitchFamily="34" charset="0"/>
                </a:defRPr>
              </a:lvl5pPr>
              <a:lvl6pPr marL="0" indent="0" algn="l" defTabSz="1066114" rtl="0" eaLnBrk="1" latinLnBrk="0" hangingPunct="1">
                <a:lnSpc>
                  <a:spcPct val="100000"/>
                </a:lnSpc>
                <a:spcBef>
                  <a:spcPts val="0"/>
                </a:spcBef>
                <a:spcAft>
                  <a:spcPts val="600"/>
                </a:spcAft>
                <a:buClr>
                  <a:srgbClr val="97989A"/>
                </a:buClr>
                <a:buSzPct val="85000"/>
                <a:buFont typeface="Wingdings" pitchFamily="2" charset="2"/>
                <a:buNone/>
                <a:defRPr sz="1000" kern="1200">
                  <a:solidFill>
                    <a:schemeClr val="tx1"/>
                  </a:solidFill>
                  <a:latin typeface="+mj-lt"/>
                  <a:ea typeface="+mn-ea"/>
                  <a:cs typeface="+mn-cs"/>
                </a:defRPr>
              </a:lvl6pPr>
              <a:lvl7pPr marL="18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7pPr>
              <a:lvl8pPr marL="360000" indent="-180000" algn="l" defTabSz="1066114" rtl="0" eaLnBrk="1" latinLnBrk="0" hangingPunct="1">
                <a:lnSpc>
                  <a:spcPct val="100000"/>
                </a:lnSpc>
                <a:spcBef>
                  <a:spcPts val="0"/>
                </a:spcBef>
                <a:spcAft>
                  <a:spcPts val="600"/>
                </a:spcAft>
                <a:buClrTx/>
                <a:buSzPct val="100000"/>
                <a:buFont typeface="Georgia" panose="02040502050405020303" pitchFamily="18" charset="0"/>
                <a:buChar char="-"/>
                <a:defRPr sz="1000" kern="1200" baseline="0">
                  <a:solidFill>
                    <a:schemeClr val="tx1"/>
                  </a:solidFill>
                  <a:latin typeface="+mj-lt"/>
                  <a:ea typeface="+mn-ea"/>
                  <a:cs typeface="+mn-cs"/>
                </a:defRPr>
              </a:lvl8pPr>
              <a:lvl9pPr marL="180000" indent="-180000" algn="l" defTabSz="1066114" rtl="0" eaLnBrk="1" latinLnBrk="0" hangingPunct="1">
                <a:lnSpc>
                  <a:spcPct val="100000"/>
                </a:lnSpc>
                <a:spcBef>
                  <a:spcPts val="0"/>
                </a:spcBef>
                <a:spcAft>
                  <a:spcPts val="600"/>
                </a:spcAft>
                <a:buClrTx/>
                <a:buSzPct val="100000"/>
                <a:buFont typeface="+mj-lt"/>
                <a:buAutoNum type="arabicPeriod"/>
                <a:defRPr sz="1000" kern="1200" baseline="0">
                  <a:solidFill>
                    <a:schemeClr val="tx1"/>
                  </a:solidFill>
                  <a:latin typeface="+mj-lt"/>
                  <a:ea typeface="+mn-ea"/>
                  <a:cs typeface="+mn-cs"/>
                </a:defRPr>
              </a:lvl9pPr>
            </a:lstStyle>
            <a:p>
              <a:pPr>
                <a:spcBef>
                  <a:spcPts val="0"/>
                </a:spcBef>
                <a:spcAft>
                  <a:spcPts val="257"/>
                </a:spcAft>
              </a:pPr>
              <a:r>
                <a:rPr lang="el-GR" sz="1600" i="0" dirty="0">
                  <a:solidFill>
                    <a:schemeClr val="tx1"/>
                  </a:solidFill>
                  <a:latin typeface="+mn-lt"/>
                </a:rPr>
                <a:t>2.11 Προστασία του περιβάλλοντος και αντιμετώπιση της κλιματικής αλλαγής </a:t>
              </a:r>
            </a:p>
          </p:txBody>
        </p:sp>
        <p:sp>
          <p:nvSpPr>
            <p:cNvPr id="440" name="Oval 439">
              <a:extLst>
                <a:ext uri="{FF2B5EF4-FFF2-40B4-BE49-F238E27FC236}">
                  <a16:creationId xmlns:a16="http://schemas.microsoft.com/office/drawing/2014/main" id="{4341749A-83FE-4357-8034-60601D5A112F}"/>
                </a:ext>
              </a:extLst>
            </p:cNvPr>
            <p:cNvSpPr/>
            <p:nvPr/>
          </p:nvSpPr>
          <p:spPr>
            <a:xfrm flipH="1">
              <a:off x="8557044" y="4341882"/>
              <a:ext cx="156944" cy="156944"/>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441" name="Straight Connector 440">
              <a:extLst>
                <a:ext uri="{FF2B5EF4-FFF2-40B4-BE49-F238E27FC236}">
                  <a16:creationId xmlns:a16="http://schemas.microsoft.com/office/drawing/2014/main" id="{28E0CE9C-1F5D-4200-ACF3-2500A2D41155}"/>
                </a:ext>
              </a:extLst>
            </p:cNvPr>
            <p:cNvCxnSpPr>
              <a:cxnSpLocks/>
            </p:cNvCxnSpPr>
            <p:nvPr/>
          </p:nvCxnSpPr>
          <p:spPr>
            <a:xfrm>
              <a:off x="8781145" y="4341881"/>
              <a:ext cx="0" cy="1035830"/>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45" name="Oval 444">
              <a:extLst>
                <a:ext uri="{FF2B5EF4-FFF2-40B4-BE49-F238E27FC236}">
                  <a16:creationId xmlns:a16="http://schemas.microsoft.com/office/drawing/2014/main" id="{ADE452C0-12A1-4EB5-BF7B-08115D2034D3}"/>
                </a:ext>
              </a:extLst>
            </p:cNvPr>
            <p:cNvSpPr/>
            <p:nvPr/>
          </p:nvSpPr>
          <p:spPr>
            <a:xfrm flipH="1">
              <a:off x="5983367" y="4563668"/>
              <a:ext cx="156944" cy="156944"/>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cxnSp>
          <p:nvCxnSpPr>
            <p:cNvPr id="449" name="Connector: Elbow 64">
              <a:extLst>
                <a:ext uri="{FF2B5EF4-FFF2-40B4-BE49-F238E27FC236}">
                  <a16:creationId xmlns:a16="http://schemas.microsoft.com/office/drawing/2014/main" id="{2A4BA520-8B0E-4E44-A8E6-A703A0F0CB1C}"/>
                </a:ext>
              </a:extLst>
            </p:cNvPr>
            <p:cNvCxnSpPr>
              <a:cxnSpLocks/>
              <a:stCxn id="440" idx="6"/>
              <a:endCxn id="445" idx="4"/>
            </p:cNvCxnSpPr>
            <p:nvPr/>
          </p:nvCxnSpPr>
          <p:spPr>
            <a:xfrm rot="10800000" flipV="1">
              <a:off x="6061840" y="4420354"/>
              <a:ext cx="2495205" cy="300258"/>
            </a:xfrm>
            <a:prstGeom prst="bentConnector4">
              <a:avLst>
                <a:gd name="adj1" fmla="val 48428"/>
                <a:gd name="adj2" fmla="val 176135"/>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28E0CE9C-1F5D-4200-ACF3-2500A2D41155}"/>
                </a:ext>
              </a:extLst>
            </p:cNvPr>
            <p:cNvCxnSpPr>
              <a:cxnSpLocks/>
            </p:cNvCxnSpPr>
            <p:nvPr/>
          </p:nvCxnSpPr>
          <p:spPr>
            <a:xfrm>
              <a:off x="11749088" y="4341881"/>
              <a:ext cx="0" cy="103583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202" name="Google Shape;116;p3">
            <a:extLst>
              <a:ext uri="{FF2B5EF4-FFF2-40B4-BE49-F238E27FC236}">
                <a16:creationId xmlns:a16="http://schemas.microsoft.com/office/drawing/2014/main" id="{B051766A-B26B-413C-9AB3-D881BB7564FE}"/>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Ισχυροποίηση της Διεθνούς θέσης της χώρας στην ΕΕ και </a:t>
            </a:r>
            <a:r>
              <a:rPr lang="el-GR" b="1" dirty="0">
                <a:solidFill>
                  <a:srgbClr val="FFFFFF"/>
                </a:solidFill>
                <a:latin typeface="Calibri"/>
                <a:ea typeface="Calibri"/>
                <a:cs typeface="Calibri"/>
                <a:sym typeface="Calibri"/>
              </a:rPr>
              <a:t>στον Κόσμο </a:t>
            </a:r>
            <a:r>
              <a:rPr lang="el-GR" dirty="0">
                <a:solidFill>
                  <a:srgbClr val="FFFFFF"/>
                </a:solidFill>
                <a:latin typeface="Calibri"/>
                <a:ea typeface="Calibri"/>
                <a:cs typeface="Calibri"/>
                <a:sym typeface="Calibri"/>
              </a:rPr>
              <a:t>(2/2)</a:t>
            </a:r>
          </a:p>
        </p:txBody>
      </p:sp>
      <p:grpSp>
        <p:nvGrpSpPr>
          <p:cNvPr id="203" name="Group 202">
            <a:extLst>
              <a:ext uri="{FF2B5EF4-FFF2-40B4-BE49-F238E27FC236}">
                <a16:creationId xmlns:a16="http://schemas.microsoft.com/office/drawing/2014/main" id="{758D496A-A98B-44B9-A6AE-60BB15FA5A83}"/>
              </a:ext>
            </a:extLst>
          </p:cNvPr>
          <p:cNvGrpSpPr/>
          <p:nvPr/>
        </p:nvGrpSpPr>
        <p:grpSpPr>
          <a:xfrm>
            <a:off x="9144168" y="1084049"/>
            <a:ext cx="2447734" cy="360000"/>
            <a:chOff x="9144168" y="1084049"/>
            <a:chExt cx="2447734" cy="360000"/>
          </a:xfrm>
        </p:grpSpPr>
        <p:sp>
          <p:nvSpPr>
            <p:cNvPr id="204" name="Rectangle 203">
              <a:extLst>
                <a:ext uri="{FF2B5EF4-FFF2-40B4-BE49-F238E27FC236}">
                  <a16:creationId xmlns:a16="http://schemas.microsoft.com/office/drawing/2014/main" id="{2D4E48BD-3717-426A-8149-96730FEB697E}"/>
                </a:ext>
              </a:extLst>
            </p:cNvPr>
            <p:cNvSpPr/>
            <p:nvPr/>
          </p:nvSpPr>
          <p:spPr>
            <a:xfrm>
              <a:off x="9506822"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205" name="Rectangle 204">
              <a:extLst>
                <a:ext uri="{FF2B5EF4-FFF2-40B4-BE49-F238E27FC236}">
                  <a16:creationId xmlns:a16="http://schemas.microsoft.com/office/drawing/2014/main" id="{BCC5A60C-32F3-4543-95D1-B63A78D4E0F9}"/>
                </a:ext>
              </a:extLst>
            </p:cNvPr>
            <p:cNvSpPr/>
            <p:nvPr/>
          </p:nvSpPr>
          <p:spPr>
            <a:xfrm>
              <a:off x="9935242" y="1084049"/>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206" name="Rectangle 205">
              <a:extLst>
                <a:ext uri="{FF2B5EF4-FFF2-40B4-BE49-F238E27FC236}">
                  <a16:creationId xmlns:a16="http://schemas.microsoft.com/office/drawing/2014/main" id="{5CCEFC5B-E1BC-4283-8360-EB6F8048E882}"/>
                </a:ext>
              </a:extLst>
            </p:cNvPr>
            <p:cNvSpPr/>
            <p:nvPr/>
          </p:nvSpPr>
          <p:spPr>
            <a:xfrm>
              <a:off x="10369540"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207" name="Rectangle 206">
              <a:extLst>
                <a:ext uri="{FF2B5EF4-FFF2-40B4-BE49-F238E27FC236}">
                  <a16:creationId xmlns:a16="http://schemas.microsoft.com/office/drawing/2014/main" id="{57144597-92EC-4B31-9C09-FDA803D06341}"/>
                </a:ext>
              </a:extLst>
            </p:cNvPr>
            <p:cNvSpPr/>
            <p:nvPr/>
          </p:nvSpPr>
          <p:spPr>
            <a:xfrm>
              <a:off x="10797248"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208" name="Rectangle 207">
              <a:extLst>
                <a:ext uri="{FF2B5EF4-FFF2-40B4-BE49-F238E27FC236}">
                  <a16:creationId xmlns:a16="http://schemas.microsoft.com/office/drawing/2014/main" id="{D68570E1-9CCA-475C-A98D-4180647ED2F1}"/>
                </a:ext>
              </a:extLst>
            </p:cNvPr>
            <p:cNvSpPr/>
            <p:nvPr/>
          </p:nvSpPr>
          <p:spPr>
            <a:xfrm>
              <a:off x="11231902" y="1084049"/>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209" name="Group 51">
              <a:extLst>
                <a:ext uri="{FF2B5EF4-FFF2-40B4-BE49-F238E27FC236}">
                  <a16:creationId xmlns:a16="http://schemas.microsoft.com/office/drawing/2014/main" id="{B739F80E-5BFA-4F5A-97D6-3D7933B20F2D}"/>
                </a:ext>
              </a:extLst>
            </p:cNvPr>
            <p:cNvGrpSpPr/>
            <p:nvPr/>
          </p:nvGrpSpPr>
          <p:grpSpPr>
            <a:xfrm>
              <a:off x="9144168" y="1097414"/>
              <a:ext cx="288000" cy="288000"/>
              <a:chOff x="1024834" y="3136678"/>
              <a:chExt cx="1791641" cy="1794690"/>
            </a:xfrm>
            <a:solidFill>
              <a:srgbClr val="013476"/>
            </a:solidFill>
          </p:grpSpPr>
          <p:sp>
            <p:nvSpPr>
              <p:cNvPr id="210" name="Rectangle 228">
                <a:extLst>
                  <a:ext uri="{FF2B5EF4-FFF2-40B4-BE49-F238E27FC236}">
                    <a16:creationId xmlns:a16="http://schemas.microsoft.com/office/drawing/2014/main" id="{7C38824A-8DC7-4541-AE3D-5486875926C9}"/>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211" name="Group 53">
                <a:extLst>
                  <a:ext uri="{FF2B5EF4-FFF2-40B4-BE49-F238E27FC236}">
                    <a16:creationId xmlns:a16="http://schemas.microsoft.com/office/drawing/2014/main" id="{D1235AD1-58FE-4DD6-8C88-A6F8D9091954}"/>
                  </a:ext>
                </a:extLst>
              </p:cNvPr>
              <p:cNvGrpSpPr/>
              <p:nvPr/>
            </p:nvGrpSpPr>
            <p:grpSpPr>
              <a:xfrm>
                <a:off x="1024834" y="3136678"/>
                <a:ext cx="1791641" cy="1794690"/>
                <a:chOff x="1024834" y="3136678"/>
                <a:chExt cx="1791641" cy="1794690"/>
              </a:xfrm>
              <a:grpFill/>
            </p:grpSpPr>
            <p:sp>
              <p:nvSpPr>
                <p:cNvPr id="212" name="Rectangle 218">
                  <a:extLst>
                    <a:ext uri="{FF2B5EF4-FFF2-40B4-BE49-F238E27FC236}">
                      <a16:creationId xmlns:a16="http://schemas.microsoft.com/office/drawing/2014/main" id="{7891A7D6-FED7-4953-805D-E6AA6E59E73A}"/>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213" name="Group 55">
                  <a:extLst>
                    <a:ext uri="{FF2B5EF4-FFF2-40B4-BE49-F238E27FC236}">
                      <a16:creationId xmlns:a16="http://schemas.microsoft.com/office/drawing/2014/main" id="{A708FA81-3B26-450E-ABEA-B9452DC9D587}"/>
                    </a:ext>
                  </a:extLst>
                </p:cNvPr>
                <p:cNvGrpSpPr/>
                <p:nvPr/>
              </p:nvGrpSpPr>
              <p:grpSpPr>
                <a:xfrm>
                  <a:off x="1024834" y="3136678"/>
                  <a:ext cx="1791641" cy="1695618"/>
                  <a:chOff x="5289671" y="2145561"/>
                  <a:chExt cx="255588" cy="241897"/>
                </a:xfrm>
                <a:grpFill/>
              </p:grpSpPr>
              <p:sp>
                <p:nvSpPr>
                  <p:cNvPr id="217" name="Freeform 227">
                    <a:extLst>
                      <a:ext uri="{FF2B5EF4-FFF2-40B4-BE49-F238E27FC236}">
                        <a16:creationId xmlns:a16="http://schemas.microsoft.com/office/drawing/2014/main" id="{9CF923AF-762A-4D1F-9952-4CA3E6941347}"/>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218" name="Rectangle 228">
                    <a:extLst>
                      <a:ext uri="{FF2B5EF4-FFF2-40B4-BE49-F238E27FC236}">
                        <a16:creationId xmlns:a16="http://schemas.microsoft.com/office/drawing/2014/main" id="{C59E8EE0-721E-4A89-AAB2-5582532C435C}"/>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219" name="Rectangle 229">
                    <a:extLst>
                      <a:ext uri="{FF2B5EF4-FFF2-40B4-BE49-F238E27FC236}">
                        <a16:creationId xmlns:a16="http://schemas.microsoft.com/office/drawing/2014/main" id="{DB88EB32-F614-49AA-93A0-3245D6648102}"/>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214" name="Rectangle 213">
                  <a:extLst>
                    <a:ext uri="{FF2B5EF4-FFF2-40B4-BE49-F238E27FC236}">
                      <a16:creationId xmlns:a16="http://schemas.microsoft.com/office/drawing/2014/main" id="{ACE5CDD3-E4AB-4398-8547-E141549CEAFD}"/>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215" name="Rectangle 214">
                  <a:extLst>
                    <a:ext uri="{FF2B5EF4-FFF2-40B4-BE49-F238E27FC236}">
                      <a16:creationId xmlns:a16="http://schemas.microsoft.com/office/drawing/2014/main" id="{8DCFB39E-4164-42A5-8F53-50A3532CEDDA}"/>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216" name="Rectangle 215">
                  <a:extLst>
                    <a:ext uri="{FF2B5EF4-FFF2-40B4-BE49-F238E27FC236}">
                      <a16:creationId xmlns:a16="http://schemas.microsoft.com/office/drawing/2014/main" id="{AF33DB36-BFC7-4D9E-BCF3-998806FCB341}"/>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spTree>
    <p:extLst>
      <p:ext uri="{BB962C8B-B14F-4D97-AF65-F5344CB8AC3E}">
        <p14:creationId xmlns:p14="http://schemas.microsoft.com/office/powerpoint/2010/main" val="1052803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7" name="Object 376" hidden="1">
            <a:extLst>
              <a:ext uri="{FF2B5EF4-FFF2-40B4-BE49-F238E27FC236}">
                <a16:creationId xmlns:a16="http://schemas.microsoft.com/office/drawing/2014/main" id="{B8DCF5FC-701B-4905-AAC4-037C2B23F1A1}"/>
              </a:ext>
            </a:extLst>
          </p:cNvPr>
          <p:cNvGraphicFramePr>
            <a:graphicFrameLocks noChangeAspect="1"/>
          </p:cNvGraphicFramePr>
          <p:nvPr>
            <p:custDataLst>
              <p:tags r:id="rId2"/>
            </p:custDataLst>
            <p:extLst>
              <p:ext uri="{D42A27DB-BD31-4B8C-83A1-F6EECF244321}">
                <p14:modId xmlns:p14="http://schemas.microsoft.com/office/powerpoint/2010/main" val="670687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5" name="Google Shape;116;p3">
            <a:extLst>
              <a:ext uri="{FF2B5EF4-FFF2-40B4-BE49-F238E27FC236}">
                <a16:creationId xmlns:a16="http://schemas.microsoft.com/office/drawing/2014/main" id="{D1CB1B75-16A5-4492-A709-4A7C6D474F57}"/>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Ενίσχυση της Εξωστρέφειας </a:t>
            </a:r>
          </a:p>
          <a:p>
            <a:pPr marL="0" marR="0" lvl="0" indent="0" algn="l" rtl="0">
              <a:spcBef>
                <a:spcPts val="0"/>
              </a:spcBef>
              <a:spcAft>
                <a:spcPts val="0"/>
              </a:spcAft>
              <a:buNone/>
            </a:pPr>
            <a:r>
              <a:rPr lang="el-GR" sz="1600" i="1" dirty="0">
                <a:solidFill>
                  <a:srgbClr val="FFFFFF"/>
                </a:solidFill>
                <a:latin typeface="Calibri"/>
                <a:ea typeface="Calibri"/>
                <a:cs typeface="Calibri"/>
                <a:sym typeface="Calibri"/>
              </a:rPr>
              <a:t>Εθνικό Στρατηγικό Σχέδιο Εξωστρέφειας </a:t>
            </a:r>
          </a:p>
        </p:txBody>
      </p:sp>
      <p:grpSp>
        <p:nvGrpSpPr>
          <p:cNvPr id="5" name="Ομάδα 4">
            <a:extLst>
              <a:ext uri="{FF2B5EF4-FFF2-40B4-BE49-F238E27FC236}">
                <a16:creationId xmlns:a16="http://schemas.microsoft.com/office/drawing/2014/main" id="{994F795D-53A8-4A04-9F6A-C9F69CAE58C1}"/>
              </a:ext>
            </a:extLst>
          </p:cNvPr>
          <p:cNvGrpSpPr/>
          <p:nvPr/>
        </p:nvGrpSpPr>
        <p:grpSpPr>
          <a:xfrm>
            <a:off x="467005" y="3410014"/>
            <a:ext cx="4947760" cy="3305236"/>
            <a:chOff x="467005" y="3410014"/>
            <a:chExt cx="4947760" cy="3305236"/>
          </a:xfrm>
        </p:grpSpPr>
        <p:cxnSp>
          <p:nvCxnSpPr>
            <p:cNvPr id="212" name="Straight Connector 404">
              <a:extLst>
                <a:ext uri="{FF2B5EF4-FFF2-40B4-BE49-F238E27FC236}">
                  <a16:creationId xmlns:a16="http://schemas.microsoft.com/office/drawing/2014/main" id="{33EFD577-0CDD-44C6-BE99-24903E3CA594}"/>
                </a:ext>
              </a:extLst>
            </p:cNvPr>
            <p:cNvCxnSpPr>
              <a:cxnSpLocks/>
              <a:endCxn id="148" idx="27"/>
            </p:cNvCxnSpPr>
            <p:nvPr/>
          </p:nvCxnSpPr>
          <p:spPr>
            <a:xfrm flipV="1">
              <a:off x="4516144" y="3410014"/>
              <a:ext cx="898621" cy="1235014"/>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81" name="Straight Connector 488">
              <a:extLst>
                <a:ext uri="{FF2B5EF4-FFF2-40B4-BE49-F238E27FC236}">
                  <a16:creationId xmlns:a16="http://schemas.microsoft.com/office/drawing/2014/main" id="{A2D90C77-4D64-422E-BBD2-7CBFE9EDF4C8}"/>
                </a:ext>
              </a:extLst>
            </p:cNvPr>
            <p:cNvCxnSpPr>
              <a:cxnSpLocks/>
              <a:stCxn id="185" idx="51"/>
              <a:endCxn id="148" idx="27"/>
            </p:cNvCxnSpPr>
            <p:nvPr/>
          </p:nvCxnSpPr>
          <p:spPr>
            <a:xfrm flipV="1">
              <a:off x="4673992" y="3410014"/>
              <a:ext cx="737575" cy="2406723"/>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sp>
          <p:nvSpPr>
            <p:cNvPr id="40" name="Straight Connector 39"/>
            <p:cNvSpPr/>
            <p:nvPr/>
          </p:nvSpPr>
          <p:spPr>
            <a:xfrm>
              <a:off x="2707855" y="4692733"/>
              <a:ext cx="600842" cy="753237"/>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sp>
          <p:nvSpPr>
            <p:cNvPr id="41" name="Straight Connector 40"/>
            <p:cNvSpPr/>
            <p:nvPr/>
          </p:nvSpPr>
          <p:spPr>
            <a:xfrm rot="5400000">
              <a:off x="3472682" y="5052405"/>
              <a:ext cx="256026" cy="560692"/>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grpSp>
          <p:nvGrpSpPr>
            <p:cNvPr id="8" name="Group 50"/>
            <p:cNvGrpSpPr/>
            <p:nvPr/>
          </p:nvGrpSpPr>
          <p:grpSpPr>
            <a:xfrm>
              <a:off x="467005" y="5185717"/>
              <a:ext cx="2130051" cy="1529533"/>
              <a:chOff x="101828" y="4233947"/>
              <a:chExt cx="2130051" cy="1529533"/>
            </a:xfrm>
          </p:grpSpPr>
          <p:sp>
            <p:nvSpPr>
              <p:cNvPr id="52" name="Rectangle 51"/>
              <p:cNvSpPr/>
              <p:nvPr/>
            </p:nvSpPr>
            <p:spPr>
              <a:xfrm>
                <a:off x="101828" y="4233947"/>
                <a:ext cx="2018109" cy="9653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3" name="Rectangle 52"/>
              <p:cNvSpPr/>
              <p:nvPr/>
            </p:nvSpPr>
            <p:spPr>
              <a:xfrm>
                <a:off x="213770" y="4798152"/>
                <a:ext cx="2018109" cy="9653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lvl="0" algn="r" defTabSz="622300">
                  <a:lnSpc>
                    <a:spcPct val="90000"/>
                  </a:lnSpc>
                  <a:spcBef>
                    <a:spcPct val="0"/>
                  </a:spcBef>
                  <a:spcAft>
                    <a:spcPct val="35000"/>
                  </a:spcAft>
                </a:pPr>
                <a:r>
                  <a:rPr lang="el-GR" sz="1600" b="0" kern="1200" dirty="0">
                    <a:solidFill>
                      <a:schemeClr val="tx1"/>
                    </a:solidFill>
                  </a:rPr>
                  <a:t>3.10 Αναβάθμιση </a:t>
                </a:r>
                <a:r>
                  <a:rPr lang="el-GR" sz="1600" b="1" kern="1200" dirty="0">
                    <a:solidFill>
                      <a:schemeClr val="tx1"/>
                    </a:solidFill>
                  </a:rPr>
                  <a:t>δομών</a:t>
                </a:r>
                <a:r>
                  <a:rPr lang="en-US" sz="1600" b="0" kern="1200" dirty="0">
                    <a:solidFill>
                      <a:schemeClr val="tx1"/>
                    </a:solidFill>
                  </a:rPr>
                  <a:t> </a:t>
                </a:r>
                <a:r>
                  <a:rPr lang="el-GR" sz="1600" b="0" kern="1200" dirty="0">
                    <a:solidFill>
                      <a:schemeClr val="tx1"/>
                    </a:solidFill>
                  </a:rPr>
                  <a:t>οικονομικής</a:t>
                </a:r>
                <a:r>
                  <a:rPr lang="en-US" sz="1600" b="0" kern="1200" dirty="0">
                    <a:solidFill>
                      <a:schemeClr val="tx1"/>
                    </a:solidFill>
                  </a:rPr>
                  <a:t> </a:t>
                </a:r>
                <a:r>
                  <a:rPr lang="el-GR" sz="1600" b="0" kern="1200" dirty="0">
                    <a:solidFill>
                      <a:schemeClr val="tx1"/>
                    </a:solidFill>
                  </a:rPr>
                  <a:t>διπλωματίας</a:t>
                </a:r>
              </a:p>
            </p:txBody>
          </p:sp>
        </p:grpSp>
        <p:cxnSp>
          <p:nvCxnSpPr>
            <p:cNvPr id="205" name="Straight Connector 397">
              <a:extLst>
                <a:ext uri="{FF2B5EF4-FFF2-40B4-BE49-F238E27FC236}">
                  <a16:creationId xmlns:a16="http://schemas.microsoft.com/office/drawing/2014/main" id="{EC29EA38-9044-41BD-B220-41BE12A31F7A}"/>
                </a:ext>
              </a:extLst>
            </p:cNvPr>
            <p:cNvCxnSpPr/>
            <p:nvPr/>
          </p:nvCxnSpPr>
          <p:spPr>
            <a:xfrm flipV="1">
              <a:off x="4117691" y="5179404"/>
              <a:ext cx="196494" cy="519363"/>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31" name="Straight Connector 423">
              <a:extLst>
                <a:ext uri="{FF2B5EF4-FFF2-40B4-BE49-F238E27FC236}">
                  <a16:creationId xmlns:a16="http://schemas.microsoft.com/office/drawing/2014/main" id="{183947CB-259F-41F8-B3D0-0304AFAA137C}"/>
                </a:ext>
              </a:extLst>
            </p:cNvPr>
            <p:cNvCxnSpPr>
              <a:cxnSpLocks/>
            </p:cNvCxnSpPr>
            <p:nvPr/>
          </p:nvCxnSpPr>
          <p:spPr>
            <a:xfrm flipV="1">
              <a:off x="3605377" y="5012156"/>
              <a:ext cx="267719" cy="51409"/>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sp>
          <p:nvSpPr>
            <p:cNvPr id="165" name="Straight Connector 40">
              <a:extLst>
                <a:ext uri="{FF2B5EF4-FFF2-40B4-BE49-F238E27FC236}">
                  <a16:creationId xmlns:a16="http://schemas.microsoft.com/office/drawing/2014/main" id="{E40B6046-C407-488B-9B57-5EA7F1DECAEC}"/>
                </a:ext>
              </a:extLst>
            </p:cNvPr>
            <p:cNvSpPr/>
            <p:nvPr/>
          </p:nvSpPr>
          <p:spPr>
            <a:xfrm rot="5400000">
              <a:off x="3455990" y="5250879"/>
              <a:ext cx="192577" cy="1714043"/>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sp>
          <p:nvSpPr>
            <p:cNvPr id="181" name="Freeform 24">
              <a:extLst>
                <a:ext uri="{FF2B5EF4-FFF2-40B4-BE49-F238E27FC236}">
                  <a16:creationId xmlns:a16="http://schemas.microsoft.com/office/drawing/2014/main" id="{57B0E66E-85CD-4F3F-8521-94761CEA353D}"/>
                </a:ext>
              </a:extLst>
            </p:cNvPr>
            <p:cNvSpPr>
              <a:spLocks noChangeAspect="1" noEditPoints="1"/>
            </p:cNvSpPr>
            <p:nvPr/>
          </p:nvSpPr>
          <p:spPr bwMode="auto">
            <a:xfrm>
              <a:off x="3892693" y="4641790"/>
              <a:ext cx="576000" cy="576000"/>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rgbClr val="013476"/>
            </a:solidFill>
            <a:ln>
              <a:noFill/>
            </a:ln>
          </p:spPr>
          <p:txBody>
            <a:bodyPr vert="horz" wrap="square" lIns="68580" tIns="34290" rIns="68580" bIns="34290" numCol="1" anchor="t" anchorCtr="0" compatLnSpc="1">
              <a:prstTxWarp prst="textNoShape">
                <a:avLst/>
              </a:prstTxWarp>
            </a:bodyPr>
            <a:lstStyle/>
            <a:p>
              <a:endParaRPr lang="en-US" sz="700">
                <a:solidFill>
                  <a:schemeClr val="accent1"/>
                </a:solidFill>
              </a:endParaRPr>
            </a:p>
          </p:txBody>
        </p:sp>
        <p:sp>
          <p:nvSpPr>
            <p:cNvPr id="185" name="Freeform 104">
              <a:extLst>
                <a:ext uri="{FF2B5EF4-FFF2-40B4-BE49-F238E27FC236}">
                  <a16:creationId xmlns:a16="http://schemas.microsoft.com/office/drawing/2014/main" id="{FF0F377D-E80A-4CEF-9CD0-4167ED83CDC2}"/>
                </a:ext>
              </a:extLst>
            </p:cNvPr>
            <p:cNvSpPr>
              <a:spLocks noChangeAspect="1" noEditPoints="1"/>
            </p:cNvSpPr>
            <p:nvPr/>
          </p:nvSpPr>
          <p:spPr bwMode="auto">
            <a:xfrm>
              <a:off x="4404757" y="5728612"/>
              <a:ext cx="538470" cy="540000"/>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dirty="0">
                <a:solidFill>
                  <a:schemeClr val="accent1"/>
                </a:solidFill>
              </a:endParaRPr>
            </a:p>
          </p:txBody>
        </p:sp>
        <p:grpSp>
          <p:nvGrpSpPr>
            <p:cNvPr id="30" name="Group 29">
              <a:extLst>
                <a:ext uri="{FF2B5EF4-FFF2-40B4-BE49-F238E27FC236}">
                  <a16:creationId xmlns:a16="http://schemas.microsoft.com/office/drawing/2014/main" id="{05853BBA-D230-4251-B63C-F1D2EB6006E7}"/>
                </a:ext>
              </a:extLst>
            </p:cNvPr>
            <p:cNvGrpSpPr/>
            <p:nvPr/>
          </p:nvGrpSpPr>
          <p:grpSpPr>
            <a:xfrm>
              <a:off x="580415" y="4268794"/>
              <a:ext cx="2107197" cy="2319881"/>
              <a:chOff x="1034414" y="4104672"/>
              <a:chExt cx="2107197" cy="2319881"/>
            </a:xfrm>
          </p:grpSpPr>
          <p:grpSp>
            <p:nvGrpSpPr>
              <p:cNvPr id="7" name="Group 47"/>
              <p:cNvGrpSpPr/>
              <p:nvPr/>
            </p:nvGrpSpPr>
            <p:grpSpPr>
              <a:xfrm>
                <a:off x="1034414" y="4104672"/>
                <a:ext cx="2027837" cy="1315525"/>
                <a:chOff x="20921" y="2222187"/>
                <a:chExt cx="2027837" cy="1315525"/>
              </a:xfrm>
            </p:grpSpPr>
            <p:sp>
              <p:nvSpPr>
                <p:cNvPr id="49" name="Rectangle 48"/>
                <p:cNvSpPr/>
                <p:nvPr/>
              </p:nvSpPr>
              <p:spPr>
                <a:xfrm>
                  <a:off x="30649" y="2572384"/>
                  <a:ext cx="2018109" cy="9653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0" name="Rectangle 49"/>
                <p:cNvSpPr/>
                <p:nvPr/>
              </p:nvSpPr>
              <p:spPr>
                <a:xfrm>
                  <a:off x="20921" y="2222187"/>
                  <a:ext cx="2018109" cy="9653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lvl="0" algn="r" defTabSz="622300">
                    <a:lnSpc>
                      <a:spcPct val="90000"/>
                    </a:lnSpc>
                    <a:spcBef>
                      <a:spcPct val="0"/>
                    </a:spcBef>
                    <a:spcAft>
                      <a:spcPct val="35000"/>
                    </a:spcAft>
                  </a:pPr>
                  <a:r>
                    <a:rPr lang="el-GR" sz="1600" b="0" kern="1200" dirty="0">
                      <a:solidFill>
                        <a:schemeClr val="tx1"/>
                      </a:solidFill>
                    </a:rPr>
                    <a:t>3.9 </a:t>
                  </a:r>
                  <a:r>
                    <a:rPr lang="el-GR" sz="1600" b="0" kern="1200" dirty="0" err="1">
                      <a:solidFill>
                        <a:schemeClr val="tx1"/>
                      </a:solidFill>
                    </a:rPr>
                    <a:t>Στοχευμένη</a:t>
                  </a:r>
                  <a:r>
                    <a:rPr lang="el-GR" sz="1600" b="0" kern="1200" dirty="0">
                      <a:solidFill>
                        <a:schemeClr val="tx1"/>
                      </a:solidFill>
                    </a:rPr>
                    <a:t> χρήση και αξιοποίηση της </a:t>
                  </a:r>
                  <a:r>
                    <a:rPr lang="el-GR" sz="1600" b="1" kern="1200" dirty="0">
                      <a:solidFill>
                        <a:schemeClr val="tx1"/>
                      </a:solidFill>
                    </a:rPr>
                    <a:t>αναπτυξιακής συνεργασίας</a:t>
                  </a:r>
                  <a:endParaRPr lang="el-GR" sz="1600" kern="1200" dirty="0">
                    <a:solidFill>
                      <a:schemeClr val="tx1"/>
                    </a:solidFill>
                  </a:endParaRPr>
                </a:p>
              </p:txBody>
            </p:sp>
          </p:grpSp>
          <p:cxnSp>
            <p:nvCxnSpPr>
              <p:cNvPr id="194" name="Straight Connector 193">
                <a:extLst>
                  <a:ext uri="{FF2B5EF4-FFF2-40B4-BE49-F238E27FC236}">
                    <a16:creationId xmlns:a16="http://schemas.microsoft.com/office/drawing/2014/main" id="{BBE6A250-9E5F-4014-AF7C-C712689CB729}"/>
                  </a:ext>
                </a:extLst>
              </p:cNvPr>
              <p:cNvCxnSpPr>
                <a:cxnSpLocks/>
              </p:cNvCxnSpPr>
              <p:nvPr/>
            </p:nvCxnSpPr>
            <p:spPr>
              <a:xfrm>
                <a:off x="3130262" y="4104672"/>
                <a:ext cx="11349" cy="9459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F5E9ADEB-3E9E-4C23-B09B-7C4976664F9E}"/>
                  </a:ext>
                </a:extLst>
              </p:cNvPr>
              <p:cNvCxnSpPr>
                <a:cxnSpLocks/>
              </p:cNvCxnSpPr>
              <p:nvPr/>
            </p:nvCxnSpPr>
            <p:spPr>
              <a:xfrm>
                <a:off x="3125978" y="5740553"/>
                <a:ext cx="4284" cy="6840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399" name="Oval 398">
              <a:extLst>
                <a:ext uri="{FF2B5EF4-FFF2-40B4-BE49-F238E27FC236}">
                  <a16:creationId xmlns:a16="http://schemas.microsoft.com/office/drawing/2014/main" id="{17EFF79C-6974-4451-B691-80B727AE116F}"/>
                </a:ext>
              </a:extLst>
            </p:cNvPr>
            <p:cNvSpPr/>
            <p:nvPr/>
          </p:nvSpPr>
          <p:spPr>
            <a:xfrm flipH="1">
              <a:off x="2603632" y="4631280"/>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400" name="Oval 399">
              <a:extLst>
                <a:ext uri="{FF2B5EF4-FFF2-40B4-BE49-F238E27FC236}">
                  <a16:creationId xmlns:a16="http://schemas.microsoft.com/office/drawing/2014/main" id="{29212907-0982-447F-BCD7-843413C67F46}"/>
                </a:ext>
              </a:extLst>
            </p:cNvPr>
            <p:cNvSpPr/>
            <p:nvPr/>
          </p:nvSpPr>
          <p:spPr>
            <a:xfrm flipH="1">
              <a:off x="2605634" y="6135167"/>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438" name="Freeform 13">
              <a:extLst>
                <a:ext uri="{FF2B5EF4-FFF2-40B4-BE49-F238E27FC236}">
                  <a16:creationId xmlns:a16="http://schemas.microsoft.com/office/drawing/2014/main" id="{42AF217E-4DDE-4A18-9568-175DC282D61E}"/>
                </a:ext>
              </a:extLst>
            </p:cNvPr>
            <p:cNvSpPr>
              <a:spLocks noEditPoints="1"/>
            </p:cNvSpPr>
            <p:nvPr/>
          </p:nvSpPr>
          <p:spPr bwMode="auto">
            <a:xfrm>
              <a:off x="3222395" y="4734689"/>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sp>
          <p:nvSpPr>
            <p:cNvPr id="440" name="Freeform 13">
              <a:extLst>
                <a:ext uri="{FF2B5EF4-FFF2-40B4-BE49-F238E27FC236}">
                  <a16:creationId xmlns:a16="http://schemas.microsoft.com/office/drawing/2014/main" id="{5D770E0F-7694-49CC-A30A-2BE0EB323C70}"/>
                </a:ext>
              </a:extLst>
            </p:cNvPr>
            <p:cNvSpPr>
              <a:spLocks noEditPoints="1"/>
            </p:cNvSpPr>
            <p:nvPr/>
          </p:nvSpPr>
          <p:spPr bwMode="auto">
            <a:xfrm>
              <a:off x="3779680" y="5677166"/>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grpSp>
      <p:grpSp>
        <p:nvGrpSpPr>
          <p:cNvPr id="407" name="Group 406">
            <a:extLst>
              <a:ext uri="{FF2B5EF4-FFF2-40B4-BE49-F238E27FC236}">
                <a16:creationId xmlns:a16="http://schemas.microsoft.com/office/drawing/2014/main" id="{21E11584-6935-4FA1-B961-A27ED95CC578}"/>
              </a:ext>
            </a:extLst>
          </p:cNvPr>
          <p:cNvGrpSpPr/>
          <p:nvPr/>
        </p:nvGrpSpPr>
        <p:grpSpPr>
          <a:xfrm>
            <a:off x="9144168" y="1082123"/>
            <a:ext cx="2447734" cy="360000"/>
            <a:chOff x="9144168" y="1082123"/>
            <a:chExt cx="2447734" cy="360000"/>
          </a:xfrm>
        </p:grpSpPr>
        <p:sp>
          <p:nvSpPr>
            <p:cNvPr id="408" name="Rectangle 407">
              <a:extLst>
                <a:ext uri="{FF2B5EF4-FFF2-40B4-BE49-F238E27FC236}">
                  <a16:creationId xmlns:a16="http://schemas.microsoft.com/office/drawing/2014/main" id="{3193465E-8AA1-4EE3-9F6A-2FA2CF8C99FB}"/>
                </a:ext>
              </a:extLst>
            </p:cNvPr>
            <p:cNvSpPr/>
            <p:nvPr/>
          </p:nvSpPr>
          <p:spPr>
            <a:xfrm>
              <a:off x="950682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409" name="Rectangle 408">
              <a:extLst>
                <a:ext uri="{FF2B5EF4-FFF2-40B4-BE49-F238E27FC236}">
                  <a16:creationId xmlns:a16="http://schemas.microsoft.com/office/drawing/2014/main" id="{A6C64FD5-9D99-47D6-A4DD-6AD74B706223}"/>
                </a:ext>
              </a:extLst>
            </p:cNvPr>
            <p:cNvSpPr/>
            <p:nvPr/>
          </p:nvSpPr>
          <p:spPr>
            <a:xfrm>
              <a:off x="9935242"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410" name="Rectangle 409">
              <a:extLst>
                <a:ext uri="{FF2B5EF4-FFF2-40B4-BE49-F238E27FC236}">
                  <a16:creationId xmlns:a16="http://schemas.microsoft.com/office/drawing/2014/main" id="{1F2C7913-79B3-483C-96EA-5AE7C394C7DB}"/>
                </a:ext>
              </a:extLst>
            </p:cNvPr>
            <p:cNvSpPr/>
            <p:nvPr/>
          </p:nvSpPr>
          <p:spPr>
            <a:xfrm>
              <a:off x="10369540" y="1082123"/>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411" name="Rectangle 410">
              <a:extLst>
                <a:ext uri="{FF2B5EF4-FFF2-40B4-BE49-F238E27FC236}">
                  <a16:creationId xmlns:a16="http://schemas.microsoft.com/office/drawing/2014/main" id="{A31F0651-8E7C-4918-8A15-09D3C594CC33}"/>
                </a:ext>
              </a:extLst>
            </p:cNvPr>
            <p:cNvSpPr/>
            <p:nvPr/>
          </p:nvSpPr>
          <p:spPr>
            <a:xfrm>
              <a:off x="10797248"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412" name="Rectangle 411">
              <a:extLst>
                <a:ext uri="{FF2B5EF4-FFF2-40B4-BE49-F238E27FC236}">
                  <a16:creationId xmlns:a16="http://schemas.microsoft.com/office/drawing/2014/main" id="{6C41E469-E424-4F09-B092-E6C223674546}"/>
                </a:ext>
              </a:extLst>
            </p:cNvPr>
            <p:cNvSpPr/>
            <p:nvPr/>
          </p:nvSpPr>
          <p:spPr>
            <a:xfrm>
              <a:off x="1123190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413" name="Group 51">
              <a:extLst>
                <a:ext uri="{FF2B5EF4-FFF2-40B4-BE49-F238E27FC236}">
                  <a16:creationId xmlns:a16="http://schemas.microsoft.com/office/drawing/2014/main" id="{0AADEC1F-2EDC-45CF-8FCA-76D66AC77164}"/>
                </a:ext>
              </a:extLst>
            </p:cNvPr>
            <p:cNvGrpSpPr/>
            <p:nvPr/>
          </p:nvGrpSpPr>
          <p:grpSpPr>
            <a:xfrm>
              <a:off x="9144168" y="1097414"/>
              <a:ext cx="288000" cy="288000"/>
              <a:chOff x="1024834" y="3136678"/>
              <a:chExt cx="1791641" cy="1794690"/>
            </a:xfrm>
            <a:solidFill>
              <a:srgbClr val="013476"/>
            </a:solidFill>
          </p:grpSpPr>
          <p:sp>
            <p:nvSpPr>
              <p:cNvPr id="414" name="Rectangle 228">
                <a:extLst>
                  <a:ext uri="{FF2B5EF4-FFF2-40B4-BE49-F238E27FC236}">
                    <a16:creationId xmlns:a16="http://schemas.microsoft.com/office/drawing/2014/main" id="{4EDE3004-5FD6-4568-A362-B15A1779F8E2}"/>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415" name="Group 53">
                <a:extLst>
                  <a:ext uri="{FF2B5EF4-FFF2-40B4-BE49-F238E27FC236}">
                    <a16:creationId xmlns:a16="http://schemas.microsoft.com/office/drawing/2014/main" id="{BBF99743-D97D-47C5-B243-C4AC1AA9754C}"/>
                  </a:ext>
                </a:extLst>
              </p:cNvPr>
              <p:cNvGrpSpPr/>
              <p:nvPr/>
            </p:nvGrpSpPr>
            <p:grpSpPr>
              <a:xfrm>
                <a:off x="1024834" y="3136678"/>
                <a:ext cx="1791641" cy="1794690"/>
                <a:chOff x="1024834" y="3136678"/>
                <a:chExt cx="1791641" cy="1794690"/>
              </a:xfrm>
              <a:grpFill/>
            </p:grpSpPr>
            <p:sp>
              <p:nvSpPr>
                <p:cNvPr id="416" name="Rectangle 218">
                  <a:extLst>
                    <a:ext uri="{FF2B5EF4-FFF2-40B4-BE49-F238E27FC236}">
                      <a16:creationId xmlns:a16="http://schemas.microsoft.com/office/drawing/2014/main" id="{CAE5E428-8608-458F-9773-FC1249279E55}"/>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417" name="Group 55">
                  <a:extLst>
                    <a:ext uri="{FF2B5EF4-FFF2-40B4-BE49-F238E27FC236}">
                      <a16:creationId xmlns:a16="http://schemas.microsoft.com/office/drawing/2014/main" id="{49C36CD4-0D69-4251-9C16-9FA4F174E257}"/>
                    </a:ext>
                  </a:extLst>
                </p:cNvPr>
                <p:cNvGrpSpPr/>
                <p:nvPr/>
              </p:nvGrpSpPr>
              <p:grpSpPr>
                <a:xfrm>
                  <a:off x="1024834" y="3136678"/>
                  <a:ext cx="1791641" cy="1695618"/>
                  <a:chOff x="5289671" y="2145561"/>
                  <a:chExt cx="255588" cy="241897"/>
                </a:xfrm>
                <a:grpFill/>
              </p:grpSpPr>
              <p:sp>
                <p:nvSpPr>
                  <p:cNvPr id="421" name="Freeform 227">
                    <a:extLst>
                      <a:ext uri="{FF2B5EF4-FFF2-40B4-BE49-F238E27FC236}">
                        <a16:creationId xmlns:a16="http://schemas.microsoft.com/office/drawing/2014/main" id="{E75DCEFA-2A05-4A10-B5EB-82BCA9030A2F}"/>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422" name="Rectangle 228">
                    <a:extLst>
                      <a:ext uri="{FF2B5EF4-FFF2-40B4-BE49-F238E27FC236}">
                        <a16:creationId xmlns:a16="http://schemas.microsoft.com/office/drawing/2014/main" id="{42BC65B0-A027-42FC-A570-6639085761A1}"/>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423" name="Rectangle 229">
                    <a:extLst>
                      <a:ext uri="{FF2B5EF4-FFF2-40B4-BE49-F238E27FC236}">
                        <a16:creationId xmlns:a16="http://schemas.microsoft.com/office/drawing/2014/main" id="{0A526F72-6751-4AAA-9EA9-EA4C7A645D4D}"/>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418" name="Rectangle 417">
                  <a:extLst>
                    <a:ext uri="{FF2B5EF4-FFF2-40B4-BE49-F238E27FC236}">
                      <a16:creationId xmlns:a16="http://schemas.microsoft.com/office/drawing/2014/main" id="{7A46D739-A09D-4C5E-9AA9-CFBF77CAC131}"/>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419" name="Rectangle 418">
                  <a:extLst>
                    <a:ext uri="{FF2B5EF4-FFF2-40B4-BE49-F238E27FC236}">
                      <a16:creationId xmlns:a16="http://schemas.microsoft.com/office/drawing/2014/main" id="{73B6F7AC-90D9-427D-AB80-6E717E40986A}"/>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420" name="Rectangle 419">
                  <a:extLst>
                    <a:ext uri="{FF2B5EF4-FFF2-40B4-BE49-F238E27FC236}">
                      <a16:creationId xmlns:a16="http://schemas.microsoft.com/office/drawing/2014/main" id="{A451454F-D3B6-4030-BD80-B94D0746885C}"/>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grpSp>
        <p:nvGrpSpPr>
          <p:cNvPr id="11" name="Ομάδα 10">
            <a:extLst>
              <a:ext uri="{FF2B5EF4-FFF2-40B4-BE49-F238E27FC236}">
                <a16:creationId xmlns:a16="http://schemas.microsoft.com/office/drawing/2014/main" id="{AE988EF3-53E0-4D35-8FF7-311A18DF0B2B}"/>
              </a:ext>
            </a:extLst>
          </p:cNvPr>
          <p:cNvGrpSpPr/>
          <p:nvPr/>
        </p:nvGrpSpPr>
        <p:grpSpPr>
          <a:xfrm>
            <a:off x="5083251" y="2894199"/>
            <a:ext cx="6891156" cy="3812931"/>
            <a:chOff x="5083251" y="2894199"/>
            <a:chExt cx="6891156" cy="3812931"/>
          </a:xfrm>
        </p:grpSpPr>
        <p:cxnSp>
          <p:nvCxnSpPr>
            <p:cNvPr id="221" name="Straight Connector 413">
              <a:extLst>
                <a:ext uri="{FF2B5EF4-FFF2-40B4-BE49-F238E27FC236}">
                  <a16:creationId xmlns:a16="http://schemas.microsoft.com/office/drawing/2014/main" id="{823AAA22-2F52-4F88-B082-3AF8EC648176}"/>
                </a:ext>
              </a:extLst>
            </p:cNvPr>
            <p:cNvCxnSpPr>
              <a:cxnSpLocks/>
              <a:endCxn id="148" idx="27"/>
            </p:cNvCxnSpPr>
            <p:nvPr/>
          </p:nvCxnSpPr>
          <p:spPr>
            <a:xfrm flipH="1" flipV="1">
              <a:off x="5414765" y="3296973"/>
              <a:ext cx="1501062" cy="2289132"/>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sp>
          <p:nvSpPr>
            <p:cNvPr id="183" name="Freeform 13">
              <a:extLst>
                <a:ext uri="{FF2B5EF4-FFF2-40B4-BE49-F238E27FC236}">
                  <a16:creationId xmlns:a16="http://schemas.microsoft.com/office/drawing/2014/main" id="{1AF72096-090B-4128-8FB7-BA5899D10EDF}"/>
                </a:ext>
              </a:extLst>
            </p:cNvPr>
            <p:cNvSpPr>
              <a:spLocks noChangeAspect="1" noEditPoints="1"/>
            </p:cNvSpPr>
            <p:nvPr/>
          </p:nvSpPr>
          <p:spPr bwMode="auto">
            <a:xfrm>
              <a:off x="5083251" y="4366490"/>
              <a:ext cx="576000" cy="576000"/>
            </a:xfrm>
            <a:custGeom>
              <a:avLst/>
              <a:gdLst>
                <a:gd name="T0" fmla="*/ 0 w 576"/>
                <a:gd name="T1" fmla="*/ 576 h 576"/>
                <a:gd name="T2" fmla="*/ 262 w 576"/>
                <a:gd name="T3" fmla="*/ 576 h 576"/>
                <a:gd name="T4" fmla="*/ 288 w 576"/>
                <a:gd name="T5" fmla="*/ 364 h 576"/>
                <a:gd name="T6" fmla="*/ 314 w 576"/>
                <a:gd name="T7" fmla="*/ 576 h 576"/>
                <a:gd name="T8" fmla="*/ 576 w 576"/>
                <a:gd name="T9" fmla="*/ 576 h 576"/>
                <a:gd name="T10" fmla="*/ 0 w 576"/>
                <a:gd name="T11" fmla="*/ 0 h 576"/>
                <a:gd name="T12" fmla="*/ 300 w 576"/>
                <a:gd name="T13" fmla="*/ 338 h 576"/>
                <a:gd name="T14" fmla="*/ 294 w 576"/>
                <a:gd name="T15" fmla="*/ 339 h 576"/>
                <a:gd name="T16" fmla="*/ 288 w 576"/>
                <a:gd name="T17" fmla="*/ 339 h 576"/>
                <a:gd name="T18" fmla="*/ 281 w 576"/>
                <a:gd name="T19" fmla="*/ 339 h 576"/>
                <a:gd name="T20" fmla="*/ 276 w 576"/>
                <a:gd name="T21" fmla="*/ 338 h 576"/>
                <a:gd name="T22" fmla="*/ 245 w 576"/>
                <a:gd name="T23" fmla="*/ 297 h 576"/>
                <a:gd name="T24" fmla="*/ 245 w 576"/>
                <a:gd name="T25" fmla="*/ 292 h 576"/>
                <a:gd name="T26" fmla="*/ 246 w 576"/>
                <a:gd name="T27" fmla="*/ 288 h 576"/>
                <a:gd name="T28" fmla="*/ 247 w 576"/>
                <a:gd name="T29" fmla="*/ 283 h 576"/>
                <a:gd name="T30" fmla="*/ 249 w 576"/>
                <a:gd name="T31" fmla="*/ 279 h 576"/>
                <a:gd name="T32" fmla="*/ 251 w 576"/>
                <a:gd name="T33" fmla="*/ 275 h 576"/>
                <a:gd name="T34" fmla="*/ 253 w 576"/>
                <a:gd name="T35" fmla="*/ 272 h 576"/>
                <a:gd name="T36" fmla="*/ 259 w 576"/>
                <a:gd name="T37" fmla="*/ 265 h 576"/>
                <a:gd name="T38" fmla="*/ 269 w 576"/>
                <a:gd name="T39" fmla="*/ 258 h 576"/>
                <a:gd name="T40" fmla="*/ 307 w 576"/>
                <a:gd name="T41" fmla="*/ 258 h 576"/>
                <a:gd name="T42" fmla="*/ 317 w 576"/>
                <a:gd name="T43" fmla="*/ 265 h 576"/>
                <a:gd name="T44" fmla="*/ 323 w 576"/>
                <a:gd name="T45" fmla="*/ 272 h 576"/>
                <a:gd name="T46" fmla="*/ 325 w 576"/>
                <a:gd name="T47" fmla="*/ 275 h 576"/>
                <a:gd name="T48" fmla="*/ 327 w 576"/>
                <a:gd name="T49" fmla="*/ 279 h 576"/>
                <a:gd name="T50" fmla="*/ 328 w 576"/>
                <a:gd name="T51" fmla="*/ 283 h 576"/>
                <a:gd name="T52" fmla="*/ 330 w 576"/>
                <a:gd name="T53" fmla="*/ 288 h 576"/>
                <a:gd name="T54" fmla="*/ 330 w 576"/>
                <a:gd name="T55" fmla="*/ 292 h 576"/>
                <a:gd name="T56" fmla="*/ 331 w 576"/>
                <a:gd name="T57" fmla="*/ 297 h 576"/>
                <a:gd name="T58" fmla="*/ 271 w 576"/>
                <a:gd name="T59" fmla="*/ 232 h 576"/>
                <a:gd name="T60" fmla="*/ 282 w 576"/>
                <a:gd name="T61" fmla="*/ 74 h 576"/>
                <a:gd name="T62" fmla="*/ 295 w 576"/>
                <a:gd name="T63" fmla="*/ 74 h 576"/>
                <a:gd name="T64" fmla="*/ 288 w 576"/>
                <a:gd name="T65" fmla="*/ 229 h 576"/>
                <a:gd name="T66" fmla="*/ 551 w 576"/>
                <a:gd name="T67" fmla="*/ 551 h 576"/>
                <a:gd name="T68" fmla="*/ 327 w 576"/>
                <a:gd name="T69" fmla="*/ 367 h 576"/>
                <a:gd name="T70" fmla="*/ 487 w 576"/>
                <a:gd name="T71" fmla="*/ 446 h 576"/>
                <a:gd name="T72" fmla="*/ 499 w 576"/>
                <a:gd name="T73" fmla="*/ 426 h 576"/>
                <a:gd name="T74" fmla="*/ 505 w 576"/>
                <a:gd name="T75" fmla="*/ 414 h 576"/>
                <a:gd name="T76" fmla="*/ 498 w 576"/>
                <a:gd name="T77" fmla="*/ 382 h 576"/>
                <a:gd name="T78" fmla="*/ 330 w 576"/>
                <a:gd name="T79" fmla="*/ 244 h 576"/>
                <a:gd name="T80" fmla="*/ 318 w 576"/>
                <a:gd name="T81" fmla="*/ 49 h 576"/>
                <a:gd name="T82" fmla="*/ 294 w 576"/>
                <a:gd name="T83" fmla="*/ 49 h 576"/>
                <a:gd name="T84" fmla="*/ 281 w 576"/>
                <a:gd name="T85" fmla="*/ 49 h 576"/>
                <a:gd name="T86" fmla="*/ 257 w 576"/>
                <a:gd name="T87" fmla="*/ 72 h 576"/>
                <a:gd name="T88" fmla="*/ 221 w 576"/>
                <a:gd name="T89" fmla="*/ 286 h 576"/>
                <a:gd name="T90" fmla="*/ 59 w 576"/>
                <a:gd name="T91" fmla="*/ 394 h 576"/>
                <a:gd name="T92" fmla="*/ 71 w 576"/>
                <a:gd name="T93" fmla="*/ 415 h 576"/>
                <a:gd name="T94" fmla="*/ 77 w 576"/>
                <a:gd name="T95" fmla="*/ 426 h 576"/>
                <a:gd name="T96" fmla="*/ 109 w 576"/>
                <a:gd name="T97" fmla="*/ 436 h 576"/>
                <a:gd name="T98" fmla="*/ 239 w 576"/>
                <a:gd name="T99" fmla="*/ 551 h 576"/>
                <a:gd name="T100" fmla="*/ 25 w 576"/>
                <a:gd name="T101" fmla="*/ 25 h 576"/>
                <a:gd name="T102" fmla="*/ 551 w 576"/>
                <a:gd name="T103" fmla="*/ 551 h 576"/>
                <a:gd name="T104" fmla="*/ 353 w 576"/>
                <a:gd name="T105" fmla="*/ 314 h 576"/>
                <a:gd name="T106" fmla="*/ 484 w 576"/>
                <a:gd name="T107" fmla="*/ 403 h 576"/>
                <a:gd name="T108" fmla="*/ 477 w 576"/>
                <a:gd name="T109" fmla="*/ 414 h 576"/>
                <a:gd name="T110" fmla="*/ 240 w 576"/>
                <a:gd name="T111" fmla="*/ 344 h 576"/>
                <a:gd name="T112" fmla="*/ 98 w 576"/>
                <a:gd name="T113" fmla="*/ 413 h 576"/>
                <a:gd name="T114" fmla="*/ 92 w 576"/>
                <a:gd name="T115" fmla="*/ 402 h 576"/>
                <a:gd name="T116" fmla="*/ 240 w 576"/>
                <a:gd name="T117" fmla="*/ 3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6" h="576">
                  <a:moveTo>
                    <a:pt x="0" y="0"/>
                  </a:moveTo>
                  <a:cubicBezTo>
                    <a:pt x="0" y="576"/>
                    <a:pt x="0" y="576"/>
                    <a:pt x="0" y="576"/>
                  </a:cubicBezTo>
                  <a:cubicBezTo>
                    <a:pt x="237" y="576"/>
                    <a:pt x="237" y="576"/>
                    <a:pt x="237" y="576"/>
                  </a:cubicBezTo>
                  <a:cubicBezTo>
                    <a:pt x="262" y="576"/>
                    <a:pt x="262" y="576"/>
                    <a:pt x="262" y="576"/>
                  </a:cubicBezTo>
                  <a:cubicBezTo>
                    <a:pt x="274" y="363"/>
                    <a:pt x="274" y="363"/>
                    <a:pt x="274" y="363"/>
                  </a:cubicBezTo>
                  <a:cubicBezTo>
                    <a:pt x="278" y="363"/>
                    <a:pt x="283" y="364"/>
                    <a:pt x="288" y="364"/>
                  </a:cubicBezTo>
                  <a:cubicBezTo>
                    <a:pt x="293" y="364"/>
                    <a:pt x="297" y="363"/>
                    <a:pt x="302" y="363"/>
                  </a:cubicBezTo>
                  <a:cubicBezTo>
                    <a:pt x="314" y="576"/>
                    <a:pt x="314" y="576"/>
                    <a:pt x="314" y="576"/>
                  </a:cubicBezTo>
                  <a:cubicBezTo>
                    <a:pt x="338" y="576"/>
                    <a:pt x="338" y="576"/>
                    <a:pt x="338" y="576"/>
                  </a:cubicBezTo>
                  <a:cubicBezTo>
                    <a:pt x="576" y="576"/>
                    <a:pt x="576" y="576"/>
                    <a:pt x="576" y="576"/>
                  </a:cubicBezTo>
                  <a:cubicBezTo>
                    <a:pt x="576" y="0"/>
                    <a:pt x="576" y="0"/>
                    <a:pt x="576" y="0"/>
                  </a:cubicBezTo>
                  <a:lnTo>
                    <a:pt x="0" y="0"/>
                  </a:lnTo>
                  <a:close/>
                  <a:moveTo>
                    <a:pt x="309" y="334"/>
                  </a:moveTo>
                  <a:cubicBezTo>
                    <a:pt x="306" y="335"/>
                    <a:pt x="303" y="337"/>
                    <a:pt x="300" y="338"/>
                  </a:cubicBezTo>
                  <a:cubicBezTo>
                    <a:pt x="299" y="338"/>
                    <a:pt x="299" y="338"/>
                    <a:pt x="299" y="338"/>
                  </a:cubicBezTo>
                  <a:cubicBezTo>
                    <a:pt x="297" y="338"/>
                    <a:pt x="296" y="339"/>
                    <a:pt x="294" y="339"/>
                  </a:cubicBezTo>
                  <a:cubicBezTo>
                    <a:pt x="294" y="339"/>
                    <a:pt x="294" y="339"/>
                    <a:pt x="293" y="339"/>
                  </a:cubicBezTo>
                  <a:cubicBezTo>
                    <a:pt x="291" y="339"/>
                    <a:pt x="290" y="339"/>
                    <a:pt x="288" y="339"/>
                  </a:cubicBezTo>
                  <a:cubicBezTo>
                    <a:pt x="286" y="339"/>
                    <a:pt x="284" y="339"/>
                    <a:pt x="283" y="339"/>
                  </a:cubicBezTo>
                  <a:cubicBezTo>
                    <a:pt x="282" y="339"/>
                    <a:pt x="282" y="339"/>
                    <a:pt x="281" y="339"/>
                  </a:cubicBezTo>
                  <a:cubicBezTo>
                    <a:pt x="280" y="339"/>
                    <a:pt x="278" y="338"/>
                    <a:pt x="277" y="338"/>
                  </a:cubicBezTo>
                  <a:cubicBezTo>
                    <a:pt x="277" y="338"/>
                    <a:pt x="276" y="338"/>
                    <a:pt x="276" y="338"/>
                  </a:cubicBezTo>
                  <a:cubicBezTo>
                    <a:pt x="273" y="337"/>
                    <a:pt x="269" y="335"/>
                    <a:pt x="266" y="334"/>
                  </a:cubicBezTo>
                  <a:cubicBezTo>
                    <a:pt x="254" y="326"/>
                    <a:pt x="245" y="312"/>
                    <a:pt x="245" y="297"/>
                  </a:cubicBezTo>
                  <a:cubicBezTo>
                    <a:pt x="245" y="295"/>
                    <a:pt x="245" y="294"/>
                    <a:pt x="245" y="293"/>
                  </a:cubicBezTo>
                  <a:cubicBezTo>
                    <a:pt x="245" y="292"/>
                    <a:pt x="245" y="292"/>
                    <a:pt x="245" y="292"/>
                  </a:cubicBezTo>
                  <a:cubicBezTo>
                    <a:pt x="245" y="291"/>
                    <a:pt x="246" y="290"/>
                    <a:pt x="246" y="289"/>
                  </a:cubicBezTo>
                  <a:cubicBezTo>
                    <a:pt x="246" y="288"/>
                    <a:pt x="246" y="288"/>
                    <a:pt x="246" y="288"/>
                  </a:cubicBezTo>
                  <a:cubicBezTo>
                    <a:pt x="246" y="287"/>
                    <a:pt x="247" y="285"/>
                    <a:pt x="247" y="284"/>
                  </a:cubicBezTo>
                  <a:cubicBezTo>
                    <a:pt x="247" y="284"/>
                    <a:pt x="247" y="283"/>
                    <a:pt x="247" y="283"/>
                  </a:cubicBezTo>
                  <a:cubicBezTo>
                    <a:pt x="248" y="282"/>
                    <a:pt x="248" y="282"/>
                    <a:pt x="248" y="281"/>
                  </a:cubicBezTo>
                  <a:cubicBezTo>
                    <a:pt x="248" y="280"/>
                    <a:pt x="248" y="280"/>
                    <a:pt x="249" y="279"/>
                  </a:cubicBezTo>
                  <a:cubicBezTo>
                    <a:pt x="249" y="279"/>
                    <a:pt x="249" y="278"/>
                    <a:pt x="250" y="277"/>
                  </a:cubicBezTo>
                  <a:cubicBezTo>
                    <a:pt x="250" y="276"/>
                    <a:pt x="250" y="276"/>
                    <a:pt x="251" y="275"/>
                  </a:cubicBezTo>
                  <a:cubicBezTo>
                    <a:pt x="251" y="274"/>
                    <a:pt x="252" y="274"/>
                    <a:pt x="252" y="273"/>
                  </a:cubicBezTo>
                  <a:cubicBezTo>
                    <a:pt x="252" y="273"/>
                    <a:pt x="253" y="272"/>
                    <a:pt x="253" y="272"/>
                  </a:cubicBezTo>
                  <a:cubicBezTo>
                    <a:pt x="253" y="271"/>
                    <a:pt x="254" y="271"/>
                    <a:pt x="254" y="271"/>
                  </a:cubicBezTo>
                  <a:cubicBezTo>
                    <a:pt x="255" y="269"/>
                    <a:pt x="257" y="267"/>
                    <a:pt x="259" y="265"/>
                  </a:cubicBezTo>
                  <a:cubicBezTo>
                    <a:pt x="259" y="265"/>
                    <a:pt x="259" y="265"/>
                    <a:pt x="259" y="265"/>
                  </a:cubicBezTo>
                  <a:cubicBezTo>
                    <a:pt x="262" y="262"/>
                    <a:pt x="265" y="260"/>
                    <a:pt x="269" y="258"/>
                  </a:cubicBezTo>
                  <a:cubicBezTo>
                    <a:pt x="275" y="255"/>
                    <a:pt x="281" y="254"/>
                    <a:pt x="288" y="254"/>
                  </a:cubicBezTo>
                  <a:cubicBezTo>
                    <a:pt x="295" y="254"/>
                    <a:pt x="301" y="255"/>
                    <a:pt x="307" y="258"/>
                  </a:cubicBezTo>
                  <a:cubicBezTo>
                    <a:pt x="310" y="260"/>
                    <a:pt x="313" y="262"/>
                    <a:pt x="316" y="265"/>
                  </a:cubicBezTo>
                  <a:cubicBezTo>
                    <a:pt x="316" y="265"/>
                    <a:pt x="317" y="265"/>
                    <a:pt x="317" y="265"/>
                  </a:cubicBezTo>
                  <a:cubicBezTo>
                    <a:pt x="319" y="267"/>
                    <a:pt x="320" y="269"/>
                    <a:pt x="322" y="271"/>
                  </a:cubicBezTo>
                  <a:cubicBezTo>
                    <a:pt x="322" y="271"/>
                    <a:pt x="322" y="271"/>
                    <a:pt x="323" y="272"/>
                  </a:cubicBezTo>
                  <a:cubicBezTo>
                    <a:pt x="323" y="272"/>
                    <a:pt x="323" y="273"/>
                    <a:pt x="324" y="273"/>
                  </a:cubicBezTo>
                  <a:cubicBezTo>
                    <a:pt x="324" y="274"/>
                    <a:pt x="324" y="275"/>
                    <a:pt x="325" y="275"/>
                  </a:cubicBezTo>
                  <a:cubicBezTo>
                    <a:pt x="325" y="276"/>
                    <a:pt x="326" y="276"/>
                    <a:pt x="326" y="277"/>
                  </a:cubicBezTo>
                  <a:cubicBezTo>
                    <a:pt x="326" y="278"/>
                    <a:pt x="327" y="279"/>
                    <a:pt x="327" y="279"/>
                  </a:cubicBezTo>
                  <a:cubicBezTo>
                    <a:pt x="327" y="280"/>
                    <a:pt x="327" y="280"/>
                    <a:pt x="328" y="281"/>
                  </a:cubicBezTo>
                  <a:cubicBezTo>
                    <a:pt x="328" y="282"/>
                    <a:pt x="328" y="282"/>
                    <a:pt x="328" y="283"/>
                  </a:cubicBezTo>
                  <a:cubicBezTo>
                    <a:pt x="329" y="283"/>
                    <a:pt x="329" y="284"/>
                    <a:pt x="329" y="284"/>
                  </a:cubicBezTo>
                  <a:cubicBezTo>
                    <a:pt x="329" y="285"/>
                    <a:pt x="329" y="287"/>
                    <a:pt x="330" y="288"/>
                  </a:cubicBezTo>
                  <a:cubicBezTo>
                    <a:pt x="330" y="288"/>
                    <a:pt x="330" y="288"/>
                    <a:pt x="330" y="289"/>
                  </a:cubicBezTo>
                  <a:cubicBezTo>
                    <a:pt x="330" y="290"/>
                    <a:pt x="330" y="291"/>
                    <a:pt x="330" y="292"/>
                  </a:cubicBezTo>
                  <a:cubicBezTo>
                    <a:pt x="330" y="292"/>
                    <a:pt x="330" y="292"/>
                    <a:pt x="330" y="293"/>
                  </a:cubicBezTo>
                  <a:cubicBezTo>
                    <a:pt x="331" y="294"/>
                    <a:pt x="331" y="295"/>
                    <a:pt x="331" y="297"/>
                  </a:cubicBezTo>
                  <a:cubicBezTo>
                    <a:pt x="331" y="312"/>
                    <a:pt x="322" y="326"/>
                    <a:pt x="309" y="334"/>
                  </a:cubicBezTo>
                  <a:close/>
                  <a:moveTo>
                    <a:pt x="271" y="232"/>
                  </a:moveTo>
                  <a:cubicBezTo>
                    <a:pt x="281" y="74"/>
                    <a:pt x="281" y="74"/>
                    <a:pt x="281" y="74"/>
                  </a:cubicBezTo>
                  <a:cubicBezTo>
                    <a:pt x="282" y="74"/>
                    <a:pt x="282" y="74"/>
                    <a:pt x="282" y="74"/>
                  </a:cubicBezTo>
                  <a:cubicBezTo>
                    <a:pt x="294" y="74"/>
                    <a:pt x="294" y="74"/>
                    <a:pt x="294" y="74"/>
                  </a:cubicBezTo>
                  <a:cubicBezTo>
                    <a:pt x="295" y="74"/>
                    <a:pt x="295" y="74"/>
                    <a:pt x="295" y="74"/>
                  </a:cubicBezTo>
                  <a:cubicBezTo>
                    <a:pt x="305" y="232"/>
                    <a:pt x="305" y="232"/>
                    <a:pt x="305" y="232"/>
                  </a:cubicBezTo>
                  <a:cubicBezTo>
                    <a:pt x="300" y="230"/>
                    <a:pt x="294" y="229"/>
                    <a:pt x="288" y="229"/>
                  </a:cubicBezTo>
                  <a:cubicBezTo>
                    <a:pt x="282" y="229"/>
                    <a:pt x="276" y="230"/>
                    <a:pt x="271" y="232"/>
                  </a:cubicBezTo>
                  <a:close/>
                  <a:moveTo>
                    <a:pt x="551" y="551"/>
                  </a:moveTo>
                  <a:cubicBezTo>
                    <a:pt x="337" y="551"/>
                    <a:pt x="337" y="551"/>
                    <a:pt x="337" y="551"/>
                  </a:cubicBezTo>
                  <a:cubicBezTo>
                    <a:pt x="327" y="367"/>
                    <a:pt x="327" y="367"/>
                    <a:pt x="327" y="367"/>
                  </a:cubicBezTo>
                  <a:cubicBezTo>
                    <a:pt x="466" y="436"/>
                    <a:pt x="466" y="436"/>
                    <a:pt x="466" y="436"/>
                  </a:cubicBezTo>
                  <a:cubicBezTo>
                    <a:pt x="487" y="446"/>
                    <a:pt x="487" y="446"/>
                    <a:pt x="487" y="446"/>
                  </a:cubicBezTo>
                  <a:cubicBezTo>
                    <a:pt x="499" y="426"/>
                    <a:pt x="499" y="426"/>
                    <a:pt x="499" y="426"/>
                  </a:cubicBezTo>
                  <a:cubicBezTo>
                    <a:pt x="499" y="426"/>
                    <a:pt x="499" y="426"/>
                    <a:pt x="499" y="426"/>
                  </a:cubicBezTo>
                  <a:cubicBezTo>
                    <a:pt x="505" y="415"/>
                    <a:pt x="505" y="415"/>
                    <a:pt x="505" y="415"/>
                  </a:cubicBezTo>
                  <a:cubicBezTo>
                    <a:pt x="505" y="414"/>
                    <a:pt x="505" y="414"/>
                    <a:pt x="505" y="414"/>
                  </a:cubicBezTo>
                  <a:cubicBezTo>
                    <a:pt x="517" y="394"/>
                    <a:pt x="517" y="394"/>
                    <a:pt x="517" y="394"/>
                  </a:cubicBezTo>
                  <a:cubicBezTo>
                    <a:pt x="498" y="382"/>
                    <a:pt x="498" y="382"/>
                    <a:pt x="498" y="382"/>
                  </a:cubicBezTo>
                  <a:cubicBezTo>
                    <a:pt x="354" y="286"/>
                    <a:pt x="354" y="286"/>
                    <a:pt x="354" y="286"/>
                  </a:cubicBezTo>
                  <a:cubicBezTo>
                    <a:pt x="352" y="269"/>
                    <a:pt x="343" y="255"/>
                    <a:pt x="330" y="244"/>
                  </a:cubicBezTo>
                  <a:cubicBezTo>
                    <a:pt x="319" y="72"/>
                    <a:pt x="319" y="72"/>
                    <a:pt x="319" y="72"/>
                  </a:cubicBezTo>
                  <a:cubicBezTo>
                    <a:pt x="318" y="49"/>
                    <a:pt x="318" y="49"/>
                    <a:pt x="318" y="49"/>
                  </a:cubicBezTo>
                  <a:cubicBezTo>
                    <a:pt x="295" y="49"/>
                    <a:pt x="295" y="49"/>
                    <a:pt x="295" y="49"/>
                  </a:cubicBezTo>
                  <a:cubicBezTo>
                    <a:pt x="294" y="49"/>
                    <a:pt x="294" y="49"/>
                    <a:pt x="294" y="49"/>
                  </a:cubicBezTo>
                  <a:cubicBezTo>
                    <a:pt x="282" y="49"/>
                    <a:pt x="282" y="49"/>
                    <a:pt x="282" y="49"/>
                  </a:cubicBezTo>
                  <a:cubicBezTo>
                    <a:pt x="281" y="49"/>
                    <a:pt x="281" y="49"/>
                    <a:pt x="281" y="49"/>
                  </a:cubicBezTo>
                  <a:cubicBezTo>
                    <a:pt x="258" y="49"/>
                    <a:pt x="258" y="49"/>
                    <a:pt x="258" y="49"/>
                  </a:cubicBezTo>
                  <a:cubicBezTo>
                    <a:pt x="257" y="72"/>
                    <a:pt x="257" y="72"/>
                    <a:pt x="257" y="72"/>
                  </a:cubicBezTo>
                  <a:cubicBezTo>
                    <a:pt x="245" y="244"/>
                    <a:pt x="245" y="244"/>
                    <a:pt x="245" y="244"/>
                  </a:cubicBezTo>
                  <a:cubicBezTo>
                    <a:pt x="233" y="255"/>
                    <a:pt x="224" y="269"/>
                    <a:pt x="221" y="286"/>
                  </a:cubicBezTo>
                  <a:cubicBezTo>
                    <a:pt x="78" y="382"/>
                    <a:pt x="78" y="382"/>
                    <a:pt x="78" y="382"/>
                  </a:cubicBezTo>
                  <a:cubicBezTo>
                    <a:pt x="59" y="394"/>
                    <a:pt x="59" y="394"/>
                    <a:pt x="59" y="394"/>
                  </a:cubicBezTo>
                  <a:cubicBezTo>
                    <a:pt x="70" y="414"/>
                    <a:pt x="70" y="414"/>
                    <a:pt x="70" y="414"/>
                  </a:cubicBezTo>
                  <a:cubicBezTo>
                    <a:pt x="71" y="415"/>
                    <a:pt x="71" y="415"/>
                    <a:pt x="71" y="415"/>
                  </a:cubicBezTo>
                  <a:cubicBezTo>
                    <a:pt x="77" y="426"/>
                    <a:pt x="77" y="426"/>
                    <a:pt x="77" y="426"/>
                  </a:cubicBezTo>
                  <a:cubicBezTo>
                    <a:pt x="77" y="426"/>
                    <a:pt x="77" y="426"/>
                    <a:pt x="77" y="426"/>
                  </a:cubicBezTo>
                  <a:cubicBezTo>
                    <a:pt x="89" y="446"/>
                    <a:pt x="89" y="446"/>
                    <a:pt x="89" y="446"/>
                  </a:cubicBezTo>
                  <a:cubicBezTo>
                    <a:pt x="109" y="436"/>
                    <a:pt x="109" y="436"/>
                    <a:pt x="109" y="436"/>
                  </a:cubicBezTo>
                  <a:cubicBezTo>
                    <a:pt x="249" y="367"/>
                    <a:pt x="249" y="367"/>
                    <a:pt x="249" y="367"/>
                  </a:cubicBezTo>
                  <a:cubicBezTo>
                    <a:pt x="239" y="551"/>
                    <a:pt x="239" y="551"/>
                    <a:pt x="239" y="551"/>
                  </a:cubicBezTo>
                  <a:cubicBezTo>
                    <a:pt x="25" y="551"/>
                    <a:pt x="25" y="551"/>
                    <a:pt x="25" y="551"/>
                  </a:cubicBezTo>
                  <a:cubicBezTo>
                    <a:pt x="25" y="25"/>
                    <a:pt x="25" y="25"/>
                    <a:pt x="25" y="25"/>
                  </a:cubicBezTo>
                  <a:cubicBezTo>
                    <a:pt x="551" y="25"/>
                    <a:pt x="551" y="25"/>
                    <a:pt x="551" y="25"/>
                  </a:cubicBezTo>
                  <a:lnTo>
                    <a:pt x="551" y="551"/>
                  </a:lnTo>
                  <a:close/>
                  <a:moveTo>
                    <a:pt x="336" y="344"/>
                  </a:moveTo>
                  <a:cubicBezTo>
                    <a:pt x="344" y="336"/>
                    <a:pt x="350" y="326"/>
                    <a:pt x="353" y="314"/>
                  </a:cubicBezTo>
                  <a:cubicBezTo>
                    <a:pt x="484" y="402"/>
                    <a:pt x="484" y="402"/>
                    <a:pt x="484" y="402"/>
                  </a:cubicBezTo>
                  <a:cubicBezTo>
                    <a:pt x="484" y="403"/>
                    <a:pt x="484" y="403"/>
                    <a:pt x="484" y="403"/>
                  </a:cubicBezTo>
                  <a:cubicBezTo>
                    <a:pt x="478" y="413"/>
                    <a:pt x="478" y="413"/>
                    <a:pt x="478" y="413"/>
                  </a:cubicBezTo>
                  <a:cubicBezTo>
                    <a:pt x="477" y="414"/>
                    <a:pt x="477" y="414"/>
                    <a:pt x="477" y="414"/>
                  </a:cubicBezTo>
                  <a:lnTo>
                    <a:pt x="336" y="344"/>
                  </a:lnTo>
                  <a:close/>
                  <a:moveTo>
                    <a:pt x="240" y="344"/>
                  </a:moveTo>
                  <a:cubicBezTo>
                    <a:pt x="98" y="414"/>
                    <a:pt x="98" y="414"/>
                    <a:pt x="98" y="414"/>
                  </a:cubicBezTo>
                  <a:cubicBezTo>
                    <a:pt x="98" y="413"/>
                    <a:pt x="98" y="413"/>
                    <a:pt x="98" y="413"/>
                  </a:cubicBezTo>
                  <a:cubicBezTo>
                    <a:pt x="92" y="403"/>
                    <a:pt x="92" y="403"/>
                    <a:pt x="92" y="403"/>
                  </a:cubicBezTo>
                  <a:cubicBezTo>
                    <a:pt x="92" y="402"/>
                    <a:pt x="92" y="402"/>
                    <a:pt x="92" y="402"/>
                  </a:cubicBezTo>
                  <a:cubicBezTo>
                    <a:pt x="223" y="314"/>
                    <a:pt x="223" y="314"/>
                    <a:pt x="223" y="314"/>
                  </a:cubicBezTo>
                  <a:cubicBezTo>
                    <a:pt x="226" y="326"/>
                    <a:pt x="232" y="336"/>
                    <a:pt x="240" y="344"/>
                  </a:cubicBez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b="1" dirty="0"/>
            </a:p>
          </p:txBody>
        </p:sp>
        <p:cxnSp>
          <p:nvCxnSpPr>
            <p:cNvPr id="210" name="Straight Connector 402">
              <a:extLst>
                <a:ext uri="{FF2B5EF4-FFF2-40B4-BE49-F238E27FC236}">
                  <a16:creationId xmlns:a16="http://schemas.microsoft.com/office/drawing/2014/main" id="{7E0AC47A-D916-490E-95ED-E7E69FA119E1}"/>
                </a:ext>
              </a:extLst>
            </p:cNvPr>
            <p:cNvCxnSpPr>
              <a:cxnSpLocks/>
              <a:endCxn id="148" idx="27"/>
            </p:cNvCxnSpPr>
            <p:nvPr/>
          </p:nvCxnSpPr>
          <p:spPr>
            <a:xfrm flipH="1" flipV="1">
              <a:off x="5414765" y="3296973"/>
              <a:ext cx="817202" cy="526750"/>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2F9DABF3-AFA0-43DB-8207-5A5E9CFE0E32}"/>
                </a:ext>
              </a:extLst>
            </p:cNvPr>
            <p:cNvCxnSpPr>
              <a:cxnSpLocks/>
            </p:cNvCxnSpPr>
            <p:nvPr/>
          </p:nvCxnSpPr>
          <p:spPr>
            <a:xfrm>
              <a:off x="7936514" y="3215130"/>
              <a:ext cx="0" cy="3492000"/>
            </a:xfrm>
            <a:prstGeom prst="line">
              <a:avLst/>
            </a:prstGeom>
          </p:spPr>
          <p:style>
            <a:lnRef idx="1">
              <a:schemeClr val="accent1"/>
            </a:lnRef>
            <a:fillRef idx="0">
              <a:schemeClr val="accent1"/>
            </a:fillRef>
            <a:effectRef idx="0">
              <a:schemeClr val="accent1"/>
            </a:effectRef>
            <a:fontRef idx="minor">
              <a:schemeClr val="tx1"/>
            </a:fontRef>
          </p:style>
        </p:cxnSp>
        <p:sp>
          <p:nvSpPr>
            <p:cNvPr id="435" name="Freeform 13">
              <a:extLst>
                <a:ext uri="{FF2B5EF4-FFF2-40B4-BE49-F238E27FC236}">
                  <a16:creationId xmlns:a16="http://schemas.microsoft.com/office/drawing/2014/main" id="{EFBC7C6C-84F3-41DC-83F5-9AAF6E069A24}"/>
                </a:ext>
              </a:extLst>
            </p:cNvPr>
            <p:cNvSpPr>
              <a:spLocks noEditPoints="1"/>
            </p:cNvSpPr>
            <p:nvPr/>
          </p:nvSpPr>
          <p:spPr bwMode="auto">
            <a:xfrm>
              <a:off x="5090761" y="5347083"/>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sp>
          <p:nvSpPr>
            <p:cNvPr id="158" name="Straight Connector 40">
              <a:extLst>
                <a:ext uri="{FF2B5EF4-FFF2-40B4-BE49-F238E27FC236}">
                  <a16:creationId xmlns:a16="http://schemas.microsoft.com/office/drawing/2014/main" id="{9CC6D80A-5018-4221-A6F5-D0A252E72DE3}"/>
                </a:ext>
              </a:extLst>
            </p:cNvPr>
            <p:cNvSpPr/>
            <p:nvPr/>
          </p:nvSpPr>
          <p:spPr>
            <a:xfrm rot="5400000">
              <a:off x="7130963" y="3332793"/>
              <a:ext cx="492068" cy="1119018"/>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grpSp>
          <p:nvGrpSpPr>
            <p:cNvPr id="3" name="Ομάδα 2">
              <a:extLst>
                <a:ext uri="{FF2B5EF4-FFF2-40B4-BE49-F238E27FC236}">
                  <a16:creationId xmlns:a16="http://schemas.microsoft.com/office/drawing/2014/main" id="{B0CB7919-D326-4B67-B319-9388D987B771}"/>
                </a:ext>
              </a:extLst>
            </p:cNvPr>
            <p:cNvGrpSpPr/>
            <p:nvPr/>
          </p:nvGrpSpPr>
          <p:grpSpPr>
            <a:xfrm>
              <a:off x="5323477" y="2894199"/>
              <a:ext cx="6650930" cy="3789276"/>
              <a:chOff x="5323477" y="2894199"/>
              <a:chExt cx="6650930" cy="3789276"/>
            </a:xfrm>
          </p:grpSpPr>
          <p:cxnSp>
            <p:nvCxnSpPr>
              <p:cNvPr id="204" name="Straight Connector 396">
                <a:extLst>
                  <a:ext uri="{FF2B5EF4-FFF2-40B4-BE49-F238E27FC236}">
                    <a16:creationId xmlns:a16="http://schemas.microsoft.com/office/drawing/2014/main" id="{9F7535E7-5CE0-443D-9823-F087040DC4C0}"/>
                  </a:ext>
                </a:extLst>
              </p:cNvPr>
              <p:cNvCxnSpPr>
                <a:cxnSpLocks/>
                <a:stCxn id="184" idx="27"/>
              </p:cNvCxnSpPr>
              <p:nvPr/>
            </p:nvCxnSpPr>
            <p:spPr>
              <a:xfrm>
                <a:off x="6176812" y="5701277"/>
                <a:ext cx="50121" cy="513850"/>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07" name="Straight Connector 399">
                <a:extLst>
                  <a:ext uri="{FF2B5EF4-FFF2-40B4-BE49-F238E27FC236}">
                    <a16:creationId xmlns:a16="http://schemas.microsoft.com/office/drawing/2014/main" id="{254DBCDD-BCB4-4827-9562-3F2069FF0412}"/>
                  </a:ext>
                </a:extLst>
              </p:cNvPr>
              <p:cNvCxnSpPr>
                <a:cxnSpLocks/>
                <a:stCxn id="148" idx="27"/>
                <a:endCxn id="183" idx="41"/>
              </p:cNvCxnSpPr>
              <p:nvPr/>
            </p:nvCxnSpPr>
            <p:spPr>
              <a:xfrm flipH="1">
                <a:off x="5377251" y="3410014"/>
                <a:ext cx="34316" cy="1005476"/>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14" name="Straight Connector 406">
                <a:extLst>
                  <a:ext uri="{FF2B5EF4-FFF2-40B4-BE49-F238E27FC236}">
                    <a16:creationId xmlns:a16="http://schemas.microsoft.com/office/drawing/2014/main" id="{28E7F40B-1BD8-4614-B9B1-8974D57C0E8D}"/>
                  </a:ext>
                </a:extLst>
              </p:cNvPr>
              <p:cNvCxnSpPr>
                <a:cxnSpLocks/>
                <a:endCxn id="148" idx="27"/>
              </p:cNvCxnSpPr>
              <p:nvPr/>
            </p:nvCxnSpPr>
            <p:spPr>
              <a:xfrm flipH="1" flipV="1">
                <a:off x="5411567" y="3410014"/>
                <a:ext cx="763110" cy="1828286"/>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28" name="Straight Connector 420">
                <a:extLst>
                  <a:ext uri="{FF2B5EF4-FFF2-40B4-BE49-F238E27FC236}">
                    <a16:creationId xmlns:a16="http://schemas.microsoft.com/office/drawing/2014/main" id="{6EA8220C-AA93-4A71-B82B-8BD98FC16C5D}"/>
                  </a:ext>
                </a:extLst>
              </p:cNvPr>
              <p:cNvCxnSpPr/>
              <p:nvPr/>
            </p:nvCxnSpPr>
            <p:spPr>
              <a:xfrm>
                <a:off x="6787729" y="4354910"/>
                <a:ext cx="273466" cy="281902"/>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29" name="Straight Connector 421">
                <a:extLst>
                  <a:ext uri="{FF2B5EF4-FFF2-40B4-BE49-F238E27FC236}">
                    <a16:creationId xmlns:a16="http://schemas.microsoft.com/office/drawing/2014/main" id="{79BA66C4-BCCE-4F66-BECF-4481C8221C25}"/>
                  </a:ext>
                </a:extLst>
              </p:cNvPr>
              <p:cNvCxnSpPr>
                <a:cxnSpLocks/>
                <a:stCxn id="186" idx="12"/>
              </p:cNvCxnSpPr>
              <p:nvPr/>
            </p:nvCxnSpPr>
            <p:spPr>
              <a:xfrm>
                <a:off x="7453361" y="6148571"/>
                <a:ext cx="456055" cy="134421"/>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85" name="Straight Connector 493">
                <a:extLst>
                  <a:ext uri="{FF2B5EF4-FFF2-40B4-BE49-F238E27FC236}">
                    <a16:creationId xmlns:a16="http://schemas.microsoft.com/office/drawing/2014/main" id="{4CFF5B50-89C9-4C46-8CE9-9CBF04C5B72D}"/>
                  </a:ext>
                </a:extLst>
              </p:cNvPr>
              <p:cNvCxnSpPr>
                <a:cxnSpLocks/>
                <a:stCxn id="183" idx="1"/>
              </p:cNvCxnSpPr>
              <p:nvPr/>
            </p:nvCxnSpPr>
            <p:spPr>
              <a:xfrm flipH="1">
                <a:off x="5323477" y="4942490"/>
                <a:ext cx="21774" cy="428658"/>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174" name="Straight Connector 421">
                <a:extLst>
                  <a:ext uri="{FF2B5EF4-FFF2-40B4-BE49-F238E27FC236}">
                    <a16:creationId xmlns:a16="http://schemas.microsoft.com/office/drawing/2014/main" id="{D97982C2-2E54-4CDD-920E-217E65B85974}"/>
                  </a:ext>
                </a:extLst>
              </p:cNvPr>
              <p:cNvCxnSpPr>
                <a:cxnSpLocks/>
                <a:endCxn id="392" idx="5"/>
              </p:cNvCxnSpPr>
              <p:nvPr/>
            </p:nvCxnSpPr>
            <p:spPr>
              <a:xfrm flipV="1">
                <a:off x="6648814" y="4549450"/>
                <a:ext cx="1232212" cy="668340"/>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sp>
            <p:nvSpPr>
              <p:cNvPr id="179" name="Rectangle 178"/>
              <p:cNvSpPr/>
              <p:nvPr/>
            </p:nvSpPr>
            <p:spPr>
              <a:xfrm>
                <a:off x="8065097" y="2894199"/>
                <a:ext cx="3909310" cy="34680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lvl="0" defTabSz="622300">
                  <a:spcBef>
                    <a:spcPct val="0"/>
                  </a:spcBef>
                  <a:spcAft>
                    <a:spcPct val="35000"/>
                  </a:spcAft>
                </a:pPr>
                <a:endParaRPr lang="el-GR" sz="1600" b="1" dirty="0">
                  <a:solidFill>
                    <a:srgbClr val="002060"/>
                  </a:solidFill>
                </a:endParaRPr>
              </a:p>
              <a:p>
                <a:pPr lvl="0" defTabSz="622300">
                  <a:spcBef>
                    <a:spcPct val="0"/>
                  </a:spcBef>
                  <a:spcAft>
                    <a:spcPct val="35000"/>
                  </a:spcAft>
                </a:pPr>
                <a:endParaRPr lang="el-GR" sz="1600" b="1" dirty="0">
                  <a:solidFill>
                    <a:srgbClr val="002060"/>
                  </a:solidFill>
                </a:endParaRPr>
              </a:p>
              <a:p>
                <a:pPr lvl="0" defTabSz="622300">
                  <a:spcBef>
                    <a:spcPct val="0"/>
                  </a:spcBef>
                  <a:spcAft>
                    <a:spcPct val="35000"/>
                  </a:spcAft>
                </a:pPr>
                <a:endParaRPr lang="el-GR" sz="1600" b="1" dirty="0">
                  <a:solidFill>
                    <a:schemeClr val="tx1"/>
                  </a:solidFill>
                </a:endParaRPr>
              </a:p>
              <a:p>
                <a:pPr lvl="0" defTabSz="622300">
                  <a:spcBef>
                    <a:spcPct val="0"/>
                  </a:spcBef>
                  <a:spcAft>
                    <a:spcPct val="35000"/>
                  </a:spcAft>
                </a:pPr>
                <a:r>
                  <a:rPr lang="el-GR" sz="1600" b="1" dirty="0">
                    <a:solidFill>
                      <a:schemeClr val="accent2">
                        <a:lumMod val="50000"/>
                      </a:schemeClr>
                    </a:solidFill>
                  </a:rPr>
                  <a:t>Τομείς προτεραιότητας</a:t>
                </a:r>
              </a:p>
              <a:p>
                <a:pPr lvl="0" defTabSz="622300">
                  <a:spcBef>
                    <a:spcPts val="800"/>
                  </a:spcBef>
                  <a:spcAft>
                    <a:spcPts val="800"/>
                  </a:spcAft>
                </a:pPr>
                <a:r>
                  <a:rPr lang="el-GR" sz="1600" dirty="0">
                    <a:solidFill>
                      <a:schemeClr val="tx1"/>
                    </a:solidFill>
                  </a:rPr>
                  <a:t>3.5 Ενίσχυση παρουσίας ελληνικών εταιρειών σε διεθνή </a:t>
                </a:r>
                <a:r>
                  <a:rPr lang="el-GR" sz="1600" b="1" dirty="0">
                    <a:solidFill>
                      <a:schemeClr val="tx1"/>
                    </a:solidFill>
                  </a:rPr>
                  <a:t>τεχνικά και περιβαλλοντικά έργα</a:t>
                </a:r>
                <a:endParaRPr lang="en-US" sz="1600" b="1" dirty="0">
                  <a:solidFill>
                    <a:schemeClr val="tx1"/>
                  </a:solidFill>
                </a:endParaRPr>
              </a:p>
              <a:p>
                <a:pPr lvl="0" defTabSz="622300">
                  <a:spcBef>
                    <a:spcPts val="800"/>
                  </a:spcBef>
                  <a:spcAft>
                    <a:spcPts val="800"/>
                  </a:spcAft>
                </a:pPr>
                <a:r>
                  <a:rPr lang="el-GR" sz="1600" dirty="0">
                    <a:solidFill>
                      <a:schemeClr val="tx1"/>
                    </a:solidFill>
                  </a:rPr>
                  <a:t>3.6 Ενίσχυση </a:t>
                </a:r>
                <a:r>
                  <a:rPr lang="el-GR" sz="1600" b="1" dirty="0">
                    <a:solidFill>
                      <a:schemeClr val="tx1"/>
                    </a:solidFill>
                  </a:rPr>
                  <a:t>ενεργειακής συνδεσιμότητας </a:t>
                </a:r>
                <a:r>
                  <a:rPr lang="el-GR" sz="1600" dirty="0">
                    <a:solidFill>
                      <a:schemeClr val="tx1"/>
                    </a:solidFill>
                  </a:rPr>
                  <a:t>και ανάδειξη χώρας ως ενεργειακού κόμβου</a:t>
                </a:r>
                <a:endParaRPr lang="en-US" sz="1600" dirty="0">
                  <a:solidFill>
                    <a:schemeClr val="tx1"/>
                  </a:solidFill>
                </a:endParaRPr>
              </a:p>
              <a:p>
                <a:pPr lvl="0" defTabSz="622300">
                  <a:spcBef>
                    <a:spcPts val="800"/>
                  </a:spcBef>
                  <a:spcAft>
                    <a:spcPts val="800"/>
                  </a:spcAft>
                </a:pPr>
                <a:r>
                  <a:rPr lang="el-GR" sz="1600" dirty="0">
                    <a:solidFill>
                      <a:schemeClr val="tx1"/>
                    </a:solidFill>
                  </a:rPr>
                  <a:t>3.7 Ενίσχυση της </a:t>
                </a:r>
                <a:r>
                  <a:rPr lang="el-GR" sz="1600" b="1" dirty="0">
                    <a:solidFill>
                      <a:schemeClr val="tx1"/>
                    </a:solidFill>
                  </a:rPr>
                  <a:t>συνδεσιμότητας</a:t>
                </a:r>
                <a:r>
                  <a:rPr lang="el-GR" sz="1600" dirty="0">
                    <a:solidFill>
                      <a:schemeClr val="tx1"/>
                    </a:solidFill>
                  </a:rPr>
                  <a:t> και ενδυνάμωση της θέσης της χώρας στις διεθνείς </a:t>
                </a:r>
                <a:r>
                  <a:rPr lang="el-GR" sz="1600" b="1" dirty="0">
                    <a:solidFill>
                      <a:schemeClr val="tx1"/>
                    </a:solidFill>
                  </a:rPr>
                  <a:t>εφοδιαστικές αλυσίδες - δίκτυα μεταφορών</a:t>
                </a:r>
                <a:endParaRPr lang="en-US" sz="1600" b="1" dirty="0">
                  <a:solidFill>
                    <a:schemeClr val="tx1"/>
                  </a:solidFill>
                </a:endParaRPr>
              </a:p>
              <a:p>
                <a:pPr lvl="0" defTabSz="622300">
                  <a:spcBef>
                    <a:spcPts val="800"/>
                  </a:spcBef>
                  <a:spcAft>
                    <a:spcPts val="800"/>
                  </a:spcAft>
                </a:pPr>
                <a:r>
                  <a:rPr lang="el-GR" sz="1600" dirty="0">
                    <a:solidFill>
                      <a:schemeClr val="tx1"/>
                    </a:solidFill>
                  </a:rPr>
                  <a:t>3.8 Προσέλκυση και μεταφορά </a:t>
                </a:r>
                <a:r>
                  <a:rPr lang="el-GR" sz="1600" b="1" dirty="0">
                    <a:solidFill>
                      <a:schemeClr val="tx1"/>
                    </a:solidFill>
                  </a:rPr>
                  <a:t>τεχνογνωσίας και τεχνολογίας</a:t>
                </a:r>
                <a:endParaRPr lang="en-US" sz="1600" b="1" dirty="0">
                  <a:solidFill>
                    <a:schemeClr val="tx1"/>
                  </a:solidFill>
                </a:endParaRPr>
              </a:p>
              <a:p>
                <a:pPr lvl="0" algn="l" defTabSz="622300">
                  <a:lnSpc>
                    <a:spcPct val="90000"/>
                  </a:lnSpc>
                  <a:spcBef>
                    <a:spcPct val="0"/>
                  </a:spcBef>
                  <a:spcAft>
                    <a:spcPct val="35000"/>
                  </a:spcAft>
                </a:pPr>
                <a:endParaRPr lang="el-GR" sz="1600" b="1" kern="1200" dirty="0">
                  <a:solidFill>
                    <a:srgbClr val="002060"/>
                  </a:solidFill>
                </a:endParaRPr>
              </a:p>
            </p:txBody>
          </p:sp>
          <p:sp>
            <p:nvSpPr>
              <p:cNvPr id="184" name="Freeform 61">
                <a:extLst>
                  <a:ext uri="{FF2B5EF4-FFF2-40B4-BE49-F238E27FC236}">
                    <a16:creationId xmlns:a16="http://schemas.microsoft.com/office/drawing/2014/main" id="{D4C04AF5-5C5B-41C1-9A84-95235FB79938}"/>
                  </a:ext>
                </a:extLst>
              </p:cNvPr>
              <p:cNvSpPr>
                <a:spLocks noChangeAspect="1" noEditPoints="1"/>
              </p:cNvSpPr>
              <p:nvPr/>
            </p:nvSpPr>
            <p:spPr bwMode="auto">
              <a:xfrm>
                <a:off x="5896104" y="5210994"/>
                <a:ext cx="538470" cy="540000"/>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254 w 704"/>
                  <a:gd name="T11" fmla="*/ 211 h 706"/>
                  <a:gd name="T12" fmla="*/ 443 w 704"/>
                  <a:gd name="T13" fmla="*/ 211 h 706"/>
                  <a:gd name="T14" fmla="*/ 665 w 704"/>
                  <a:gd name="T15" fmla="*/ 676 h 706"/>
                  <a:gd name="T16" fmla="*/ 39 w 704"/>
                  <a:gd name="T17" fmla="*/ 676 h 706"/>
                  <a:gd name="T18" fmla="*/ 254 w 704"/>
                  <a:gd name="T19" fmla="*/ 211 h 706"/>
                  <a:gd name="T20" fmla="*/ 31 w 704"/>
                  <a:gd name="T21" fmla="*/ 623 h 706"/>
                  <a:gd name="T22" fmla="*/ 31 w 704"/>
                  <a:gd name="T23" fmla="*/ 211 h 706"/>
                  <a:gd name="T24" fmla="*/ 221 w 704"/>
                  <a:gd name="T25" fmla="*/ 211 h 706"/>
                  <a:gd name="T26" fmla="*/ 31 w 704"/>
                  <a:gd name="T27" fmla="*/ 623 h 706"/>
                  <a:gd name="T28" fmla="*/ 476 w 704"/>
                  <a:gd name="T29" fmla="*/ 211 h 706"/>
                  <a:gd name="T30" fmla="*/ 674 w 704"/>
                  <a:gd name="T31" fmla="*/ 211 h 706"/>
                  <a:gd name="T32" fmla="*/ 674 w 704"/>
                  <a:gd name="T33" fmla="*/ 625 h 706"/>
                  <a:gd name="T34" fmla="*/ 476 w 704"/>
                  <a:gd name="T35" fmla="*/ 211 h 706"/>
                  <a:gd name="T36" fmla="*/ 674 w 704"/>
                  <a:gd name="T37" fmla="*/ 30 h 706"/>
                  <a:gd name="T38" fmla="*/ 674 w 704"/>
                  <a:gd name="T39" fmla="*/ 180 h 706"/>
                  <a:gd name="T40" fmla="*/ 462 w 704"/>
                  <a:gd name="T41" fmla="*/ 180 h 706"/>
                  <a:gd name="T42" fmla="*/ 236 w 704"/>
                  <a:gd name="T43" fmla="*/ 180 h 706"/>
                  <a:gd name="T44" fmla="*/ 31 w 704"/>
                  <a:gd name="T45" fmla="*/ 180 h 706"/>
                  <a:gd name="T46" fmla="*/ 31 w 704"/>
                  <a:gd name="T47" fmla="*/ 30 h 706"/>
                  <a:gd name="T48" fmla="*/ 674 w 704"/>
                  <a:gd name="T49" fmla="*/ 30 h 706"/>
                  <a:gd name="T50" fmla="*/ 338 w 704"/>
                  <a:gd name="T51" fmla="*/ 559 h 706"/>
                  <a:gd name="T52" fmla="*/ 367 w 704"/>
                  <a:gd name="T53" fmla="*/ 559 h 706"/>
                  <a:gd name="T54" fmla="*/ 367 w 704"/>
                  <a:gd name="T55" fmla="*/ 641 h 706"/>
                  <a:gd name="T56" fmla="*/ 338 w 704"/>
                  <a:gd name="T57" fmla="*/ 641 h 706"/>
                  <a:gd name="T58" fmla="*/ 338 w 704"/>
                  <a:gd name="T59" fmla="*/ 559 h 706"/>
                  <a:gd name="T60" fmla="*/ 338 w 704"/>
                  <a:gd name="T61" fmla="*/ 430 h 706"/>
                  <a:gd name="T62" fmla="*/ 367 w 704"/>
                  <a:gd name="T63" fmla="*/ 430 h 706"/>
                  <a:gd name="T64" fmla="*/ 367 w 704"/>
                  <a:gd name="T65" fmla="*/ 503 h 706"/>
                  <a:gd name="T66" fmla="*/ 338 w 704"/>
                  <a:gd name="T67" fmla="*/ 503 h 706"/>
                  <a:gd name="T68" fmla="*/ 338 w 704"/>
                  <a:gd name="T69" fmla="*/ 430 h 706"/>
                  <a:gd name="T70" fmla="*/ 338 w 704"/>
                  <a:gd name="T71" fmla="*/ 323 h 706"/>
                  <a:gd name="T72" fmla="*/ 367 w 704"/>
                  <a:gd name="T73" fmla="*/ 323 h 706"/>
                  <a:gd name="T74" fmla="*/ 367 w 704"/>
                  <a:gd name="T75" fmla="*/ 385 h 706"/>
                  <a:gd name="T76" fmla="*/ 338 w 704"/>
                  <a:gd name="T77" fmla="*/ 385 h 706"/>
                  <a:gd name="T78" fmla="*/ 338 w 704"/>
                  <a:gd name="T79" fmla="*/ 323 h 706"/>
                  <a:gd name="T80" fmla="*/ 338 w 704"/>
                  <a:gd name="T81" fmla="*/ 231 h 706"/>
                  <a:gd name="T82" fmla="*/ 367 w 704"/>
                  <a:gd name="T83" fmla="*/ 231 h 706"/>
                  <a:gd name="T84" fmla="*/ 367 w 704"/>
                  <a:gd name="T85" fmla="*/ 286 h 706"/>
                  <a:gd name="T86" fmla="*/ 338 w 704"/>
                  <a:gd name="T87" fmla="*/ 286 h 706"/>
                  <a:gd name="T88" fmla="*/ 338 w 704"/>
                  <a:gd name="T89" fmla="*/ 231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4" h="706">
                    <a:moveTo>
                      <a:pt x="0" y="0"/>
                    </a:moveTo>
                    <a:lnTo>
                      <a:pt x="0" y="706"/>
                    </a:lnTo>
                    <a:lnTo>
                      <a:pt x="704" y="706"/>
                    </a:lnTo>
                    <a:lnTo>
                      <a:pt x="704" y="0"/>
                    </a:lnTo>
                    <a:lnTo>
                      <a:pt x="0" y="0"/>
                    </a:lnTo>
                    <a:close/>
                    <a:moveTo>
                      <a:pt x="254" y="211"/>
                    </a:moveTo>
                    <a:lnTo>
                      <a:pt x="443" y="211"/>
                    </a:lnTo>
                    <a:lnTo>
                      <a:pt x="665" y="676"/>
                    </a:lnTo>
                    <a:lnTo>
                      <a:pt x="39" y="676"/>
                    </a:lnTo>
                    <a:lnTo>
                      <a:pt x="254" y="211"/>
                    </a:lnTo>
                    <a:close/>
                    <a:moveTo>
                      <a:pt x="31" y="623"/>
                    </a:moveTo>
                    <a:lnTo>
                      <a:pt x="31" y="211"/>
                    </a:lnTo>
                    <a:lnTo>
                      <a:pt x="221" y="211"/>
                    </a:lnTo>
                    <a:lnTo>
                      <a:pt x="31" y="623"/>
                    </a:lnTo>
                    <a:close/>
                    <a:moveTo>
                      <a:pt x="476" y="211"/>
                    </a:moveTo>
                    <a:lnTo>
                      <a:pt x="674" y="211"/>
                    </a:lnTo>
                    <a:lnTo>
                      <a:pt x="674" y="625"/>
                    </a:lnTo>
                    <a:lnTo>
                      <a:pt x="476" y="211"/>
                    </a:lnTo>
                    <a:close/>
                    <a:moveTo>
                      <a:pt x="674" y="30"/>
                    </a:moveTo>
                    <a:lnTo>
                      <a:pt x="674" y="180"/>
                    </a:lnTo>
                    <a:lnTo>
                      <a:pt x="462" y="180"/>
                    </a:lnTo>
                    <a:lnTo>
                      <a:pt x="236" y="180"/>
                    </a:lnTo>
                    <a:lnTo>
                      <a:pt x="31" y="180"/>
                    </a:lnTo>
                    <a:lnTo>
                      <a:pt x="31" y="30"/>
                    </a:lnTo>
                    <a:lnTo>
                      <a:pt x="674" y="30"/>
                    </a:lnTo>
                    <a:close/>
                    <a:moveTo>
                      <a:pt x="338" y="559"/>
                    </a:moveTo>
                    <a:lnTo>
                      <a:pt x="367" y="559"/>
                    </a:lnTo>
                    <a:lnTo>
                      <a:pt x="367" y="641"/>
                    </a:lnTo>
                    <a:lnTo>
                      <a:pt x="338" y="641"/>
                    </a:lnTo>
                    <a:lnTo>
                      <a:pt x="338" y="559"/>
                    </a:lnTo>
                    <a:close/>
                    <a:moveTo>
                      <a:pt x="338" y="430"/>
                    </a:moveTo>
                    <a:lnTo>
                      <a:pt x="367" y="430"/>
                    </a:lnTo>
                    <a:lnTo>
                      <a:pt x="367" y="503"/>
                    </a:lnTo>
                    <a:lnTo>
                      <a:pt x="338" y="503"/>
                    </a:lnTo>
                    <a:lnTo>
                      <a:pt x="338" y="430"/>
                    </a:lnTo>
                    <a:close/>
                    <a:moveTo>
                      <a:pt x="338" y="323"/>
                    </a:moveTo>
                    <a:lnTo>
                      <a:pt x="367" y="323"/>
                    </a:lnTo>
                    <a:lnTo>
                      <a:pt x="367" y="385"/>
                    </a:lnTo>
                    <a:lnTo>
                      <a:pt x="338" y="385"/>
                    </a:lnTo>
                    <a:lnTo>
                      <a:pt x="338" y="323"/>
                    </a:lnTo>
                    <a:close/>
                    <a:moveTo>
                      <a:pt x="338" y="231"/>
                    </a:moveTo>
                    <a:lnTo>
                      <a:pt x="367" y="231"/>
                    </a:lnTo>
                    <a:lnTo>
                      <a:pt x="367" y="286"/>
                    </a:lnTo>
                    <a:lnTo>
                      <a:pt x="338" y="286"/>
                    </a:lnTo>
                    <a:lnTo>
                      <a:pt x="338" y="231"/>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Freeform 109">
                <a:extLst>
                  <a:ext uri="{FF2B5EF4-FFF2-40B4-BE49-F238E27FC236}">
                    <a16:creationId xmlns:a16="http://schemas.microsoft.com/office/drawing/2014/main" id="{58688878-ADA9-4ABB-9934-9904C0CD3858}"/>
                  </a:ext>
                </a:extLst>
              </p:cNvPr>
              <p:cNvSpPr>
                <a:spLocks noChangeAspect="1" noEditPoints="1"/>
              </p:cNvSpPr>
              <p:nvPr/>
            </p:nvSpPr>
            <p:spPr bwMode="auto">
              <a:xfrm>
                <a:off x="6903922" y="5597571"/>
                <a:ext cx="574368" cy="576000"/>
              </a:xfrm>
              <a:custGeom>
                <a:avLst/>
                <a:gdLst>
                  <a:gd name="T0" fmla="*/ 179 w 576"/>
                  <a:gd name="T1" fmla="*/ 576 h 576"/>
                  <a:gd name="T2" fmla="*/ 104 w 576"/>
                  <a:gd name="T3" fmla="*/ 270 h 576"/>
                  <a:gd name="T4" fmla="*/ 329 w 576"/>
                  <a:gd name="T5" fmla="*/ 105 h 576"/>
                  <a:gd name="T6" fmla="*/ 435 w 576"/>
                  <a:gd name="T7" fmla="*/ 337 h 576"/>
                  <a:gd name="T8" fmla="*/ 341 w 576"/>
                  <a:gd name="T9" fmla="*/ 450 h 576"/>
                  <a:gd name="T10" fmla="*/ 576 w 576"/>
                  <a:gd name="T11" fmla="*/ 0 h 576"/>
                  <a:gd name="T12" fmla="*/ 366 w 576"/>
                  <a:gd name="T13" fmla="*/ 551 h 576"/>
                  <a:gd name="T14" fmla="*/ 460 w 576"/>
                  <a:gd name="T15" fmla="*/ 406 h 576"/>
                  <a:gd name="T16" fmla="*/ 508 w 576"/>
                  <a:gd name="T17" fmla="*/ 353 h 576"/>
                  <a:gd name="T18" fmla="*/ 329 w 576"/>
                  <a:gd name="T19" fmla="*/ 80 h 576"/>
                  <a:gd name="T20" fmla="*/ 80 w 576"/>
                  <a:gd name="T21" fmla="*/ 270 h 576"/>
                  <a:gd name="T22" fmla="*/ 25 w 576"/>
                  <a:gd name="T23" fmla="*/ 551 h 576"/>
                  <a:gd name="T24" fmla="*/ 551 w 576"/>
                  <a:gd name="T25" fmla="*/ 551 h 576"/>
                  <a:gd name="T26" fmla="*/ 258 w 576"/>
                  <a:gd name="T27" fmla="*/ 213 h 576"/>
                  <a:gd name="T28" fmla="*/ 248 w 576"/>
                  <a:gd name="T29" fmla="*/ 204 h 576"/>
                  <a:gd name="T30" fmla="*/ 212 w 576"/>
                  <a:gd name="T31" fmla="*/ 204 h 576"/>
                  <a:gd name="T32" fmla="*/ 188 w 576"/>
                  <a:gd name="T33" fmla="*/ 204 h 576"/>
                  <a:gd name="T34" fmla="*/ 150 w 576"/>
                  <a:gd name="T35" fmla="*/ 205 h 576"/>
                  <a:gd name="T36" fmla="*/ 143 w 576"/>
                  <a:gd name="T37" fmla="*/ 212 h 576"/>
                  <a:gd name="T38" fmla="*/ 144 w 576"/>
                  <a:gd name="T39" fmla="*/ 248 h 576"/>
                  <a:gd name="T40" fmla="*/ 144 w 576"/>
                  <a:gd name="T41" fmla="*/ 272 h 576"/>
                  <a:gd name="T42" fmla="*/ 142 w 576"/>
                  <a:gd name="T43" fmla="*/ 307 h 576"/>
                  <a:gd name="T44" fmla="*/ 151 w 576"/>
                  <a:gd name="T45" fmla="*/ 316 h 576"/>
                  <a:gd name="T46" fmla="*/ 188 w 576"/>
                  <a:gd name="T47" fmla="*/ 316 h 576"/>
                  <a:gd name="T48" fmla="*/ 212 w 576"/>
                  <a:gd name="T49" fmla="*/ 316 h 576"/>
                  <a:gd name="T50" fmla="*/ 250 w 576"/>
                  <a:gd name="T51" fmla="*/ 315 h 576"/>
                  <a:gd name="T52" fmla="*/ 257 w 576"/>
                  <a:gd name="T53" fmla="*/ 307 h 576"/>
                  <a:gd name="T54" fmla="*/ 256 w 576"/>
                  <a:gd name="T55" fmla="*/ 272 h 576"/>
                  <a:gd name="T56" fmla="*/ 256 w 576"/>
                  <a:gd name="T57" fmla="*/ 248 h 576"/>
                  <a:gd name="T58" fmla="*/ 200 w 576"/>
                  <a:gd name="T59" fmla="*/ 227 h 576"/>
                  <a:gd name="T60" fmla="*/ 167 w 576"/>
                  <a:gd name="T61" fmla="*/ 260 h 576"/>
                  <a:gd name="T62" fmla="*/ 356 w 576"/>
                  <a:gd name="T63" fmla="*/ 210 h 576"/>
                  <a:gd name="T64" fmla="*/ 365 w 576"/>
                  <a:gd name="T65" fmla="*/ 188 h 576"/>
                  <a:gd name="T66" fmla="*/ 368 w 576"/>
                  <a:gd name="T67" fmla="*/ 151 h 576"/>
                  <a:gd name="T68" fmla="*/ 355 w 576"/>
                  <a:gd name="T69" fmla="*/ 138 h 576"/>
                  <a:gd name="T70" fmla="*/ 318 w 576"/>
                  <a:gd name="T71" fmla="*/ 140 h 576"/>
                  <a:gd name="T72" fmla="*/ 295 w 576"/>
                  <a:gd name="T73" fmla="*/ 150 h 576"/>
                  <a:gd name="T74" fmla="*/ 268 w 576"/>
                  <a:gd name="T75" fmla="*/ 172 h 576"/>
                  <a:gd name="T76" fmla="*/ 268 w 576"/>
                  <a:gd name="T77" fmla="*/ 191 h 576"/>
                  <a:gd name="T78" fmla="*/ 295 w 576"/>
                  <a:gd name="T79" fmla="*/ 216 h 576"/>
                  <a:gd name="T80" fmla="*/ 317 w 576"/>
                  <a:gd name="T81" fmla="*/ 226 h 576"/>
                  <a:gd name="T82" fmla="*/ 332 w 576"/>
                  <a:gd name="T83" fmla="*/ 237 h 576"/>
                  <a:gd name="T84" fmla="*/ 306 w 576"/>
                  <a:gd name="T85" fmla="*/ 190 h 576"/>
                  <a:gd name="T86" fmla="*/ 323 w 576"/>
                  <a:gd name="T87" fmla="*/ 165 h 576"/>
                  <a:gd name="T88" fmla="*/ 339 w 576"/>
                  <a:gd name="T89" fmla="*/ 19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576">
                    <a:moveTo>
                      <a:pt x="0" y="0"/>
                    </a:moveTo>
                    <a:cubicBezTo>
                      <a:pt x="0" y="576"/>
                      <a:pt x="0" y="576"/>
                      <a:pt x="0" y="576"/>
                    </a:cubicBezTo>
                    <a:cubicBezTo>
                      <a:pt x="179" y="576"/>
                      <a:pt x="179" y="576"/>
                      <a:pt x="179" y="576"/>
                    </a:cubicBezTo>
                    <a:cubicBezTo>
                      <a:pt x="179" y="411"/>
                      <a:pt x="179" y="411"/>
                      <a:pt x="179" y="411"/>
                    </a:cubicBezTo>
                    <a:cubicBezTo>
                      <a:pt x="174" y="407"/>
                      <a:pt x="174" y="407"/>
                      <a:pt x="174" y="407"/>
                    </a:cubicBezTo>
                    <a:cubicBezTo>
                      <a:pt x="130" y="375"/>
                      <a:pt x="104" y="324"/>
                      <a:pt x="104" y="270"/>
                    </a:cubicBezTo>
                    <a:cubicBezTo>
                      <a:pt x="104" y="191"/>
                      <a:pt x="166" y="120"/>
                      <a:pt x="248" y="104"/>
                    </a:cubicBezTo>
                    <a:cubicBezTo>
                      <a:pt x="248" y="104"/>
                      <a:pt x="263" y="100"/>
                      <a:pt x="285" y="100"/>
                    </a:cubicBezTo>
                    <a:cubicBezTo>
                      <a:pt x="311" y="100"/>
                      <a:pt x="329" y="105"/>
                      <a:pt x="329" y="105"/>
                    </a:cubicBezTo>
                    <a:cubicBezTo>
                      <a:pt x="420" y="126"/>
                      <a:pt x="448" y="216"/>
                      <a:pt x="478" y="311"/>
                    </a:cubicBezTo>
                    <a:cubicBezTo>
                      <a:pt x="481" y="320"/>
                      <a:pt x="484" y="329"/>
                      <a:pt x="486" y="337"/>
                    </a:cubicBezTo>
                    <a:cubicBezTo>
                      <a:pt x="435" y="337"/>
                      <a:pt x="435" y="337"/>
                      <a:pt x="435" y="337"/>
                    </a:cubicBezTo>
                    <a:cubicBezTo>
                      <a:pt x="435" y="406"/>
                      <a:pt x="435" y="406"/>
                      <a:pt x="435" y="406"/>
                    </a:cubicBezTo>
                    <a:cubicBezTo>
                      <a:pt x="435" y="430"/>
                      <a:pt x="415" y="450"/>
                      <a:pt x="391" y="450"/>
                    </a:cubicBezTo>
                    <a:cubicBezTo>
                      <a:pt x="341" y="450"/>
                      <a:pt x="341" y="450"/>
                      <a:pt x="341" y="450"/>
                    </a:cubicBezTo>
                    <a:cubicBezTo>
                      <a:pt x="341" y="576"/>
                      <a:pt x="341" y="576"/>
                      <a:pt x="341" y="576"/>
                    </a:cubicBezTo>
                    <a:cubicBezTo>
                      <a:pt x="576" y="576"/>
                      <a:pt x="576" y="576"/>
                      <a:pt x="576" y="576"/>
                    </a:cubicBezTo>
                    <a:cubicBezTo>
                      <a:pt x="576" y="0"/>
                      <a:pt x="576" y="0"/>
                      <a:pt x="576" y="0"/>
                    </a:cubicBezTo>
                    <a:lnTo>
                      <a:pt x="0" y="0"/>
                    </a:lnTo>
                    <a:close/>
                    <a:moveTo>
                      <a:pt x="551" y="551"/>
                    </a:moveTo>
                    <a:cubicBezTo>
                      <a:pt x="366" y="551"/>
                      <a:pt x="366" y="551"/>
                      <a:pt x="366" y="551"/>
                    </a:cubicBezTo>
                    <a:cubicBezTo>
                      <a:pt x="366" y="474"/>
                      <a:pt x="366" y="474"/>
                      <a:pt x="366" y="474"/>
                    </a:cubicBezTo>
                    <a:cubicBezTo>
                      <a:pt x="391" y="474"/>
                      <a:pt x="391" y="474"/>
                      <a:pt x="391" y="474"/>
                    </a:cubicBezTo>
                    <a:cubicBezTo>
                      <a:pt x="429" y="474"/>
                      <a:pt x="460" y="444"/>
                      <a:pt x="460" y="406"/>
                    </a:cubicBezTo>
                    <a:cubicBezTo>
                      <a:pt x="460" y="362"/>
                      <a:pt x="460" y="362"/>
                      <a:pt x="460" y="362"/>
                    </a:cubicBezTo>
                    <a:cubicBezTo>
                      <a:pt x="490" y="362"/>
                      <a:pt x="490" y="362"/>
                      <a:pt x="490" y="362"/>
                    </a:cubicBezTo>
                    <a:cubicBezTo>
                      <a:pt x="497" y="362"/>
                      <a:pt x="504" y="359"/>
                      <a:pt x="508" y="353"/>
                    </a:cubicBezTo>
                    <a:cubicBezTo>
                      <a:pt x="512" y="348"/>
                      <a:pt x="513" y="340"/>
                      <a:pt x="511" y="334"/>
                    </a:cubicBezTo>
                    <a:cubicBezTo>
                      <a:pt x="508" y="324"/>
                      <a:pt x="505" y="314"/>
                      <a:pt x="502" y="304"/>
                    </a:cubicBezTo>
                    <a:cubicBezTo>
                      <a:pt x="470" y="204"/>
                      <a:pt x="438" y="102"/>
                      <a:pt x="329" y="80"/>
                    </a:cubicBezTo>
                    <a:cubicBezTo>
                      <a:pt x="329" y="80"/>
                      <a:pt x="310" y="75"/>
                      <a:pt x="290" y="75"/>
                    </a:cubicBezTo>
                    <a:cubicBezTo>
                      <a:pt x="269" y="75"/>
                      <a:pt x="248" y="79"/>
                      <a:pt x="248" y="79"/>
                    </a:cubicBezTo>
                    <a:cubicBezTo>
                      <a:pt x="153" y="96"/>
                      <a:pt x="80" y="178"/>
                      <a:pt x="80" y="270"/>
                    </a:cubicBezTo>
                    <a:cubicBezTo>
                      <a:pt x="80" y="330"/>
                      <a:pt x="107" y="387"/>
                      <a:pt x="154" y="423"/>
                    </a:cubicBezTo>
                    <a:cubicBezTo>
                      <a:pt x="154" y="551"/>
                      <a:pt x="154" y="551"/>
                      <a:pt x="154" y="551"/>
                    </a:cubicBezTo>
                    <a:cubicBezTo>
                      <a:pt x="25" y="551"/>
                      <a:pt x="25" y="551"/>
                      <a:pt x="25" y="551"/>
                    </a:cubicBezTo>
                    <a:cubicBezTo>
                      <a:pt x="25" y="24"/>
                      <a:pt x="25" y="24"/>
                      <a:pt x="25" y="24"/>
                    </a:cubicBezTo>
                    <a:cubicBezTo>
                      <a:pt x="551" y="24"/>
                      <a:pt x="551" y="24"/>
                      <a:pt x="551" y="24"/>
                    </a:cubicBezTo>
                    <a:lnTo>
                      <a:pt x="551" y="551"/>
                    </a:lnTo>
                    <a:close/>
                    <a:moveTo>
                      <a:pt x="255" y="243"/>
                    </a:moveTo>
                    <a:cubicBezTo>
                      <a:pt x="270" y="234"/>
                      <a:pt x="270" y="234"/>
                      <a:pt x="270" y="234"/>
                    </a:cubicBezTo>
                    <a:cubicBezTo>
                      <a:pt x="258" y="213"/>
                      <a:pt x="258" y="213"/>
                      <a:pt x="258" y="213"/>
                    </a:cubicBezTo>
                    <a:cubicBezTo>
                      <a:pt x="243" y="222"/>
                      <a:pt x="243" y="222"/>
                      <a:pt x="243" y="222"/>
                    </a:cubicBezTo>
                    <a:cubicBezTo>
                      <a:pt x="242" y="221"/>
                      <a:pt x="241" y="219"/>
                      <a:pt x="239" y="218"/>
                    </a:cubicBezTo>
                    <a:cubicBezTo>
                      <a:pt x="248" y="204"/>
                      <a:pt x="248" y="204"/>
                      <a:pt x="248" y="204"/>
                    </a:cubicBezTo>
                    <a:cubicBezTo>
                      <a:pt x="227" y="191"/>
                      <a:pt x="227" y="191"/>
                      <a:pt x="227" y="191"/>
                    </a:cubicBezTo>
                    <a:cubicBezTo>
                      <a:pt x="218" y="206"/>
                      <a:pt x="218" y="206"/>
                      <a:pt x="218" y="206"/>
                    </a:cubicBezTo>
                    <a:cubicBezTo>
                      <a:pt x="216" y="205"/>
                      <a:pt x="214" y="204"/>
                      <a:pt x="212" y="204"/>
                    </a:cubicBezTo>
                    <a:cubicBezTo>
                      <a:pt x="212" y="187"/>
                      <a:pt x="212" y="187"/>
                      <a:pt x="212" y="187"/>
                    </a:cubicBezTo>
                    <a:cubicBezTo>
                      <a:pt x="188" y="187"/>
                      <a:pt x="188" y="187"/>
                      <a:pt x="188" y="187"/>
                    </a:cubicBezTo>
                    <a:cubicBezTo>
                      <a:pt x="188" y="204"/>
                      <a:pt x="188" y="204"/>
                      <a:pt x="188" y="204"/>
                    </a:cubicBezTo>
                    <a:cubicBezTo>
                      <a:pt x="185" y="204"/>
                      <a:pt x="183" y="205"/>
                      <a:pt x="180" y="206"/>
                    </a:cubicBezTo>
                    <a:cubicBezTo>
                      <a:pt x="171" y="192"/>
                      <a:pt x="171" y="192"/>
                      <a:pt x="171" y="192"/>
                    </a:cubicBezTo>
                    <a:cubicBezTo>
                      <a:pt x="150" y="205"/>
                      <a:pt x="150" y="205"/>
                      <a:pt x="150" y="205"/>
                    </a:cubicBezTo>
                    <a:cubicBezTo>
                      <a:pt x="159" y="219"/>
                      <a:pt x="159" y="219"/>
                      <a:pt x="159" y="219"/>
                    </a:cubicBezTo>
                    <a:cubicBezTo>
                      <a:pt x="159" y="220"/>
                      <a:pt x="158" y="221"/>
                      <a:pt x="158" y="221"/>
                    </a:cubicBezTo>
                    <a:cubicBezTo>
                      <a:pt x="143" y="212"/>
                      <a:pt x="143" y="212"/>
                      <a:pt x="143" y="212"/>
                    </a:cubicBezTo>
                    <a:cubicBezTo>
                      <a:pt x="130" y="234"/>
                      <a:pt x="130" y="234"/>
                      <a:pt x="130" y="234"/>
                    </a:cubicBezTo>
                    <a:cubicBezTo>
                      <a:pt x="145" y="242"/>
                      <a:pt x="145" y="242"/>
                      <a:pt x="145" y="242"/>
                    </a:cubicBezTo>
                    <a:cubicBezTo>
                      <a:pt x="145" y="244"/>
                      <a:pt x="144" y="246"/>
                      <a:pt x="144" y="248"/>
                    </a:cubicBezTo>
                    <a:cubicBezTo>
                      <a:pt x="127" y="248"/>
                      <a:pt x="127" y="248"/>
                      <a:pt x="127" y="248"/>
                    </a:cubicBezTo>
                    <a:cubicBezTo>
                      <a:pt x="127" y="272"/>
                      <a:pt x="127" y="272"/>
                      <a:pt x="127" y="272"/>
                    </a:cubicBezTo>
                    <a:cubicBezTo>
                      <a:pt x="144" y="272"/>
                      <a:pt x="144" y="272"/>
                      <a:pt x="144" y="272"/>
                    </a:cubicBezTo>
                    <a:cubicBezTo>
                      <a:pt x="144" y="274"/>
                      <a:pt x="145" y="275"/>
                      <a:pt x="145" y="277"/>
                    </a:cubicBezTo>
                    <a:cubicBezTo>
                      <a:pt x="130" y="285"/>
                      <a:pt x="130" y="285"/>
                      <a:pt x="130" y="285"/>
                    </a:cubicBezTo>
                    <a:cubicBezTo>
                      <a:pt x="142" y="307"/>
                      <a:pt x="142" y="307"/>
                      <a:pt x="142" y="307"/>
                    </a:cubicBezTo>
                    <a:cubicBezTo>
                      <a:pt x="157" y="298"/>
                      <a:pt x="157" y="298"/>
                      <a:pt x="157" y="298"/>
                    </a:cubicBezTo>
                    <a:cubicBezTo>
                      <a:pt x="158" y="299"/>
                      <a:pt x="159" y="300"/>
                      <a:pt x="160" y="301"/>
                    </a:cubicBezTo>
                    <a:cubicBezTo>
                      <a:pt x="151" y="316"/>
                      <a:pt x="151" y="316"/>
                      <a:pt x="151" y="316"/>
                    </a:cubicBezTo>
                    <a:cubicBezTo>
                      <a:pt x="172" y="329"/>
                      <a:pt x="172" y="329"/>
                      <a:pt x="172" y="329"/>
                    </a:cubicBezTo>
                    <a:cubicBezTo>
                      <a:pt x="181" y="314"/>
                      <a:pt x="181" y="314"/>
                      <a:pt x="181" y="314"/>
                    </a:cubicBezTo>
                    <a:cubicBezTo>
                      <a:pt x="183" y="315"/>
                      <a:pt x="186" y="316"/>
                      <a:pt x="188" y="316"/>
                    </a:cubicBezTo>
                    <a:cubicBezTo>
                      <a:pt x="188" y="333"/>
                      <a:pt x="188" y="333"/>
                      <a:pt x="188" y="333"/>
                    </a:cubicBezTo>
                    <a:cubicBezTo>
                      <a:pt x="212" y="333"/>
                      <a:pt x="212" y="333"/>
                      <a:pt x="212" y="333"/>
                    </a:cubicBezTo>
                    <a:cubicBezTo>
                      <a:pt x="212" y="316"/>
                      <a:pt x="212" y="316"/>
                      <a:pt x="212" y="316"/>
                    </a:cubicBezTo>
                    <a:cubicBezTo>
                      <a:pt x="215" y="315"/>
                      <a:pt x="217" y="315"/>
                      <a:pt x="220" y="314"/>
                    </a:cubicBezTo>
                    <a:cubicBezTo>
                      <a:pt x="229" y="328"/>
                      <a:pt x="229" y="328"/>
                      <a:pt x="229" y="328"/>
                    </a:cubicBezTo>
                    <a:cubicBezTo>
                      <a:pt x="250" y="315"/>
                      <a:pt x="250" y="315"/>
                      <a:pt x="250" y="315"/>
                    </a:cubicBezTo>
                    <a:cubicBezTo>
                      <a:pt x="240" y="301"/>
                      <a:pt x="240" y="301"/>
                      <a:pt x="240" y="301"/>
                    </a:cubicBezTo>
                    <a:cubicBezTo>
                      <a:pt x="241" y="300"/>
                      <a:pt x="242" y="299"/>
                      <a:pt x="242" y="299"/>
                    </a:cubicBezTo>
                    <a:cubicBezTo>
                      <a:pt x="257" y="307"/>
                      <a:pt x="257" y="307"/>
                      <a:pt x="257" y="307"/>
                    </a:cubicBezTo>
                    <a:cubicBezTo>
                      <a:pt x="270" y="286"/>
                      <a:pt x="270" y="286"/>
                      <a:pt x="270" y="286"/>
                    </a:cubicBezTo>
                    <a:cubicBezTo>
                      <a:pt x="255" y="278"/>
                      <a:pt x="255" y="278"/>
                      <a:pt x="255" y="278"/>
                    </a:cubicBezTo>
                    <a:cubicBezTo>
                      <a:pt x="255" y="276"/>
                      <a:pt x="256" y="274"/>
                      <a:pt x="256" y="272"/>
                    </a:cubicBezTo>
                    <a:cubicBezTo>
                      <a:pt x="273" y="272"/>
                      <a:pt x="273" y="272"/>
                      <a:pt x="273" y="272"/>
                    </a:cubicBezTo>
                    <a:cubicBezTo>
                      <a:pt x="273" y="248"/>
                      <a:pt x="273" y="248"/>
                      <a:pt x="273" y="248"/>
                    </a:cubicBezTo>
                    <a:cubicBezTo>
                      <a:pt x="256" y="248"/>
                      <a:pt x="256" y="248"/>
                      <a:pt x="256" y="248"/>
                    </a:cubicBezTo>
                    <a:cubicBezTo>
                      <a:pt x="256" y="246"/>
                      <a:pt x="255" y="245"/>
                      <a:pt x="255" y="243"/>
                    </a:cubicBezTo>
                    <a:close/>
                    <a:moveTo>
                      <a:pt x="167" y="260"/>
                    </a:moveTo>
                    <a:cubicBezTo>
                      <a:pt x="167" y="242"/>
                      <a:pt x="182" y="227"/>
                      <a:pt x="200" y="227"/>
                    </a:cubicBezTo>
                    <a:cubicBezTo>
                      <a:pt x="218" y="227"/>
                      <a:pt x="233" y="242"/>
                      <a:pt x="233" y="260"/>
                    </a:cubicBezTo>
                    <a:cubicBezTo>
                      <a:pt x="233" y="278"/>
                      <a:pt x="218" y="293"/>
                      <a:pt x="200" y="293"/>
                    </a:cubicBezTo>
                    <a:cubicBezTo>
                      <a:pt x="182" y="293"/>
                      <a:pt x="167" y="278"/>
                      <a:pt x="167" y="260"/>
                    </a:cubicBezTo>
                    <a:close/>
                    <a:moveTo>
                      <a:pt x="355" y="228"/>
                    </a:moveTo>
                    <a:cubicBezTo>
                      <a:pt x="350" y="216"/>
                      <a:pt x="350" y="216"/>
                      <a:pt x="350" y="216"/>
                    </a:cubicBezTo>
                    <a:cubicBezTo>
                      <a:pt x="352" y="214"/>
                      <a:pt x="354" y="212"/>
                      <a:pt x="356" y="210"/>
                    </a:cubicBezTo>
                    <a:cubicBezTo>
                      <a:pt x="367" y="215"/>
                      <a:pt x="367" y="215"/>
                      <a:pt x="367" y="215"/>
                    </a:cubicBezTo>
                    <a:cubicBezTo>
                      <a:pt x="377" y="193"/>
                      <a:pt x="377" y="193"/>
                      <a:pt x="377" y="193"/>
                    </a:cubicBezTo>
                    <a:cubicBezTo>
                      <a:pt x="365" y="188"/>
                      <a:pt x="365" y="188"/>
                      <a:pt x="365" y="188"/>
                    </a:cubicBezTo>
                    <a:cubicBezTo>
                      <a:pt x="366" y="185"/>
                      <a:pt x="366" y="182"/>
                      <a:pt x="365" y="179"/>
                    </a:cubicBezTo>
                    <a:cubicBezTo>
                      <a:pt x="377" y="174"/>
                      <a:pt x="377" y="174"/>
                      <a:pt x="377" y="174"/>
                    </a:cubicBezTo>
                    <a:cubicBezTo>
                      <a:pt x="368" y="151"/>
                      <a:pt x="368" y="151"/>
                      <a:pt x="368" y="151"/>
                    </a:cubicBezTo>
                    <a:cubicBezTo>
                      <a:pt x="356" y="156"/>
                      <a:pt x="356" y="156"/>
                      <a:pt x="356" y="156"/>
                    </a:cubicBezTo>
                    <a:cubicBezTo>
                      <a:pt x="354" y="154"/>
                      <a:pt x="352" y="152"/>
                      <a:pt x="350" y="150"/>
                    </a:cubicBezTo>
                    <a:cubicBezTo>
                      <a:pt x="355" y="138"/>
                      <a:pt x="355" y="138"/>
                      <a:pt x="355" y="138"/>
                    </a:cubicBezTo>
                    <a:cubicBezTo>
                      <a:pt x="333" y="128"/>
                      <a:pt x="333" y="128"/>
                      <a:pt x="333" y="128"/>
                    </a:cubicBezTo>
                    <a:cubicBezTo>
                      <a:pt x="327" y="140"/>
                      <a:pt x="327" y="140"/>
                      <a:pt x="327" y="140"/>
                    </a:cubicBezTo>
                    <a:cubicBezTo>
                      <a:pt x="324" y="140"/>
                      <a:pt x="321" y="140"/>
                      <a:pt x="318" y="140"/>
                    </a:cubicBezTo>
                    <a:cubicBezTo>
                      <a:pt x="313" y="128"/>
                      <a:pt x="313" y="128"/>
                      <a:pt x="313" y="128"/>
                    </a:cubicBezTo>
                    <a:cubicBezTo>
                      <a:pt x="290" y="137"/>
                      <a:pt x="290" y="137"/>
                      <a:pt x="290" y="137"/>
                    </a:cubicBezTo>
                    <a:cubicBezTo>
                      <a:pt x="295" y="150"/>
                      <a:pt x="295" y="150"/>
                      <a:pt x="295" y="150"/>
                    </a:cubicBezTo>
                    <a:cubicBezTo>
                      <a:pt x="293" y="151"/>
                      <a:pt x="292" y="153"/>
                      <a:pt x="290" y="155"/>
                    </a:cubicBezTo>
                    <a:cubicBezTo>
                      <a:pt x="278" y="150"/>
                      <a:pt x="278" y="150"/>
                      <a:pt x="278" y="150"/>
                    </a:cubicBezTo>
                    <a:cubicBezTo>
                      <a:pt x="268" y="172"/>
                      <a:pt x="268" y="172"/>
                      <a:pt x="268" y="172"/>
                    </a:cubicBezTo>
                    <a:cubicBezTo>
                      <a:pt x="280" y="178"/>
                      <a:pt x="280" y="178"/>
                      <a:pt x="280" y="178"/>
                    </a:cubicBezTo>
                    <a:cubicBezTo>
                      <a:pt x="280" y="181"/>
                      <a:pt x="280" y="183"/>
                      <a:pt x="280" y="186"/>
                    </a:cubicBezTo>
                    <a:cubicBezTo>
                      <a:pt x="268" y="191"/>
                      <a:pt x="268" y="191"/>
                      <a:pt x="268" y="191"/>
                    </a:cubicBezTo>
                    <a:cubicBezTo>
                      <a:pt x="277" y="214"/>
                      <a:pt x="277" y="214"/>
                      <a:pt x="277" y="214"/>
                    </a:cubicBezTo>
                    <a:cubicBezTo>
                      <a:pt x="289" y="209"/>
                      <a:pt x="289" y="209"/>
                      <a:pt x="289" y="209"/>
                    </a:cubicBezTo>
                    <a:cubicBezTo>
                      <a:pt x="290" y="212"/>
                      <a:pt x="293" y="214"/>
                      <a:pt x="295" y="216"/>
                    </a:cubicBezTo>
                    <a:cubicBezTo>
                      <a:pt x="290" y="227"/>
                      <a:pt x="290" y="227"/>
                      <a:pt x="290" y="227"/>
                    </a:cubicBezTo>
                    <a:cubicBezTo>
                      <a:pt x="312" y="237"/>
                      <a:pt x="312" y="237"/>
                      <a:pt x="312" y="237"/>
                    </a:cubicBezTo>
                    <a:cubicBezTo>
                      <a:pt x="317" y="226"/>
                      <a:pt x="317" y="226"/>
                      <a:pt x="317" y="226"/>
                    </a:cubicBezTo>
                    <a:cubicBezTo>
                      <a:pt x="319" y="226"/>
                      <a:pt x="321" y="226"/>
                      <a:pt x="323" y="226"/>
                    </a:cubicBezTo>
                    <a:cubicBezTo>
                      <a:pt x="324" y="226"/>
                      <a:pt x="326" y="226"/>
                      <a:pt x="327" y="226"/>
                    </a:cubicBezTo>
                    <a:cubicBezTo>
                      <a:pt x="332" y="237"/>
                      <a:pt x="332" y="237"/>
                      <a:pt x="332" y="237"/>
                    </a:cubicBezTo>
                    <a:lnTo>
                      <a:pt x="355" y="228"/>
                    </a:lnTo>
                    <a:close/>
                    <a:moveTo>
                      <a:pt x="315" y="200"/>
                    </a:moveTo>
                    <a:cubicBezTo>
                      <a:pt x="311" y="198"/>
                      <a:pt x="307" y="194"/>
                      <a:pt x="306" y="190"/>
                    </a:cubicBezTo>
                    <a:cubicBezTo>
                      <a:pt x="304" y="185"/>
                      <a:pt x="304" y="180"/>
                      <a:pt x="306" y="176"/>
                    </a:cubicBezTo>
                    <a:cubicBezTo>
                      <a:pt x="308" y="171"/>
                      <a:pt x="311" y="168"/>
                      <a:pt x="316" y="166"/>
                    </a:cubicBezTo>
                    <a:cubicBezTo>
                      <a:pt x="318" y="165"/>
                      <a:pt x="320" y="165"/>
                      <a:pt x="323" y="165"/>
                    </a:cubicBezTo>
                    <a:cubicBezTo>
                      <a:pt x="325" y="165"/>
                      <a:pt x="327" y="165"/>
                      <a:pt x="330" y="166"/>
                    </a:cubicBezTo>
                    <a:cubicBezTo>
                      <a:pt x="334" y="168"/>
                      <a:pt x="338" y="172"/>
                      <a:pt x="340" y="176"/>
                    </a:cubicBezTo>
                    <a:cubicBezTo>
                      <a:pt x="341" y="181"/>
                      <a:pt x="341" y="186"/>
                      <a:pt x="339" y="190"/>
                    </a:cubicBezTo>
                    <a:cubicBezTo>
                      <a:pt x="337" y="195"/>
                      <a:pt x="334" y="198"/>
                      <a:pt x="329" y="200"/>
                    </a:cubicBezTo>
                    <a:cubicBezTo>
                      <a:pt x="325" y="202"/>
                      <a:pt x="320" y="202"/>
                      <a:pt x="315" y="200"/>
                    </a:cubicBez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187" name="Freeform 113">
                <a:extLst>
                  <a:ext uri="{FF2B5EF4-FFF2-40B4-BE49-F238E27FC236}">
                    <a16:creationId xmlns:a16="http://schemas.microsoft.com/office/drawing/2014/main" id="{8AB926AF-2F7B-4BA1-AF19-FC7F37D7B0C6}"/>
                  </a:ext>
                </a:extLst>
              </p:cNvPr>
              <p:cNvSpPr>
                <a:spLocks noChangeAspect="1" noEditPoints="1"/>
              </p:cNvSpPr>
              <p:nvPr/>
            </p:nvSpPr>
            <p:spPr bwMode="auto">
              <a:xfrm>
                <a:off x="6243122" y="3843115"/>
                <a:ext cx="574368" cy="576000"/>
              </a:xfrm>
              <a:custGeom>
                <a:avLst/>
                <a:gdLst>
                  <a:gd name="T0" fmla="*/ 0 w 576"/>
                  <a:gd name="T1" fmla="*/ 576 h 576"/>
                  <a:gd name="T2" fmla="*/ 576 w 576"/>
                  <a:gd name="T3" fmla="*/ 0 h 576"/>
                  <a:gd name="T4" fmla="*/ 25 w 576"/>
                  <a:gd name="T5" fmla="*/ 524 h 576"/>
                  <a:gd name="T6" fmla="*/ 300 w 576"/>
                  <a:gd name="T7" fmla="*/ 303 h 576"/>
                  <a:gd name="T8" fmla="*/ 25 w 576"/>
                  <a:gd name="T9" fmla="*/ 551 h 576"/>
                  <a:gd name="T10" fmla="*/ 318 w 576"/>
                  <a:gd name="T11" fmla="*/ 203 h 576"/>
                  <a:gd name="T12" fmla="*/ 385 w 576"/>
                  <a:gd name="T13" fmla="*/ 246 h 576"/>
                  <a:gd name="T14" fmla="*/ 376 w 576"/>
                  <a:gd name="T15" fmla="*/ 261 h 576"/>
                  <a:gd name="T16" fmla="*/ 470 w 576"/>
                  <a:gd name="T17" fmla="*/ 446 h 576"/>
                  <a:gd name="T18" fmla="*/ 331 w 576"/>
                  <a:gd name="T19" fmla="*/ 300 h 576"/>
                  <a:gd name="T20" fmla="*/ 290 w 576"/>
                  <a:gd name="T21" fmla="*/ 259 h 576"/>
                  <a:gd name="T22" fmla="*/ 286 w 576"/>
                  <a:gd name="T23" fmla="*/ 235 h 576"/>
                  <a:gd name="T24" fmla="*/ 283 w 576"/>
                  <a:gd name="T25" fmla="*/ 232 h 576"/>
                  <a:gd name="T26" fmla="*/ 314 w 576"/>
                  <a:gd name="T27" fmla="*/ 200 h 576"/>
                  <a:gd name="T28" fmla="*/ 318 w 576"/>
                  <a:gd name="T29" fmla="*/ 203 h 576"/>
                  <a:gd name="T30" fmla="*/ 372 w 576"/>
                  <a:gd name="T31" fmla="*/ 177 h 576"/>
                  <a:gd name="T32" fmla="*/ 388 w 576"/>
                  <a:gd name="T33" fmla="*/ 215 h 576"/>
                  <a:gd name="T34" fmla="*/ 551 w 576"/>
                  <a:gd name="T35" fmla="*/ 551 h 576"/>
                  <a:gd name="T36" fmla="*/ 317 w 576"/>
                  <a:gd name="T37" fmla="*/ 320 h 576"/>
                  <a:gd name="T38" fmla="*/ 339 w 576"/>
                  <a:gd name="T39" fmla="*/ 323 h 576"/>
                  <a:gd name="T40" fmla="*/ 470 w 576"/>
                  <a:gd name="T41" fmla="*/ 471 h 576"/>
                  <a:gd name="T42" fmla="*/ 495 w 576"/>
                  <a:gd name="T43" fmla="*/ 442 h 576"/>
                  <a:gd name="T44" fmla="*/ 409 w 576"/>
                  <a:gd name="T45" fmla="*/ 246 h 576"/>
                  <a:gd name="T46" fmla="*/ 416 w 576"/>
                  <a:gd name="T47" fmla="*/ 221 h 576"/>
                  <a:gd name="T48" fmla="*/ 416 w 576"/>
                  <a:gd name="T49" fmla="*/ 186 h 576"/>
                  <a:gd name="T50" fmla="*/ 372 w 576"/>
                  <a:gd name="T51" fmla="*/ 142 h 576"/>
                  <a:gd name="T52" fmla="*/ 343 w 576"/>
                  <a:gd name="T53" fmla="*/ 171 h 576"/>
                  <a:gd name="T54" fmla="*/ 317 w 576"/>
                  <a:gd name="T55" fmla="*/ 170 h 576"/>
                  <a:gd name="T56" fmla="*/ 129 w 576"/>
                  <a:gd name="T57" fmla="*/ 81 h 576"/>
                  <a:gd name="T58" fmla="*/ 115 w 576"/>
                  <a:gd name="T59" fmla="*/ 125 h 576"/>
                  <a:gd name="T60" fmla="*/ 256 w 576"/>
                  <a:gd name="T61" fmla="*/ 259 h 576"/>
                  <a:gd name="T62" fmla="*/ 25 w 576"/>
                  <a:gd name="T63" fmla="*/ 24 h 576"/>
                  <a:gd name="T64" fmla="*/ 551 w 576"/>
                  <a:gd name="T65"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25" y="524"/>
                    </a:moveTo>
                    <a:cubicBezTo>
                      <a:pt x="273" y="276"/>
                      <a:pt x="273" y="276"/>
                      <a:pt x="273" y="276"/>
                    </a:cubicBezTo>
                    <a:cubicBezTo>
                      <a:pt x="300" y="303"/>
                      <a:pt x="300" y="303"/>
                      <a:pt x="300" y="303"/>
                    </a:cubicBezTo>
                    <a:cubicBezTo>
                      <a:pt x="51" y="551"/>
                      <a:pt x="51" y="551"/>
                      <a:pt x="51" y="551"/>
                    </a:cubicBezTo>
                    <a:cubicBezTo>
                      <a:pt x="25" y="551"/>
                      <a:pt x="25" y="551"/>
                      <a:pt x="25" y="551"/>
                    </a:cubicBezTo>
                    <a:lnTo>
                      <a:pt x="25" y="524"/>
                    </a:lnTo>
                    <a:close/>
                    <a:moveTo>
                      <a:pt x="318" y="203"/>
                    </a:moveTo>
                    <a:cubicBezTo>
                      <a:pt x="329" y="191"/>
                      <a:pt x="329" y="191"/>
                      <a:pt x="329" y="191"/>
                    </a:cubicBezTo>
                    <a:cubicBezTo>
                      <a:pt x="385" y="246"/>
                      <a:pt x="385" y="246"/>
                      <a:pt x="385" y="246"/>
                    </a:cubicBezTo>
                    <a:cubicBezTo>
                      <a:pt x="373" y="258"/>
                      <a:pt x="373" y="258"/>
                      <a:pt x="373" y="258"/>
                    </a:cubicBezTo>
                    <a:cubicBezTo>
                      <a:pt x="374" y="259"/>
                      <a:pt x="375" y="260"/>
                      <a:pt x="376" y="261"/>
                    </a:cubicBezTo>
                    <a:cubicBezTo>
                      <a:pt x="376" y="261"/>
                      <a:pt x="376" y="261"/>
                      <a:pt x="376" y="261"/>
                    </a:cubicBezTo>
                    <a:cubicBezTo>
                      <a:pt x="454" y="354"/>
                      <a:pt x="470" y="446"/>
                      <a:pt x="470" y="446"/>
                    </a:cubicBezTo>
                    <a:cubicBezTo>
                      <a:pt x="470" y="446"/>
                      <a:pt x="409" y="362"/>
                      <a:pt x="341" y="290"/>
                    </a:cubicBezTo>
                    <a:cubicBezTo>
                      <a:pt x="331" y="300"/>
                      <a:pt x="331" y="300"/>
                      <a:pt x="331" y="300"/>
                    </a:cubicBezTo>
                    <a:cubicBezTo>
                      <a:pt x="290" y="259"/>
                      <a:pt x="290" y="259"/>
                      <a:pt x="290" y="259"/>
                    </a:cubicBezTo>
                    <a:cubicBezTo>
                      <a:pt x="290" y="259"/>
                      <a:pt x="290" y="259"/>
                      <a:pt x="290" y="259"/>
                    </a:cubicBezTo>
                    <a:cubicBezTo>
                      <a:pt x="276" y="245"/>
                      <a:pt x="276" y="245"/>
                      <a:pt x="276" y="245"/>
                    </a:cubicBezTo>
                    <a:cubicBezTo>
                      <a:pt x="286" y="235"/>
                      <a:pt x="286" y="235"/>
                      <a:pt x="286" y="235"/>
                    </a:cubicBezTo>
                    <a:cubicBezTo>
                      <a:pt x="285" y="234"/>
                      <a:pt x="284" y="233"/>
                      <a:pt x="283" y="232"/>
                    </a:cubicBezTo>
                    <a:cubicBezTo>
                      <a:pt x="283" y="232"/>
                      <a:pt x="283" y="232"/>
                      <a:pt x="283" y="232"/>
                    </a:cubicBezTo>
                    <a:cubicBezTo>
                      <a:pt x="211" y="165"/>
                      <a:pt x="129" y="106"/>
                      <a:pt x="129" y="106"/>
                    </a:cubicBezTo>
                    <a:cubicBezTo>
                      <a:pt x="129" y="106"/>
                      <a:pt x="222" y="122"/>
                      <a:pt x="314" y="200"/>
                    </a:cubicBezTo>
                    <a:cubicBezTo>
                      <a:pt x="314" y="200"/>
                      <a:pt x="314" y="200"/>
                      <a:pt x="314" y="200"/>
                    </a:cubicBezTo>
                    <a:cubicBezTo>
                      <a:pt x="316" y="201"/>
                      <a:pt x="317" y="202"/>
                      <a:pt x="318" y="203"/>
                    </a:cubicBezTo>
                    <a:close/>
                    <a:moveTo>
                      <a:pt x="361" y="188"/>
                    </a:moveTo>
                    <a:cubicBezTo>
                      <a:pt x="372" y="177"/>
                      <a:pt x="372" y="177"/>
                      <a:pt x="372" y="177"/>
                    </a:cubicBezTo>
                    <a:cubicBezTo>
                      <a:pt x="399" y="204"/>
                      <a:pt x="399" y="204"/>
                      <a:pt x="399" y="204"/>
                    </a:cubicBezTo>
                    <a:cubicBezTo>
                      <a:pt x="388" y="215"/>
                      <a:pt x="388" y="215"/>
                      <a:pt x="388" y="215"/>
                    </a:cubicBezTo>
                    <a:lnTo>
                      <a:pt x="361" y="188"/>
                    </a:lnTo>
                    <a:close/>
                    <a:moveTo>
                      <a:pt x="551" y="551"/>
                    </a:moveTo>
                    <a:cubicBezTo>
                      <a:pt x="86" y="551"/>
                      <a:pt x="86" y="551"/>
                      <a:pt x="86" y="551"/>
                    </a:cubicBezTo>
                    <a:cubicBezTo>
                      <a:pt x="317" y="320"/>
                      <a:pt x="317" y="320"/>
                      <a:pt x="317" y="320"/>
                    </a:cubicBezTo>
                    <a:cubicBezTo>
                      <a:pt x="321" y="323"/>
                      <a:pt x="326" y="325"/>
                      <a:pt x="331" y="325"/>
                    </a:cubicBezTo>
                    <a:cubicBezTo>
                      <a:pt x="334" y="325"/>
                      <a:pt x="336" y="324"/>
                      <a:pt x="339" y="323"/>
                    </a:cubicBezTo>
                    <a:cubicBezTo>
                      <a:pt x="398" y="390"/>
                      <a:pt x="450" y="460"/>
                      <a:pt x="451" y="461"/>
                    </a:cubicBezTo>
                    <a:cubicBezTo>
                      <a:pt x="455" y="467"/>
                      <a:pt x="463" y="471"/>
                      <a:pt x="470" y="471"/>
                    </a:cubicBezTo>
                    <a:cubicBezTo>
                      <a:pt x="474" y="471"/>
                      <a:pt x="477" y="470"/>
                      <a:pt x="480" y="469"/>
                    </a:cubicBezTo>
                    <a:cubicBezTo>
                      <a:pt x="491" y="465"/>
                      <a:pt x="497" y="453"/>
                      <a:pt x="495" y="442"/>
                    </a:cubicBezTo>
                    <a:cubicBezTo>
                      <a:pt x="494" y="438"/>
                      <a:pt x="478" y="351"/>
                      <a:pt x="406" y="259"/>
                    </a:cubicBezTo>
                    <a:cubicBezTo>
                      <a:pt x="408" y="255"/>
                      <a:pt x="409" y="251"/>
                      <a:pt x="409" y="246"/>
                    </a:cubicBezTo>
                    <a:cubicBezTo>
                      <a:pt x="409" y="242"/>
                      <a:pt x="408" y="237"/>
                      <a:pt x="405" y="233"/>
                    </a:cubicBezTo>
                    <a:cubicBezTo>
                      <a:pt x="416" y="221"/>
                      <a:pt x="416" y="221"/>
                      <a:pt x="416" y="221"/>
                    </a:cubicBezTo>
                    <a:cubicBezTo>
                      <a:pt x="434" y="204"/>
                      <a:pt x="434" y="204"/>
                      <a:pt x="434" y="204"/>
                    </a:cubicBezTo>
                    <a:cubicBezTo>
                      <a:pt x="416" y="186"/>
                      <a:pt x="416" y="186"/>
                      <a:pt x="416" y="186"/>
                    </a:cubicBezTo>
                    <a:cubicBezTo>
                      <a:pt x="389" y="160"/>
                      <a:pt x="389" y="160"/>
                      <a:pt x="389" y="160"/>
                    </a:cubicBezTo>
                    <a:cubicBezTo>
                      <a:pt x="372" y="142"/>
                      <a:pt x="372" y="142"/>
                      <a:pt x="372" y="142"/>
                    </a:cubicBezTo>
                    <a:cubicBezTo>
                      <a:pt x="355" y="160"/>
                      <a:pt x="355" y="160"/>
                      <a:pt x="355" y="160"/>
                    </a:cubicBezTo>
                    <a:cubicBezTo>
                      <a:pt x="343" y="171"/>
                      <a:pt x="343" y="171"/>
                      <a:pt x="343" y="171"/>
                    </a:cubicBezTo>
                    <a:cubicBezTo>
                      <a:pt x="339" y="168"/>
                      <a:pt x="334" y="167"/>
                      <a:pt x="329" y="167"/>
                    </a:cubicBezTo>
                    <a:cubicBezTo>
                      <a:pt x="325" y="167"/>
                      <a:pt x="321" y="168"/>
                      <a:pt x="317" y="170"/>
                    </a:cubicBezTo>
                    <a:cubicBezTo>
                      <a:pt x="225" y="98"/>
                      <a:pt x="138" y="82"/>
                      <a:pt x="134" y="81"/>
                    </a:cubicBezTo>
                    <a:cubicBezTo>
                      <a:pt x="132" y="81"/>
                      <a:pt x="131" y="81"/>
                      <a:pt x="129" y="81"/>
                    </a:cubicBezTo>
                    <a:cubicBezTo>
                      <a:pt x="120" y="81"/>
                      <a:pt x="111" y="87"/>
                      <a:pt x="107" y="96"/>
                    </a:cubicBezTo>
                    <a:cubicBezTo>
                      <a:pt x="102" y="106"/>
                      <a:pt x="106" y="119"/>
                      <a:pt x="115" y="125"/>
                    </a:cubicBezTo>
                    <a:cubicBezTo>
                      <a:pt x="116" y="126"/>
                      <a:pt x="186" y="178"/>
                      <a:pt x="252" y="237"/>
                    </a:cubicBezTo>
                    <a:cubicBezTo>
                      <a:pt x="250" y="244"/>
                      <a:pt x="251" y="252"/>
                      <a:pt x="256" y="259"/>
                    </a:cubicBezTo>
                    <a:cubicBezTo>
                      <a:pt x="25" y="490"/>
                      <a:pt x="25" y="490"/>
                      <a:pt x="25" y="490"/>
                    </a:cubicBezTo>
                    <a:cubicBezTo>
                      <a:pt x="25" y="24"/>
                      <a:pt x="25" y="24"/>
                      <a:pt x="25" y="24"/>
                    </a:cubicBezTo>
                    <a:cubicBezTo>
                      <a:pt x="551" y="24"/>
                      <a:pt x="551" y="24"/>
                      <a:pt x="551" y="24"/>
                    </a:cubicBezTo>
                    <a:lnTo>
                      <a:pt x="551" y="551"/>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1600">
                  <a:solidFill>
                    <a:schemeClr val="tx2"/>
                  </a:solidFill>
                </a:endParaRPr>
              </a:p>
            </p:txBody>
          </p:sp>
          <p:cxnSp>
            <p:nvCxnSpPr>
              <p:cNvPr id="396" name="Straight Connector 421">
                <a:extLst>
                  <a:ext uri="{FF2B5EF4-FFF2-40B4-BE49-F238E27FC236}">
                    <a16:creationId xmlns:a16="http://schemas.microsoft.com/office/drawing/2014/main" id="{06DE5794-9DD3-4494-ACC5-207F4C21DAE4}"/>
                  </a:ext>
                </a:extLst>
              </p:cNvPr>
              <p:cNvCxnSpPr>
                <a:cxnSpLocks/>
              </p:cNvCxnSpPr>
              <p:nvPr/>
            </p:nvCxnSpPr>
            <p:spPr>
              <a:xfrm>
                <a:off x="6693036" y="5209530"/>
                <a:ext cx="1188000" cy="64378"/>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sp>
            <p:nvSpPr>
              <p:cNvPr id="392" name="Oval 391">
                <a:extLst>
                  <a:ext uri="{FF2B5EF4-FFF2-40B4-BE49-F238E27FC236}">
                    <a16:creationId xmlns:a16="http://schemas.microsoft.com/office/drawing/2014/main" id="{F48ACF95-73B0-4DCF-9847-9594D7280FDF}"/>
                  </a:ext>
                </a:extLst>
              </p:cNvPr>
              <p:cNvSpPr/>
              <p:nvPr/>
            </p:nvSpPr>
            <p:spPr>
              <a:xfrm flipH="1">
                <a:off x="7858042" y="4415490"/>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394" name="Oval 393">
                <a:extLst>
                  <a:ext uri="{FF2B5EF4-FFF2-40B4-BE49-F238E27FC236}">
                    <a16:creationId xmlns:a16="http://schemas.microsoft.com/office/drawing/2014/main" id="{B932417E-3B61-4B5F-BA51-F1B04627B4E8}"/>
                  </a:ext>
                </a:extLst>
              </p:cNvPr>
              <p:cNvSpPr/>
              <p:nvPr/>
            </p:nvSpPr>
            <p:spPr>
              <a:xfrm flipH="1">
                <a:off x="7858042" y="5209530"/>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395" name="Oval 394">
                <a:extLst>
                  <a:ext uri="{FF2B5EF4-FFF2-40B4-BE49-F238E27FC236}">
                    <a16:creationId xmlns:a16="http://schemas.microsoft.com/office/drawing/2014/main" id="{647AC13A-E1C8-4290-92EB-DD89A7F82BA3}"/>
                  </a:ext>
                </a:extLst>
              </p:cNvPr>
              <p:cNvSpPr/>
              <p:nvPr/>
            </p:nvSpPr>
            <p:spPr>
              <a:xfrm flipH="1">
                <a:off x="7865743" y="6226797"/>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432" name="Freeform 13">
                <a:extLst>
                  <a:ext uri="{FF2B5EF4-FFF2-40B4-BE49-F238E27FC236}">
                    <a16:creationId xmlns:a16="http://schemas.microsoft.com/office/drawing/2014/main" id="{40790CEE-F4C1-4E46-98A9-3A85C19ACED2}"/>
                  </a:ext>
                </a:extLst>
              </p:cNvPr>
              <p:cNvSpPr>
                <a:spLocks noEditPoints="1"/>
              </p:cNvSpPr>
              <p:nvPr/>
            </p:nvSpPr>
            <p:spPr bwMode="auto">
              <a:xfrm>
                <a:off x="7026480" y="4368377"/>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sp>
            <p:nvSpPr>
              <p:cNvPr id="433" name="Freeform 13">
                <a:extLst>
                  <a:ext uri="{FF2B5EF4-FFF2-40B4-BE49-F238E27FC236}">
                    <a16:creationId xmlns:a16="http://schemas.microsoft.com/office/drawing/2014/main" id="{A9BB422B-C4D1-436B-A07A-6EF4508C7A39}"/>
                  </a:ext>
                </a:extLst>
              </p:cNvPr>
              <p:cNvSpPr>
                <a:spLocks noEditPoints="1"/>
              </p:cNvSpPr>
              <p:nvPr/>
            </p:nvSpPr>
            <p:spPr bwMode="auto">
              <a:xfrm>
                <a:off x="6012246" y="6230594"/>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grpSp>
        <p:sp>
          <p:nvSpPr>
            <p:cNvPr id="391" name="Oval 390">
              <a:extLst>
                <a:ext uri="{FF2B5EF4-FFF2-40B4-BE49-F238E27FC236}">
                  <a16:creationId xmlns:a16="http://schemas.microsoft.com/office/drawing/2014/main" id="{2CE7920D-2A7A-47DC-AD36-26280DDEF9CF}"/>
                </a:ext>
              </a:extLst>
            </p:cNvPr>
            <p:cNvSpPr/>
            <p:nvPr/>
          </p:nvSpPr>
          <p:spPr>
            <a:xfrm flipH="1">
              <a:off x="7875014" y="3581010"/>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grpSp>
      <p:grpSp>
        <p:nvGrpSpPr>
          <p:cNvPr id="12" name="Ομάδα 11">
            <a:extLst>
              <a:ext uri="{FF2B5EF4-FFF2-40B4-BE49-F238E27FC236}">
                <a16:creationId xmlns:a16="http://schemas.microsoft.com/office/drawing/2014/main" id="{E906A699-DA7F-4E86-A33D-758AB9D26571}"/>
              </a:ext>
            </a:extLst>
          </p:cNvPr>
          <p:cNvGrpSpPr/>
          <p:nvPr/>
        </p:nvGrpSpPr>
        <p:grpSpPr>
          <a:xfrm>
            <a:off x="4975563" y="1250097"/>
            <a:ext cx="6510819" cy="2237659"/>
            <a:chOff x="4975563" y="1250097"/>
            <a:chExt cx="6510819" cy="2237659"/>
          </a:xfrm>
        </p:grpSpPr>
        <p:sp>
          <p:nvSpPr>
            <p:cNvPr id="47" name="Rectangle 46"/>
            <p:cNvSpPr/>
            <p:nvPr/>
          </p:nvSpPr>
          <p:spPr>
            <a:xfrm>
              <a:off x="7971314" y="1370044"/>
              <a:ext cx="3515068" cy="170613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lvl="0" algn="l" defTabSz="622300">
                <a:lnSpc>
                  <a:spcPct val="90000"/>
                </a:lnSpc>
                <a:spcBef>
                  <a:spcPct val="0"/>
                </a:spcBef>
                <a:spcAft>
                  <a:spcPct val="35000"/>
                </a:spcAft>
              </a:pPr>
              <a:r>
                <a:rPr lang="el-GR" sz="1600" b="1" kern="1200" dirty="0">
                  <a:solidFill>
                    <a:schemeClr val="accent2">
                      <a:lumMod val="50000"/>
                    </a:schemeClr>
                  </a:solidFill>
                </a:rPr>
                <a:t>Οικονομία</a:t>
              </a:r>
            </a:p>
            <a:p>
              <a:pPr lvl="0" algn="l" defTabSz="622300">
                <a:lnSpc>
                  <a:spcPct val="100000"/>
                </a:lnSpc>
                <a:spcBef>
                  <a:spcPct val="0"/>
                </a:spcBef>
                <a:spcAft>
                  <a:spcPct val="35000"/>
                </a:spcAft>
              </a:pPr>
              <a:r>
                <a:rPr lang="el-GR" sz="1600" b="0" kern="1200" dirty="0">
                  <a:solidFill>
                    <a:schemeClr val="tx1"/>
                  </a:solidFill>
                </a:rPr>
                <a:t>3.3 Προσέλκυση </a:t>
              </a:r>
              <a:r>
                <a:rPr lang="el-GR" sz="1600" b="1" kern="1200" dirty="0">
                  <a:solidFill>
                    <a:schemeClr val="tx1"/>
                  </a:solidFill>
                </a:rPr>
                <a:t>επενδύσεων</a:t>
              </a:r>
              <a:r>
                <a:rPr lang="el-GR" sz="1600" b="0" kern="1200" dirty="0">
                  <a:solidFill>
                    <a:schemeClr val="tx1"/>
                  </a:solidFill>
                </a:rPr>
                <a:t> και ενίσχυση παρουσίας στις διεθνείς αλυσίδες αξίας</a:t>
              </a:r>
              <a:endParaRPr lang="en-US" sz="1600" b="0" kern="1200" dirty="0">
                <a:solidFill>
                  <a:schemeClr val="tx1"/>
                </a:solidFill>
              </a:endParaRPr>
            </a:p>
            <a:p>
              <a:pPr lvl="0" algn="l" defTabSz="622300">
                <a:lnSpc>
                  <a:spcPct val="100000"/>
                </a:lnSpc>
                <a:spcBef>
                  <a:spcPct val="0"/>
                </a:spcBef>
                <a:spcAft>
                  <a:spcPct val="35000"/>
                </a:spcAft>
              </a:pPr>
              <a:r>
                <a:rPr lang="el-GR" sz="1600" b="0" kern="1200" dirty="0">
                  <a:solidFill>
                    <a:schemeClr val="tx1"/>
                  </a:solidFill>
                </a:rPr>
                <a:t>3.4 Ενίσχυση </a:t>
              </a:r>
              <a:r>
                <a:rPr lang="el-GR" sz="1600" b="1" kern="1200" dirty="0">
                  <a:solidFill>
                    <a:schemeClr val="tx1"/>
                  </a:solidFill>
                </a:rPr>
                <a:t>εξαγωγών</a:t>
              </a:r>
              <a:endParaRPr lang="en-US" sz="1600" b="1" kern="1200" dirty="0">
                <a:solidFill>
                  <a:schemeClr val="tx1"/>
                </a:solidFill>
              </a:endParaRPr>
            </a:p>
          </p:txBody>
        </p:sp>
        <p:grpSp>
          <p:nvGrpSpPr>
            <p:cNvPr id="10" name="Ομάδα 9">
              <a:extLst>
                <a:ext uri="{FF2B5EF4-FFF2-40B4-BE49-F238E27FC236}">
                  <a16:creationId xmlns:a16="http://schemas.microsoft.com/office/drawing/2014/main" id="{34C74C00-BA12-47FE-BBD8-4399D2921096}"/>
                </a:ext>
              </a:extLst>
            </p:cNvPr>
            <p:cNvGrpSpPr/>
            <p:nvPr/>
          </p:nvGrpSpPr>
          <p:grpSpPr>
            <a:xfrm>
              <a:off x="4975563" y="1250097"/>
              <a:ext cx="6089188" cy="2237659"/>
              <a:chOff x="4975563" y="1250097"/>
              <a:chExt cx="6089188" cy="2237659"/>
            </a:xfrm>
          </p:grpSpPr>
          <p:sp>
            <p:nvSpPr>
              <p:cNvPr id="37" name="Straight Connector 36"/>
              <p:cNvSpPr/>
              <p:nvPr/>
            </p:nvSpPr>
            <p:spPr>
              <a:xfrm rot="5400000">
                <a:off x="5510487" y="1931552"/>
                <a:ext cx="1406022" cy="1584000"/>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cxnSp>
            <p:nvCxnSpPr>
              <p:cNvPr id="209" name="Straight Connector 401">
                <a:extLst>
                  <a:ext uri="{FF2B5EF4-FFF2-40B4-BE49-F238E27FC236}">
                    <a16:creationId xmlns:a16="http://schemas.microsoft.com/office/drawing/2014/main" id="{9219A88A-0EDB-4FCF-9AB9-BC78EBC1AFB9}"/>
                  </a:ext>
                </a:extLst>
              </p:cNvPr>
              <p:cNvCxnSpPr/>
              <p:nvPr/>
            </p:nvCxnSpPr>
            <p:spPr>
              <a:xfrm flipH="1">
                <a:off x="5670117" y="3089532"/>
                <a:ext cx="474711" cy="156838"/>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08" name="Straight Connector 400">
                <a:extLst>
                  <a:ext uri="{FF2B5EF4-FFF2-40B4-BE49-F238E27FC236}">
                    <a16:creationId xmlns:a16="http://schemas.microsoft.com/office/drawing/2014/main" id="{485E1F41-4EA7-4830-99F2-0CA9B2B17528}"/>
                  </a:ext>
                </a:extLst>
              </p:cNvPr>
              <p:cNvCxnSpPr>
                <a:cxnSpLocks/>
              </p:cNvCxnSpPr>
              <p:nvPr/>
            </p:nvCxnSpPr>
            <p:spPr>
              <a:xfrm flipH="1">
                <a:off x="5489940" y="2397927"/>
                <a:ext cx="504859" cy="810966"/>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99">
                <a:extLst>
                  <a:ext uri="{FF2B5EF4-FFF2-40B4-BE49-F238E27FC236}">
                    <a16:creationId xmlns:a16="http://schemas.microsoft.com/office/drawing/2014/main" id="{81A99256-A4A4-4B41-8177-4DDA689BAD80}"/>
                  </a:ext>
                </a:extLst>
              </p:cNvPr>
              <p:cNvCxnSpPr>
                <a:cxnSpLocks/>
                <a:endCxn id="188" idx="11"/>
              </p:cNvCxnSpPr>
              <p:nvPr/>
            </p:nvCxnSpPr>
            <p:spPr>
              <a:xfrm>
                <a:off x="5266222" y="1894837"/>
                <a:ext cx="557545" cy="143523"/>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sp>
            <p:nvSpPr>
              <p:cNvPr id="36" name="Straight Connector 35"/>
              <p:cNvSpPr/>
              <p:nvPr/>
            </p:nvSpPr>
            <p:spPr>
              <a:xfrm flipV="1">
                <a:off x="7002067" y="1974935"/>
                <a:ext cx="907349" cy="45719"/>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sp>
            <p:nvSpPr>
              <p:cNvPr id="46" name="Rectangle 45"/>
              <p:cNvSpPr/>
              <p:nvPr/>
            </p:nvSpPr>
            <p:spPr>
              <a:xfrm>
                <a:off x="7971315" y="1333468"/>
                <a:ext cx="3093436" cy="165595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cxnSp>
            <p:nvCxnSpPr>
              <p:cNvPr id="222" name="Straight Connector 414">
                <a:extLst>
                  <a:ext uri="{FF2B5EF4-FFF2-40B4-BE49-F238E27FC236}">
                    <a16:creationId xmlns:a16="http://schemas.microsoft.com/office/drawing/2014/main" id="{F4596DE0-5983-443A-9111-10EDDC58DA84}"/>
                  </a:ext>
                </a:extLst>
              </p:cNvPr>
              <p:cNvCxnSpPr>
                <a:cxnSpLocks/>
              </p:cNvCxnSpPr>
              <p:nvPr/>
            </p:nvCxnSpPr>
            <p:spPr>
              <a:xfrm flipV="1">
                <a:off x="6083625" y="1462695"/>
                <a:ext cx="764019" cy="362719"/>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24" name="Straight Connector 416">
                <a:extLst>
                  <a:ext uri="{FF2B5EF4-FFF2-40B4-BE49-F238E27FC236}">
                    <a16:creationId xmlns:a16="http://schemas.microsoft.com/office/drawing/2014/main" id="{3B8D280C-E79B-4931-8F3B-EC4AAC38D18E}"/>
                  </a:ext>
                </a:extLst>
              </p:cNvPr>
              <p:cNvCxnSpPr/>
              <p:nvPr/>
            </p:nvCxnSpPr>
            <p:spPr>
              <a:xfrm>
                <a:off x="6724094" y="3121874"/>
                <a:ext cx="215166" cy="96153"/>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sp>
            <p:nvSpPr>
              <p:cNvPr id="173" name="Straight Connector 40">
                <a:extLst>
                  <a:ext uri="{FF2B5EF4-FFF2-40B4-BE49-F238E27FC236}">
                    <a16:creationId xmlns:a16="http://schemas.microsoft.com/office/drawing/2014/main" id="{287B4E43-0D7D-47F5-AF7E-91B1845B7313}"/>
                  </a:ext>
                </a:extLst>
              </p:cNvPr>
              <p:cNvSpPr/>
              <p:nvPr/>
            </p:nvSpPr>
            <p:spPr>
              <a:xfrm rot="5400000">
                <a:off x="7202535" y="2241827"/>
                <a:ext cx="240662" cy="1233199"/>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sp>
            <p:nvSpPr>
              <p:cNvPr id="188" name="Graphic 66">
                <a:extLst>
                  <a:ext uri="{FF2B5EF4-FFF2-40B4-BE49-F238E27FC236}">
                    <a16:creationId xmlns:a16="http://schemas.microsoft.com/office/drawing/2014/main" id="{E12D6460-EE97-4D99-A8F7-6535E76A1297}"/>
                  </a:ext>
                </a:extLst>
              </p:cNvPr>
              <p:cNvSpPr/>
              <p:nvPr/>
            </p:nvSpPr>
            <p:spPr>
              <a:xfrm>
                <a:off x="5751047" y="1826080"/>
                <a:ext cx="576000" cy="576000"/>
              </a:xfrm>
              <a:custGeom>
                <a:avLst/>
                <a:gdLst>
                  <a:gd name="connsiteX0" fmla="*/ 417386 w 457199"/>
                  <a:gd name="connsiteY0" fmla="*/ 97885 h 457200"/>
                  <a:gd name="connsiteX1" fmla="*/ 86360 w 457199"/>
                  <a:gd name="connsiteY1" fmla="*/ 97885 h 457200"/>
                  <a:gd name="connsiteX2" fmla="*/ 86360 w 457199"/>
                  <a:gd name="connsiteY2" fmla="*/ 149225 h 457200"/>
                  <a:gd name="connsiteX3" fmla="*/ 38513 w 457199"/>
                  <a:gd name="connsiteY3" fmla="*/ 149225 h 457200"/>
                  <a:gd name="connsiteX4" fmla="*/ 38513 w 457199"/>
                  <a:gd name="connsiteY4" fmla="*/ 334423 h 457200"/>
                  <a:gd name="connsiteX5" fmla="*/ 266319 w 457199"/>
                  <a:gd name="connsiteY5" fmla="*/ 334423 h 457200"/>
                  <a:gd name="connsiteX6" fmla="*/ 266319 w 457199"/>
                  <a:gd name="connsiteY6" fmla="*/ 358553 h 457200"/>
                  <a:gd name="connsiteX7" fmla="*/ 326644 w 457199"/>
                  <a:gd name="connsiteY7" fmla="*/ 394430 h 457200"/>
                  <a:gd name="connsiteX8" fmla="*/ 386779 w 457199"/>
                  <a:gd name="connsiteY8" fmla="*/ 358553 h 457200"/>
                  <a:gd name="connsiteX9" fmla="*/ 386779 w 457199"/>
                  <a:gd name="connsiteY9" fmla="*/ 283083 h 457200"/>
                  <a:gd name="connsiteX10" fmla="*/ 417544 w 457199"/>
                  <a:gd name="connsiteY10" fmla="*/ 283083 h 457200"/>
                  <a:gd name="connsiteX11" fmla="*/ 57721 w 457199"/>
                  <a:gd name="connsiteY11" fmla="*/ 168497 h 457200"/>
                  <a:gd name="connsiteX12" fmla="*/ 350076 w 457199"/>
                  <a:gd name="connsiteY12" fmla="*/ 168497 h 457200"/>
                  <a:gd name="connsiteX13" fmla="*/ 350076 w 457199"/>
                  <a:gd name="connsiteY13" fmla="*/ 228822 h 457200"/>
                  <a:gd name="connsiteX14" fmla="*/ 326485 w 457199"/>
                  <a:gd name="connsiteY14" fmla="*/ 226060 h 457200"/>
                  <a:gd name="connsiteX15" fmla="*/ 266160 w 457199"/>
                  <a:gd name="connsiteY15" fmla="*/ 261938 h 457200"/>
                  <a:gd name="connsiteX16" fmla="*/ 266160 w 457199"/>
                  <a:gd name="connsiteY16" fmla="*/ 314960 h 457200"/>
                  <a:gd name="connsiteX17" fmla="*/ 57721 w 457199"/>
                  <a:gd name="connsiteY17" fmla="*/ 314960 h 457200"/>
                  <a:gd name="connsiteX18" fmla="*/ 370999 w 457199"/>
                  <a:gd name="connsiteY18" fmla="*/ 262001 h 457200"/>
                  <a:gd name="connsiteX19" fmla="*/ 326549 w 457199"/>
                  <a:gd name="connsiteY19" fmla="*/ 282258 h 457200"/>
                  <a:gd name="connsiteX20" fmla="*/ 282099 w 457199"/>
                  <a:gd name="connsiteY20" fmla="*/ 262001 h 457200"/>
                  <a:gd name="connsiteX21" fmla="*/ 326549 w 457199"/>
                  <a:gd name="connsiteY21" fmla="*/ 241745 h 457200"/>
                  <a:gd name="connsiteX22" fmla="*/ 370999 w 457199"/>
                  <a:gd name="connsiteY22" fmla="*/ 262001 h 457200"/>
                  <a:gd name="connsiteX23" fmla="*/ 326549 w 457199"/>
                  <a:gd name="connsiteY23" fmla="*/ 378746 h 457200"/>
                  <a:gd name="connsiteX24" fmla="*/ 282099 w 457199"/>
                  <a:gd name="connsiteY24" fmla="*/ 358489 h 457200"/>
                  <a:gd name="connsiteX25" fmla="*/ 282099 w 457199"/>
                  <a:gd name="connsiteY25" fmla="*/ 350203 h 457200"/>
                  <a:gd name="connsiteX26" fmla="*/ 326549 w 457199"/>
                  <a:gd name="connsiteY26" fmla="*/ 361760 h 457200"/>
                  <a:gd name="connsiteX27" fmla="*/ 370999 w 457199"/>
                  <a:gd name="connsiteY27" fmla="*/ 350203 h 457200"/>
                  <a:gd name="connsiteX28" fmla="*/ 370999 w 457199"/>
                  <a:gd name="connsiteY28" fmla="*/ 358489 h 457200"/>
                  <a:gd name="connsiteX29" fmla="*/ 326485 w 457199"/>
                  <a:gd name="connsiteY29" fmla="*/ 378746 h 457200"/>
                  <a:gd name="connsiteX30" fmla="*/ 326549 w 457199"/>
                  <a:gd name="connsiteY30" fmla="*/ 346139 h 457200"/>
                  <a:gd name="connsiteX31" fmla="*/ 282099 w 457199"/>
                  <a:gd name="connsiteY31" fmla="*/ 325882 h 457200"/>
                  <a:gd name="connsiteX32" fmla="*/ 282099 w 457199"/>
                  <a:gd name="connsiteY32" fmla="*/ 318992 h 457200"/>
                  <a:gd name="connsiteX33" fmla="*/ 326549 w 457199"/>
                  <a:gd name="connsiteY33" fmla="*/ 330581 h 457200"/>
                  <a:gd name="connsiteX34" fmla="*/ 370999 w 457199"/>
                  <a:gd name="connsiteY34" fmla="*/ 318992 h 457200"/>
                  <a:gd name="connsiteX35" fmla="*/ 370999 w 457199"/>
                  <a:gd name="connsiteY35" fmla="*/ 325882 h 457200"/>
                  <a:gd name="connsiteX36" fmla="*/ 326485 w 457199"/>
                  <a:gd name="connsiteY36" fmla="*/ 346075 h 457200"/>
                  <a:gd name="connsiteX37" fmla="*/ 326549 w 457199"/>
                  <a:gd name="connsiteY37" fmla="*/ 314960 h 457200"/>
                  <a:gd name="connsiteX38" fmla="*/ 282099 w 457199"/>
                  <a:gd name="connsiteY38" fmla="*/ 294704 h 457200"/>
                  <a:gd name="connsiteX39" fmla="*/ 282099 w 457199"/>
                  <a:gd name="connsiteY39" fmla="*/ 286290 h 457200"/>
                  <a:gd name="connsiteX40" fmla="*/ 326549 w 457199"/>
                  <a:gd name="connsiteY40" fmla="*/ 297879 h 457200"/>
                  <a:gd name="connsiteX41" fmla="*/ 370999 w 457199"/>
                  <a:gd name="connsiteY41" fmla="*/ 286290 h 457200"/>
                  <a:gd name="connsiteX42" fmla="*/ 370999 w 457199"/>
                  <a:gd name="connsiteY42" fmla="*/ 294704 h 457200"/>
                  <a:gd name="connsiteX43" fmla="*/ 326485 w 457199"/>
                  <a:gd name="connsiteY43" fmla="*/ 314960 h 457200"/>
                  <a:gd name="connsiteX44" fmla="*/ 398113 w 457199"/>
                  <a:gd name="connsiteY44" fmla="*/ 263747 h 457200"/>
                  <a:gd name="connsiteX45" fmla="*/ 386683 w 457199"/>
                  <a:gd name="connsiteY45" fmla="*/ 263747 h 457200"/>
                  <a:gd name="connsiteX46" fmla="*/ 386683 w 457199"/>
                  <a:gd name="connsiteY46" fmla="*/ 262001 h 457200"/>
                  <a:gd name="connsiteX47" fmla="*/ 369475 w 457199"/>
                  <a:gd name="connsiteY47" fmla="*/ 236601 h 457200"/>
                  <a:gd name="connsiteX48" fmla="*/ 369475 w 457199"/>
                  <a:gd name="connsiteY48" fmla="*/ 149225 h 457200"/>
                  <a:gd name="connsiteX49" fmla="*/ 105950 w 457199"/>
                  <a:gd name="connsiteY49" fmla="*/ 149225 h 457200"/>
                  <a:gd name="connsiteX50" fmla="*/ 105950 w 457199"/>
                  <a:gd name="connsiteY50" fmla="*/ 117221 h 457200"/>
                  <a:gd name="connsiteX51" fmla="*/ 398272 w 457199"/>
                  <a:gd name="connsiteY51" fmla="*/ 117221 h 457200"/>
                  <a:gd name="connsiteX52" fmla="*/ 203898 w 457199"/>
                  <a:gd name="connsiteY52" fmla="*/ 181832 h 457200"/>
                  <a:gd name="connsiteX53" fmla="*/ 158782 w 457199"/>
                  <a:gd name="connsiteY53" fmla="*/ 241776 h 457200"/>
                  <a:gd name="connsiteX54" fmla="*/ 203898 w 457199"/>
                  <a:gd name="connsiteY54" fmla="*/ 301625 h 457200"/>
                  <a:gd name="connsiteX55" fmla="*/ 249015 w 457199"/>
                  <a:gd name="connsiteY55" fmla="*/ 241776 h 457200"/>
                  <a:gd name="connsiteX56" fmla="*/ 203898 w 457199"/>
                  <a:gd name="connsiteY56" fmla="*/ 181832 h 457200"/>
                  <a:gd name="connsiteX57" fmla="*/ 203898 w 457199"/>
                  <a:gd name="connsiteY57" fmla="*/ 284131 h 457200"/>
                  <a:gd name="connsiteX58" fmla="*/ 176371 w 457199"/>
                  <a:gd name="connsiteY58" fmla="*/ 241776 h 457200"/>
                  <a:gd name="connsiteX59" fmla="*/ 203898 w 457199"/>
                  <a:gd name="connsiteY59" fmla="*/ 199422 h 457200"/>
                  <a:gd name="connsiteX60" fmla="*/ 231426 w 457199"/>
                  <a:gd name="connsiteY60" fmla="*/ 241776 h 457200"/>
                  <a:gd name="connsiteX61" fmla="*/ 203898 w 457199"/>
                  <a:gd name="connsiteY61" fmla="*/ 284131 h 457200"/>
                  <a:gd name="connsiteX62" fmla="*/ 0 w 457199"/>
                  <a:gd name="connsiteY62" fmla="*/ 0 h 457200"/>
                  <a:gd name="connsiteX63" fmla="*/ 0 w 457199"/>
                  <a:gd name="connsiteY63" fmla="*/ 457200 h 457200"/>
                  <a:gd name="connsiteX64" fmla="*/ 457200 w 457199"/>
                  <a:gd name="connsiteY64" fmla="*/ 457200 h 457200"/>
                  <a:gd name="connsiteX65" fmla="*/ 457200 w 457199"/>
                  <a:gd name="connsiteY65" fmla="*/ 0 h 457200"/>
                  <a:gd name="connsiteX66" fmla="*/ 437706 w 457199"/>
                  <a:gd name="connsiteY66" fmla="*/ 437706 h 457200"/>
                  <a:gd name="connsiteX67" fmla="*/ 19463 w 457199"/>
                  <a:gd name="connsiteY67" fmla="*/ 437706 h 457200"/>
                  <a:gd name="connsiteX68" fmla="*/ 19463 w 457199"/>
                  <a:gd name="connsiteY68" fmla="*/ 19495 h 457200"/>
                  <a:gd name="connsiteX69" fmla="*/ 437706 w 457199"/>
                  <a:gd name="connsiteY69"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57199" h="457200">
                    <a:moveTo>
                      <a:pt x="417386" y="97885"/>
                    </a:moveTo>
                    <a:lnTo>
                      <a:pt x="86360" y="97885"/>
                    </a:lnTo>
                    <a:lnTo>
                      <a:pt x="86360" y="149225"/>
                    </a:lnTo>
                    <a:lnTo>
                      <a:pt x="38513" y="149225"/>
                    </a:lnTo>
                    <a:lnTo>
                      <a:pt x="38513" y="334423"/>
                    </a:lnTo>
                    <a:lnTo>
                      <a:pt x="266319" y="334423"/>
                    </a:lnTo>
                    <a:lnTo>
                      <a:pt x="266319" y="358553"/>
                    </a:lnTo>
                    <a:cubicBezTo>
                      <a:pt x="266319" y="378682"/>
                      <a:pt x="292767" y="394430"/>
                      <a:pt x="326644" y="394430"/>
                    </a:cubicBezTo>
                    <a:cubicBezTo>
                      <a:pt x="360521" y="394430"/>
                      <a:pt x="386779" y="378555"/>
                      <a:pt x="386779" y="358553"/>
                    </a:cubicBezTo>
                    <a:lnTo>
                      <a:pt x="386779" y="283083"/>
                    </a:lnTo>
                    <a:lnTo>
                      <a:pt x="417544" y="283083"/>
                    </a:lnTo>
                    <a:close/>
                    <a:moveTo>
                      <a:pt x="57721" y="168497"/>
                    </a:moveTo>
                    <a:lnTo>
                      <a:pt x="350076" y="168497"/>
                    </a:lnTo>
                    <a:lnTo>
                      <a:pt x="350076" y="228822"/>
                    </a:lnTo>
                    <a:cubicBezTo>
                      <a:pt x="342351" y="226957"/>
                      <a:pt x="334432" y="226030"/>
                      <a:pt x="326485" y="226060"/>
                    </a:cubicBezTo>
                    <a:cubicBezTo>
                      <a:pt x="292767" y="226060"/>
                      <a:pt x="266160" y="241935"/>
                      <a:pt x="266160" y="261938"/>
                    </a:cubicBezTo>
                    <a:lnTo>
                      <a:pt x="266160" y="314960"/>
                    </a:lnTo>
                    <a:lnTo>
                      <a:pt x="57721" y="314960"/>
                    </a:lnTo>
                    <a:close/>
                    <a:moveTo>
                      <a:pt x="370999" y="262001"/>
                    </a:moveTo>
                    <a:cubicBezTo>
                      <a:pt x="370999" y="271526"/>
                      <a:pt x="351949" y="282258"/>
                      <a:pt x="326549" y="282258"/>
                    </a:cubicBezTo>
                    <a:cubicBezTo>
                      <a:pt x="301149" y="282258"/>
                      <a:pt x="282099" y="271558"/>
                      <a:pt x="282099" y="262001"/>
                    </a:cubicBezTo>
                    <a:cubicBezTo>
                      <a:pt x="282099" y="252444"/>
                      <a:pt x="301149" y="241745"/>
                      <a:pt x="326549" y="241745"/>
                    </a:cubicBezTo>
                    <a:cubicBezTo>
                      <a:pt x="351949" y="241745"/>
                      <a:pt x="370999" y="252444"/>
                      <a:pt x="370999" y="262001"/>
                    </a:cubicBezTo>
                    <a:close/>
                    <a:moveTo>
                      <a:pt x="326549" y="378746"/>
                    </a:moveTo>
                    <a:cubicBezTo>
                      <a:pt x="301149" y="378746"/>
                      <a:pt x="282099" y="368046"/>
                      <a:pt x="282099" y="358489"/>
                    </a:cubicBezTo>
                    <a:lnTo>
                      <a:pt x="282099" y="350203"/>
                    </a:lnTo>
                    <a:cubicBezTo>
                      <a:pt x="295531" y="358165"/>
                      <a:pt x="310939" y="362172"/>
                      <a:pt x="326549" y="361760"/>
                    </a:cubicBezTo>
                    <a:cubicBezTo>
                      <a:pt x="342157" y="362172"/>
                      <a:pt x="357565" y="358165"/>
                      <a:pt x="370999" y="350203"/>
                    </a:cubicBezTo>
                    <a:lnTo>
                      <a:pt x="370999" y="358489"/>
                    </a:lnTo>
                    <a:cubicBezTo>
                      <a:pt x="370999" y="368046"/>
                      <a:pt x="351949" y="378746"/>
                      <a:pt x="326485" y="378746"/>
                    </a:cubicBezTo>
                    <a:close/>
                    <a:moveTo>
                      <a:pt x="326549" y="346139"/>
                    </a:moveTo>
                    <a:cubicBezTo>
                      <a:pt x="301149" y="346139"/>
                      <a:pt x="282099" y="335439"/>
                      <a:pt x="282099" y="325882"/>
                    </a:cubicBezTo>
                    <a:lnTo>
                      <a:pt x="282099" y="318992"/>
                    </a:lnTo>
                    <a:cubicBezTo>
                      <a:pt x="295520" y="326984"/>
                      <a:pt x="310934" y="331000"/>
                      <a:pt x="326549" y="330581"/>
                    </a:cubicBezTo>
                    <a:cubicBezTo>
                      <a:pt x="342163" y="331000"/>
                      <a:pt x="357578" y="326984"/>
                      <a:pt x="370999" y="318992"/>
                    </a:cubicBezTo>
                    <a:lnTo>
                      <a:pt x="370999" y="325882"/>
                    </a:lnTo>
                    <a:cubicBezTo>
                      <a:pt x="370999" y="335439"/>
                      <a:pt x="351949" y="346075"/>
                      <a:pt x="326485" y="346075"/>
                    </a:cubicBezTo>
                    <a:close/>
                    <a:moveTo>
                      <a:pt x="326549" y="314960"/>
                    </a:moveTo>
                    <a:cubicBezTo>
                      <a:pt x="301149" y="314960"/>
                      <a:pt x="282099" y="304260"/>
                      <a:pt x="282099" y="294704"/>
                    </a:cubicBezTo>
                    <a:lnTo>
                      <a:pt x="282099" y="286290"/>
                    </a:lnTo>
                    <a:cubicBezTo>
                      <a:pt x="295520" y="294280"/>
                      <a:pt x="310934" y="298299"/>
                      <a:pt x="326549" y="297879"/>
                    </a:cubicBezTo>
                    <a:cubicBezTo>
                      <a:pt x="342163" y="298299"/>
                      <a:pt x="357578" y="294280"/>
                      <a:pt x="370999" y="286290"/>
                    </a:cubicBezTo>
                    <a:lnTo>
                      <a:pt x="370999" y="294704"/>
                    </a:lnTo>
                    <a:cubicBezTo>
                      <a:pt x="370999" y="304260"/>
                      <a:pt x="351949" y="314960"/>
                      <a:pt x="326485" y="314960"/>
                    </a:cubicBezTo>
                    <a:close/>
                    <a:moveTo>
                      <a:pt x="398113" y="263747"/>
                    </a:moveTo>
                    <a:lnTo>
                      <a:pt x="386683" y="263747"/>
                    </a:lnTo>
                    <a:lnTo>
                      <a:pt x="386683" y="262001"/>
                    </a:lnTo>
                    <a:cubicBezTo>
                      <a:pt x="386683" y="252000"/>
                      <a:pt x="380333" y="242951"/>
                      <a:pt x="369475" y="236601"/>
                    </a:cubicBezTo>
                    <a:lnTo>
                      <a:pt x="369475" y="149225"/>
                    </a:lnTo>
                    <a:lnTo>
                      <a:pt x="105950" y="149225"/>
                    </a:lnTo>
                    <a:lnTo>
                      <a:pt x="105950" y="117221"/>
                    </a:lnTo>
                    <a:lnTo>
                      <a:pt x="398272" y="117221"/>
                    </a:lnTo>
                    <a:close/>
                    <a:moveTo>
                      <a:pt x="203898" y="181832"/>
                    </a:moveTo>
                    <a:cubicBezTo>
                      <a:pt x="178499" y="181832"/>
                      <a:pt x="158782" y="208153"/>
                      <a:pt x="158782" y="241776"/>
                    </a:cubicBezTo>
                    <a:cubicBezTo>
                      <a:pt x="158782" y="275400"/>
                      <a:pt x="178594" y="301625"/>
                      <a:pt x="203898" y="301625"/>
                    </a:cubicBezTo>
                    <a:cubicBezTo>
                      <a:pt x="229203" y="301625"/>
                      <a:pt x="249015" y="275368"/>
                      <a:pt x="249015" y="241776"/>
                    </a:cubicBezTo>
                    <a:cubicBezTo>
                      <a:pt x="249015" y="208185"/>
                      <a:pt x="229203" y="181832"/>
                      <a:pt x="203898" y="181832"/>
                    </a:cubicBezTo>
                    <a:close/>
                    <a:moveTo>
                      <a:pt x="203898" y="284131"/>
                    </a:moveTo>
                    <a:cubicBezTo>
                      <a:pt x="188976" y="284131"/>
                      <a:pt x="176371" y="264732"/>
                      <a:pt x="176371" y="241776"/>
                    </a:cubicBezTo>
                    <a:cubicBezTo>
                      <a:pt x="176371" y="218821"/>
                      <a:pt x="189071" y="199422"/>
                      <a:pt x="203898" y="199422"/>
                    </a:cubicBezTo>
                    <a:cubicBezTo>
                      <a:pt x="218726" y="199422"/>
                      <a:pt x="231426" y="218821"/>
                      <a:pt x="231426" y="241776"/>
                    </a:cubicBezTo>
                    <a:cubicBezTo>
                      <a:pt x="231426" y="264732"/>
                      <a:pt x="218821" y="284131"/>
                      <a:pt x="203898" y="284131"/>
                    </a:cubicBezTo>
                    <a:close/>
                    <a:moveTo>
                      <a:pt x="0" y="0"/>
                    </a:moveTo>
                    <a:lnTo>
                      <a:pt x="0" y="457200"/>
                    </a:lnTo>
                    <a:lnTo>
                      <a:pt x="457200" y="457200"/>
                    </a:lnTo>
                    <a:lnTo>
                      <a:pt x="457200" y="0"/>
                    </a:lnTo>
                    <a:close/>
                    <a:moveTo>
                      <a:pt x="437706" y="437706"/>
                    </a:moveTo>
                    <a:lnTo>
                      <a:pt x="19463" y="437706"/>
                    </a:lnTo>
                    <a:lnTo>
                      <a:pt x="19463" y="19495"/>
                    </a:lnTo>
                    <a:lnTo>
                      <a:pt x="437706" y="19495"/>
                    </a:lnTo>
                    <a:close/>
                  </a:path>
                </a:pathLst>
              </a:custGeom>
              <a:solidFill>
                <a:srgbClr val="013476"/>
              </a:solidFill>
              <a:ln w="3175" cap="flat">
                <a:noFill/>
                <a:prstDash val="solid"/>
                <a:miter/>
              </a:ln>
            </p:spPr>
            <p:txBody>
              <a:bodyPr rtlCol="0" anchor="ctr"/>
              <a:lstStyle/>
              <a:p>
                <a:endParaRPr lang="en-GB" sz="700" b="1">
                  <a:solidFill>
                    <a:schemeClr val="accent1"/>
                  </a:solidFill>
                </a:endParaRPr>
              </a:p>
            </p:txBody>
          </p:sp>
          <p:grpSp>
            <p:nvGrpSpPr>
              <p:cNvPr id="189" name="Graphic 76">
                <a:extLst>
                  <a:ext uri="{FF2B5EF4-FFF2-40B4-BE49-F238E27FC236}">
                    <a16:creationId xmlns:a16="http://schemas.microsoft.com/office/drawing/2014/main" id="{A60A48C4-AF87-41AB-9829-149139F20289}"/>
                  </a:ext>
                </a:extLst>
              </p:cNvPr>
              <p:cNvGrpSpPr/>
              <p:nvPr/>
            </p:nvGrpSpPr>
            <p:grpSpPr>
              <a:xfrm>
                <a:off x="6144269" y="2664756"/>
                <a:ext cx="576000" cy="576000"/>
                <a:chOff x="3520420" y="3159871"/>
                <a:chExt cx="457200" cy="457200"/>
              </a:xfrm>
              <a:solidFill>
                <a:srgbClr val="013476"/>
              </a:solidFill>
            </p:grpSpPr>
            <p:sp>
              <p:nvSpPr>
                <p:cNvPr id="190" name="Freeform 122">
                  <a:extLst>
                    <a:ext uri="{FF2B5EF4-FFF2-40B4-BE49-F238E27FC236}">
                      <a16:creationId xmlns:a16="http://schemas.microsoft.com/office/drawing/2014/main" id="{922BAED4-5A90-4087-8BE9-BC9B2E549604}"/>
                    </a:ext>
                  </a:extLst>
                </p:cNvPr>
                <p:cNvSpPr/>
                <p:nvPr/>
              </p:nvSpPr>
              <p:spPr>
                <a:xfrm>
                  <a:off x="3752988" y="3255121"/>
                  <a:ext cx="178593" cy="90487"/>
                </a:xfrm>
                <a:custGeom>
                  <a:avLst/>
                  <a:gdLst>
                    <a:gd name="connsiteX0" fmla="*/ 53181 w 178593"/>
                    <a:gd name="connsiteY0" fmla="*/ 5556 h 90487"/>
                    <a:gd name="connsiteX1" fmla="*/ 0 w 178593"/>
                    <a:gd name="connsiteY1" fmla="*/ 65881 h 90487"/>
                    <a:gd name="connsiteX2" fmla="*/ 26194 w 178593"/>
                    <a:gd name="connsiteY2" fmla="*/ 65881 h 90487"/>
                    <a:gd name="connsiteX3" fmla="*/ 53181 w 178593"/>
                    <a:gd name="connsiteY3" fmla="*/ 34131 h 90487"/>
                    <a:gd name="connsiteX4" fmla="*/ 105569 w 178593"/>
                    <a:gd name="connsiteY4" fmla="*/ 90488 h 90487"/>
                    <a:gd name="connsiteX5" fmla="*/ 159544 w 178593"/>
                    <a:gd name="connsiteY5" fmla="*/ 34131 h 90487"/>
                    <a:gd name="connsiteX6" fmla="*/ 159544 w 178593"/>
                    <a:gd name="connsiteY6" fmla="*/ 54769 h 90487"/>
                    <a:gd name="connsiteX7" fmla="*/ 178594 w 178593"/>
                    <a:gd name="connsiteY7" fmla="*/ 54769 h 90487"/>
                    <a:gd name="connsiteX8" fmla="*/ 178594 w 178593"/>
                    <a:gd name="connsiteY8" fmla="*/ 0 h 90487"/>
                    <a:gd name="connsiteX9" fmla="*/ 123825 w 178593"/>
                    <a:gd name="connsiteY9" fmla="*/ 0 h 90487"/>
                    <a:gd name="connsiteX10" fmla="*/ 123825 w 178593"/>
                    <a:gd name="connsiteY10" fmla="*/ 19844 h 90487"/>
                    <a:gd name="connsiteX11" fmla="*/ 146050 w 178593"/>
                    <a:gd name="connsiteY11" fmla="*/ 19844 h 90487"/>
                    <a:gd name="connsiteX12" fmla="*/ 105569 w 178593"/>
                    <a:gd name="connsiteY12" fmla="*/ 61913 h 90487"/>
                    <a:gd name="connsiteX13" fmla="*/ 53181 w 178593"/>
                    <a:gd name="connsiteY13" fmla="*/ 5556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593" h="90487">
                      <a:moveTo>
                        <a:pt x="53181" y="5556"/>
                      </a:moveTo>
                      <a:lnTo>
                        <a:pt x="0" y="65881"/>
                      </a:lnTo>
                      <a:lnTo>
                        <a:pt x="26194" y="65881"/>
                      </a:lnTo>
                      <a:lnTo>
                        <a:pt x="53181" y="34131"/>
                      </a:lnTo>
                      <a:lnTo>
                        <a:pt x="105569" y="90488"/>
                      </a:lnTo>
                      <a:lnTo>
                        <a:pt x="159544" y="34131"/>
                      </a:lnTo>
                      <a:lnTo>
                        <a:pt x="159544" y="54769"/>
                      </a:lnTo>
                      <a:lnTo>
                        <a:pt x="178594" y="54769"/>
                      </a:lnTo>
                      <a:lnTo>
                        <a:pt x="178594" y="0"/>
                      </a:lnTo>
                      <a:lnTo>
                        <a:pt x="123825" y="0"/>
                      </a:lnTo>
                      <a:lnTo>
                        <a:pt x="123825" y="19844"/>
                      </a:lnTo>
                      <a:lnTo>
                        <a:pt x="146050" y="19844"/>
                      </a:lnTo>
                      <a:lnTo>
                        <a:pt x="105569" y="61913"/>
                      </a:lnTo>
                      <a:lnTo>
                        <a:pt x="53181" y="5556"/>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91" name="Freeform 124">
                  <a:extLst>
                    <a:ext uri="{FF2B5EF4-FFF2-40B4-BE49-F238E27FC236}">
                      <a16:creationId xmlns:a16="http://schemas.microsoft.com/office/drawing/2014/main" id="{7AB05519-2C14-446C-8E81-43E82027E6B8}"/>
                    </a:ext>
                  </a:extLst>
                </p:cNvPr>
                <p:cNvSpPr/>
                <p:nvPr/>
              </p:nvSpPr>
              <p:spPr>
                <a:xfrm>
                  <a:off x="3662501" y="3324177"/>
                  <a:ext cx="108743" cy="145256"/>
                </a:xfrm>
                <a:custGeom>
                  <a:avLst/>
                  <a:gdLst>
                    <a:gd name="connsiteX0" fmla="*/ 55563 w 108743"/>
                    <a:gd name="connsiteY0" fmla="*/ 0 h 145256"/>
                    <a:gd name="connsiteX1" fmla="*/ 0 w 108743"/>
                    <a:gd name="connsiteY1" fmla="*/ 59531 h 145256"/>
                    <a:gd name="connsiteX2" fmla="*/ 19050 w 108743"/>
                    <a:gd name="connsiteY2" fmla="*/ 126206 h 145256"/>
                    <a:gd name="connsiteX3" fmla="*/ 55563 w 108743"/>
                    <a:gd name="connsiteY3" fmla="*/ 145256 h 145256"/>
                    <a:gd name="connsiteX4" fmla="*/ 92075 w 108743"/>
                    <a:gd name="connsiteY4" fmla="*/ 126206 h 145256"/>
                    <a:gd name="connsiteX5" fmla="*/ 108744 w 108743"/>
                    <a:gd name="connsiteY5" fmla="*/ 59531 h 145256"/>
                    <a:gd name="connsiteX6" fmla="*/ 55563 w 108743"/>
                    <a:gd name="connsiteY6" fmla="*/ 0 h 145256"/>
                    <a:gd name="connsiteX7" fmla="*/ 76994 w 108743"/>
                    <a:gd name="connsiteY7" fmla="*/ 114300 h 145256"/>
                    <a:gd name="connsiteX8" fmla="*/ 55563 w 108743"/>
                    <a:gd name="connsiteY8" fmla="*/ 128588 h 145256"/>
                    <a:gd name="connsiteX9" fmla="*/ 33338 w 108743"/>
                    <a:gd name="connsiteY9" fmla="*/ 114300 h 145256"/>
                    <a:gd name="connsiteX10" fmla="*/ 19050 w 108743"/>
                    <a:gd name="connsiteY10" fmla="*/ 59531 h 145256"/>
                    <a:gd name="connsiteX11" fmla="*/ 55563 w 108743"/>
                    <a:gd name="connsiteY11" fmla="*/ 19050 h 145256"/>
                    <a:gd name="connsiteX12" fmla="*/ 89694 w 108743"/>
                    <a:gd name="connsiteY12" fmla="*/ 59531 h 145256"/>
                    <a:gd name="connsiteX13" fmla="*/ 76994 w 108743"/>
                    <a:gd name="connsiteY13" fmla="*/ 114300 h 14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743" h="145256">
                      <a:moveTo>
                        <a:pt x="55563" y="0"/>
                      </a:moveTo>
                      <a:cubicBezTo>
                        <a:pt x="23813" y="0"/>
                        <a:pt x="0" y="26194"/>
                        <a:pt x="0" y="59531"/>
                      </a:cubicBezTo>
                      <a:cubicBezTo>
                        <a:pt x="0" y="90488"/>
                        <a:pt x="7144" y="114300"/>
                        <a:pt x="19050" y="126206"/>
                      </a:cubicBezTo>
                      <a:cubicBezTo>
                        <a:pt x="28575" y="138113"/>
                        <a:pt x="38894" y="145256"/>
                        <a:pt x="55563" y="145256"/>
                      </a:cubicBezTo>
                      <a:cubicBezTo>
                        <a:pt x="72231" y="145256"/>
                        <a:pt x="81756" y="135731"/>
                        <a:pt x="92075" y="126206"/>
                      </a:cubicBezTo>
                      <a:cubicBezTo>
                        <a:pt x="103981" y="114300"/>
                        <a:pt x="108744" y="90488"/>
                        <a:pt x="108744" y="59531"/>
                      </a:cubicBezTo>
                      <a:cubicBezTo>
                        <a:pt x="108744" y="26194"/>
                        <a:pt x="84138" y="0"/>
                        <a:pt x="55563" y="0"/>
                      </a:cubicBezTo>
                      <a:close/>
                      <a:moveTo>
                        <a:pt x="76994" y="114300"/>
                      </a:moveTo>
                      <a:cubicBezTo>
                        <a:pt x="67469" y="123825"/>
                        <a:pt x="62706" y="128588"/>
                        <a:pt x="55563" y="128588"/>
                      </a:cubicBezTo>
                      <a:cubicBezTo>
                        <a:pt x="48419" y="128588"/>
                        <a:pt x="43656" y="123825"/>
                        <a:pt x="33338" y="114300"/>
                      </a:cubicBezTo>
                      <a:cubicBezTo>
                        <a:pt x="23813" y="104775"/>
                        <a:pt x="19050" y="85725"/>
                        <a:pt x="19050" y="59531"/>
                      </a:cubicBezTo>
                      <a:cubicBezTo>
                        <a:pt x="19050" y="35719"/>
                        <a:pt x="35719" y="19050"/>
                        <a:pt x="55563" y="19050"/>
                      </a:cubicBezTo>
                      <a:cubicBezTo>
                        <a:pt x="74613" y="19050"/>
                        <a:pt x="89694" y="35719"/>
                        <a:pt x="89694" y="59531"/>
                      </a:cubicBezTo>
                      <a:cubicBezTo>
                        <a:pt x="89694" y="83344"/>
                        <a:pt x="84138" y="104775"/>
                        <a:pt x="76994" y="114300"/>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192" name="Freeform 128">
                  <a:extLst>
                    <a:ext uri="{FF2B5EF4-FFF2-40B4-BE49-F238E27FC236}">
                      <a16:creationId xmlns:a16="http://schemas.microsoft.com/office/drawing/2014/main" id="{41215DF3-C912-4782-BF9A-813D68BCCFF3}"/>
                    </a:ext>
                  </a:extLst>
                </p:cNvPr>
                <p:cNvSpPr/>
                <p:nvPr/>
              </p:nvSpPr>
              <p:spPr>
                <a:xfrm>
                  <a:off x="3520420" y="3159871"/>
                  <a:ext cx="457200" cy="457200"/>
                </a:xfrm>
                <a:custGeom>
                  <a:avLst/>
                  <a:gdLst>
                    <a:gd name="connsiteX0" fmla="*/ 437356 w 457200"/>
                    <a:gd name="connsiteY0" fmla="*/ 437356 h 457200"/>
                    <a:gd name="connsiteX1" fmla="*/ 342106 w 457200"/>
                    <a:gd name="connsiteY1" fmla="*/ 437356 h 457200"/>
                    <a:gd name="connsiteX2" fmla="*/ 334169 w 457200"/>
                    <a:gd name="connsiteY2" fmla="*/ 373856 h 457200"/>
                    <a:gd name="connsiteX3" fmla="*/ 293688 w 457200"/>
                    <a:gd name="connsiteY3" fmla="*/ 330994 h 457200"/>
                    <a:gd name="connsiteX4" fmla="*/ 234156 w 457200"/>
                    <a:gd name="connsiteY4" fmla="*/ 311944 h 457200"/>
                    <a:gd name="connsiteX5" fmla="*/ 212725 w 457200"/>
                    <a:gd name="connsiteY5" fmla="*/ 316706 h 457200"/>
                    <a:gd name="connsiteX6" fmla="*/ 210344 w 457200"/>
                    <a:gd name="connsiteY6" fmla="*/ 321469 h 457200"/>
                    <a:gd name="connsiteX7" fmla="*/ 196056 w 457200"/>
                    <a:gd name="connsiteY7" fmla="*/ 328613 h 457200"/>
                    <a:gd name="connsiteX8" fmla="*/ 179388 w 457200"/>
                    <a:gd name="connsiteY8" fmla="*/ 321469 h 457200"/>
                    <a:gd name="connsiteX9" fmla="*/ 177006 w 457200"/>
                    <a:gd name="connsiteY9" fmla="*/ 316706 h 457200"/>
                    <a:gd name="connsiteX10" fmla="*/ 155575 w 457200"/>
                    <a:gd name="connsiteY10" fmla="*/ 311944 h 457200"/>
                    <a:gd name="connsiteX11" fmla="*/ 112713 w 457200"/>
                    <a:gd name="connsiteY11" fmla="*/ 326231 h 457200"/>
                    <a:gd name="connsiteX12" fmla="*/ 96044 w 457200"/>
                    <a:gd name="connsiteY12" fmla="*/ 330994 h 457200"/>
                    <a:gd name="connsiteX13" fmla="*/ 55563 w 457200"/>
                    <a:gd name="connsiteY13" fmla="*/ 376238 h 457200"/>
                    <a:gd name="connsiteX14" fmla="*/ 47625 w 457200"/>
                    <a:gd name="connsiteY14" fmla="*/ 437356 h 457200"/>
                    <a:gd name="connsiteX15" fmla="*/ 19844 w 457200"/>
                    <a:gd name="connsiteY15" fmla="*/ 437356 h 457200"/>
                    <a:gd name="connsiteX16" fmla="*/ 19844 w 457200"/>
                    <a:gd name="connsiteY16" fmla="*/ 19050 h 457200"/>
                    <a:gd name="connsiteX17" fmla="*/ 174625 w 457200"/>
                    <a:gd name="connsiteY17" fmla="*/ 19050 h 457200"/>
                    <a:gd name="connsiteX18" fmla="*/ 174625 w 457200"/>
                    <a:gd name="connsiteY18" fmla="*/ 0 h 457200"/>
                    <a:gd name="connsiteX19" fmla="*/ 0 w 457200"/>
                    <a:gd name="connsiteY19" fmla="*/ 0 h 457200"/>
                    <a:gd name="connsiteX20" fmla="*/ 0 w 457200"/>
                    <a:gd name="connsiteY20" fmla="*/ 457200 h 457200"/>
                    <a:gd name="connsiteX21" fmla="*/ 457200 w 457200"/>
                    <a:gd name="connsiteY21" fmla="*/ 457200 h 457200"/>
                    <a:gd name="connsiteX22" fmla="*/ 457200 w 457200"/>
                    <a:gd name="connsiteY22" fmla="*/ 282575 h 457200"/>
                    <a:gd name="connsiteX23" fmla="*/ 437356 w 457200"/>
                    <a:gd name="connsiteY23" fmla="*/ 282575 h 457200"/>
                    <a:gd name="connsiteX24" fmla="*/ 66675 w 457200"/>
                    <a:gd name="connsiteY24" fmla="*/ 437356 h 457200"/>
                    <a:gd name="connsiteX25" fmla="*/ 72231 w 457200"/>
                    <a:gd name="connsiteY25" fmla="*/ 381000 h 457200"/>
                    <a:gd name="connsiteX26" fmla="*/ 103188 w 457200"/>
                    <a:gd name="connsiteY26" fmla="*/ 350044 h 457200"/>
                    <a:gd name="connsiteX27" fmla="*/ 160338 w 457200"/>
                    <a:gd name="connsiteY27" fmla="*/ 330994 h 457200"/>
                    <a:gd name="connsiteX28" fmla="*/ 162719 w 457200"/>
                    <a:gd name="connsiteY28" fmla="*/ 330994 h 457200"/>
                    <a:gd name="connsiteX29" fmla="*/ 167481 w 457200"/>
                    <a:gd name="connsiteY29" fmla="*/ 335756 h 457200"/>
                    <a:gd name="connsiteX30" fmla="*/ 196056 w 457200"/>
                    <a:gd name="connsiteY30" fmla="*/ 347663 h 457200"/>
                    <a:gd name="connsiteX31" fmla="*/ 222250 w 457200"/>
                    <a:gd name="connsiteY31" fmla="*/ 335756 h 457200"/>
                    <a:gd name="connsiteX32" fmla="*/ 227013 w 457200"/>
                    <a:gd name="connsiteY32" fmla="*/ 330994 h 457200"/>
                    <a:gd name="connsiteX33" fmla="*/ 286544 w 457200"/>
                    <a:gd name="connsiteY33" fmla="*/ 350044 h 457200"/>
                    <a:gd name="connsiteX34" fmla="*/ 315119 w 457200"/>
                    <a:gd name="connsiteY34" fmla="*/ 378619 h 457200"/>
                    <a:gd name="connsiteX35" fmla="*/ 323056 w 457200"/>
                    <a:gd name="connsiteY35" fmla="*/ 43735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7200" h="457200">
                      <a:moveTo>
                        <a:pt x="437356" y="437356"/>
                      </a:moveTo>
                      <a:lnTo>
                        <a:pt x="342106" y="437356"/>
                      </a:lnTo>
                      <a:lnTo>
                        <a:pt x="334169" y="373856"/>
                      </a:lnTo>
                      <a:cubicBezTo>
                        <a:pt x="329406" y="354806"/>
                        <a:pt x="312738" y="338138"/>
                        <a:pt x="293688" y="330994"/>
                      </a:cubicBezTo>
                      <a:lnTo>
                        <a:pt x="234156" y="311944"/>
                      </a:lnTo>
                      <a:cubicBezTo>
                        <a:pt x="227013" y="309563"/>
                        <a:pt x="219869" y="311944"/>
                        <a:pt x="212725" y="316706"/>
                      </a:cubicBezTo>
                      <a:lnTo>
                        <a:pt x="210344" y="321469"/>
                      </a:lnTo>
                      <a:cubicBezTo>
                        <a:pt x="206738" y="325676"/>
                        <a:pt x="201586" y="328254"/>
                        <a:pt x="196056" y="328613"/>
                      </a:cubicBezTo>
                      <a:cubicBezTo>
                        <a:pt x="189721" y="328790"/>
                        <a:pt x="183628" y="326177"/>
                        <a:pt x="179388" y="321469"/>
                      </a:cubicBezTo>
                      <a:lnTo>
                        <a:pt x="177006" y="316706"/>
                      </a:lnTo>
                      <a:cubicBezTo>
                        <a:pt x="169863" y="311944"/>
                        <a:pt x="162719" y="309563"/>
                        <a:pt x="155575" y="311944"/>
                      </a:cubicBezTo>
                      <a:cubicBezTo>
                        <a:pt x="131763" y="319088"/>
                        <a:pt x="112713" y="326231"/>
                        <a:pt x="112713" y="326231"/>
                      </a:cubicBezTo>
                      <a:lnTo>
                        <a:pt x="96044" y="330994"/>
                      </a:lnTo>
                      <a:cubicBezTo>
                        <a:pt x="75870" y="338411"/>
                        <a:pt x="60700" y="355365"/>
                        <a:pt x="55563" y="376238"/>
                      </a:cubicBezTo>
                      <a:lnTo>
                        <a:pt x="47625" y="437356"/>
                      </a:lnTo>
                      <a:lnTo>
                        <a:pt x="19844" y="437356"/>
                      </a:lnTo>
                      <a:lnTo>
                        <a:pt x="19844" y="19050"/>
                      </a:lnTo>
                      <a:lnTo>
                        <a:pt x="174625" y="19050"/>
                      </a:lnTo>
                      <a:lnTo>
                        <a:pt x="174625" y="0"/>
                      </a:lnTo>
                      <a:lnTo>
                        <a:pt x="0" y="0"/>
                      </a:lnTo>
                      <a:lnTo>
                        <a:pt x="0" y="457200"/>
                      </a:lnTo>
                      <a:lnTo>
                        <a:pt x="457200" y="457200"/>
                      </a:lnTo>
                      <a:lnTo>
                        <a:pt x="457200" y="282575"/>
                      </a:lnTo>
                      <a:lnTo>
                        <a:pt x="437356" y="282575"/>
                      </a:lnTo>
                      <a:close/>
                      <a:moveTo>
                        <a:pt x="66675" y="437356"/>
                      </a:moveTo>
                      <a:lnTo>
                        <a:pt x="72231" y="381000"/>
                      </a:lnTo>
                      <a:cubicBezTo>
                        <a:pt x="77237" y="366468"/>
                        <a:pt x="88655" y="355051"/>
                        <a:pt x="103188" y="350044"/>
                      </a:cubicBezTo>
                      <a:lnTo>
                        <a:pt x="160338" y="330994"/>
                      </a:lnTo>
                      <a:lnTo>
                        <a:pt x="162719" y="330994"/>
                      </a:lnTo>
                      <a:lnTo>
                        <a:pt x="167481" y="335756"/>
                      </a:lnTo>
                      <a:cubicBezTo>
                        <a:pt x="174985" y="343456"/>
                        <a:pt x="185307" y="347755"/>
                        <a:pt x="196056" y="347663"/>
                      </a:cubicBezTo>
                      <a:cubicBezTo>
                        <a:pt x="206008" y="347269"/>
                        <a:pt x="215410" y="342995"/>
                        <a:pt x="222250" y="335756"/>
                      </a:cubicBezTo>
                      <a:lnTo>
                        <a:pt x="227013" y="330994"/>
                      </a:lnTo>
                      <a:lnTo>
                        <a:pt x="286544" y="350044"/>
                      </a:lnTo>
                      <a:cubicBezTo>
                        <a:pt x="300831" y="354806"/>
                        <a:pt x="312738" y="366713"/>
                        <a:pt x="315119" y="378619"/>
                      </a:cubicBezTo>
                      <a:cubicBezTo>
                        <a:pt x="319088" y="405606"/>
                        <a:pt x="321469" y="423863"/>
                        <a:pt x="323056" y="437356"/>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193" name="Freeform 129">
                  <a:extLst>
                    <a:ext uri="{FF2B5EF4-FFF2-40B4-BE49-F238E27FC236}">
                      <a16:creationId xmlns:a16="http://schemas.microsoft.com/office/drawing/2014/main" id="{36AA9DB9-A5A8-4FC1-9986-0258741331D7}"/>
                    </a:ext>
                  </a:extLst>
                </p:cNvPr>
                <p:cNvSpPr/>
                <p:nvPr/>
              </p:nvSpPr>
              <p:spPr>
                <a:xfrm>
                  <a:off x="3715682" y="3159871"/>
                  <a:ext cx="261937" cy="261937"/>
                </a:xfrm>
                <a:custGeom>
                  <a:avLst/>
                  <a:gdLst>
                    <a:gd name="connsiteX0" fmla="*/ 0 w 261937"/>
                    <a:gd name="connsiteY0" fmla="*/ 0 h 261937"/>
                    <a:gd name="connsiteX1" fmla="*/ 0 w 261937"/>
                    <a:gd name="connsiteY1" fmla="*/ 144463 h 261937"/>
                    <a:gd name="connsiteX2" fmla="*/ 19050 w 261937"/>
                    <a:gd name="connsiteY2" fmla="*/ 144463 h 261937"/>
                    <a:gd name="connsiteX3" fmla="*/ 19050 w 261937"/>
                    <a:gd name="connsiteY3" fmla="*/ 19050 h 261937"/>
                    <a:gd name="connsiteX4" fmla="*/ 242094 w 261937"/>
                    <a:gd name="connsiteY4" fmla="*/ 19050 h 261937"/>
                    <a:gd name="connsiteX5" fmla="*/ 242094 w 261937"/>
                    <a:gd name="connsiteY5" fmla="*/ 242094 h 261937"/>
                    <a:gd name="connsiteX6" fmla="*/ 73819 w 261937"/>
                    <a:gd name="connsiteY6" fmla="*/ 242094 h 261937"/>
                    <a:gd name="connsiteX7" fmla="*/ 73819 w 261937"/>
                    <a:gd name="connsiteY7" fmla="*/ 261938 h 261937"/>
                    <a:gd name="connsiteX8" fmla="*/ 261938 w 261937"/>
                    <a:gd name="connsiteY8" fmla="*/ 261938 h 261937"/>
                    <a:gd name="connsiteX9" fmla="*/ 261938 w 261937"/>
                    <a:gd name="connsiteY9" fmla="*/ 0 h 261937"/>
                    <a:gd name="connsiteX10" fmla="*/ 0 w 261937"/>
                    <a:gd name="connsiteY10" fmla="*/ 0 h 2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937" h="261937">
                      <a:moveTo>
                        <a:pt x="0" y="0"/>
                      </a:moveTo>
                      <a:lnTo>
                        <a:pt x="0" y="144463"/>
                      </a:lnTo>
                      <a:lnTo>
                        <a:pt x="19050" y="144463"/>
                      </a:lnTo>
                      <a:lnTo>
                        <a:pt x="19050" y="19050"/>
                      </a:lnTo>
                      <a:lnTo>
                        <a:pt x="242094" y="19050"/>
                      </a:lnTo>
                      <a:lnTo>
                        <a:pt x="242094" y="242094"/>
                      </a:lnTo>
                      <a:lnTo>
                        <a:pt x="73819" y="242094"/>
                      </a:lnTo>
                      <a:lnTo>
                        <a:pt x="73819" y="261938"/>
                      </a:lnTo>
                      <a:lnTo>
                        <a:pt x="261938" y="261938"/>
                      </a:lnTo>
                      <a:lnTo>
                        <a:pt x="261938" y="0"/>
                      </a:lnTo>
                      <a:lnTo>
                        <a:pt x="0" y="0"/>
                      </a:lnTo>
                      <a:close/>
                    </a:path>
                  </a:pathLst>
                </a:custGeom>
                <a:grpFill/>
                <a:ln w="3175" cap="flat">
                  <a:noFill/>
                  <a:prstDash val="solid"/>
                  <a:miter/>
                </a:ln>
              </p:spPr>
              <p:txBody>
                <a:bodyPr rtlCol="0" anchor="ctr"/>
                <a:lstStyle/>
                <a:p>
                  <a:endParaRPr lang="en-GB" sz="700" b="1">
                    <a:solidFill>
                      <a:schemeClr val="accent1"/>
                    </a:solidFill>
                  </a:endParaRPr>
                </a:p>
              </p:txBody>
            </p:sp>
          </p:grpSp>
          <p:cxnSp>
            <p:nvCxnSpPr>
              <p:cNvPr id="217" name="Straight Connector 216">
                <a:extLst>
                  <a:ext uri="{FF2B5EF4-FFF2-40B4-BE49-F238E27FC236}">
                    <a16:creationId xmlns:a16="http://schemas.microsoft.com/office/drawing/2014/main" id="{46C3766B-DA38-4F78-81BE-D779D0AD5F2D}"/>
                  </a:ext>
                </a:extLst>
              </p:cNvPr>
              <p:cNvCxnSpPr>
                <a:cxnSpLocks/>
              </p:cNvCxnSpPr>
              <p:nvPr/>
            </p:nvCxnSpPr>
            <p:spPr>
              <a:xfrm>
                <a:off x="7936514" y="1580527"/>
                <a:ext cx="0" cy="1340036"/>
              </a:xfrm>
              <a:prstGeom prst="line">
                <a:avLst/>
              </a:prstGeom>
            </p:spPr>
            <p:style>
              <a:lnRef idx="1">
                <a:schemeClr val="accent1"/>
              </a:lnRef>
              <a:fillRef idx="0">
                <a:schemeClr val="accent1"/>
              </a:fillRef>
              <a:effectRef idx="0">
                <a:schemeClr val="accent1"/>
              </a:effectRef>
              <a:fontRef idx="minor">
                <a:schemeClr val="tx1"/>
              </a:fontRef>
            </p:style>
          </p:cxnSp>
          <p:sp>
            <p:nvSpPr>
              <p:cNvPr id="381" name="Oval 380">
                <a:extLst>
                  <a:ext uri="{FF2B5EF4-FFF2-40B4-BE49-F238E27FC236}">
                    <a16:creationId xmlns:a16="http://schemas.microsoft.com/office/drawing/2014/main" id="{F0E3F29A-E2E8-48C4-B001-EB8F0595DF9E}"/>
                  </a:ext>
                </a:extLst>
              </p:cNvPr>
              <p:cNvSpPr/>
              <p:nvPr/>
            </p:nvSpPr>
            <p:spPr>
              <a:xfrm flipH="1">
                <a:off x="7873333" y="1884900"/>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382" name="Oval 381">
                <a:extLst>
                  <a:ext uri="{FF2B5EF4-FFF2-40B4-BE49-F238E27FC236}">
                    <a16:creationId xmlns:a16="http://schemas.microsoft.com/office/drawing/2014/main" id="{33E1A577-4799-41E8-BA06-1596D992F00D}"/>
                  </a:ext>
                </a:extLst>
              </p:cNvPr>
              <p:cNvSpPr/>
              <p:nvPr/>
            </p:nvSpPr>
            <p:spPr>
              <a:xfrm flipH="1">
                <a:off x="7863749" y="2678423"/>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430" name="Freeform 13">
                <a:extLst>
                  <a:ext uri="{FF2B5EF4-FFF2-40B4-BE49-F238E27FC236}">
                    <a16:creationId xmlns:a16="http://schemas.microsoft.com/office/drawing/2014/main" id="{4FCD802F-F1A2-4F22-9344-9AEA3FDFDDF2}"/>
                  </a:ext>
                </a:extLst>
              </p:cNvPr>
              <p:cNvSpPr>
                <a:spLocks noEditPoints="1"/>
              </p:cNvSpPr>
              <p:nvPr/>
            </p:nvSpPr>
            <p:spPr bwMode="auto">
              <a:xfrm>
                <a:off x="6755239" y="1250097"/>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sp>
            <p:nvSpPr>
              <p:cNvPr id="434" name="Freeform 13">
                <a:extLst>
                  <a:ext uri="{FF2B5EF4-FFF2-40B4-BE49-F238E27FC236}">
                    <a16:creationId xmlns:a16="http://schemas.microsoft.com/office/drawing/2014/main" id="{F6FBC290-0DB1-4857-A3F7-BE93151F88CC}"/>
                  </a:ext>
                </a:extLst>
              </p:cNvPr>
              <p:cNvSpPr>
                <a:spLocks noEditPoints="1"/>
              </p:cNvSpPr>
              <p:nvPr/>
            </p:nvSpPr>
            <p:spPr bwMode="auto">
              <a:xfrm>
                <a:off x="6935937" y="3034875"/>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sp>
            <p:nvSpPr>
              <p:cNvPr id="428" name="Freeform 13">
                <a:extLst>
                  <a:ext uri="{FF2B5EF4-FFF2-40B4-BE49-F238E27FC236}">
                    <a16:creationId xmlns:a16="http://schemas.microsoft.com/office/drawing/2014/main" id="{DACBE33F-CAE3-4707-8233-89F45ADB4EE3}"/>
                  </a:ext>
                </a:extLst>
              </p:cNvPr>
              <p:cNvSpPr>
                <a:spLocks noEditPoints="1"/>
              </p:cNvSpPr>
              <p:nvPr/>
            </p:nvSpPr>
            <p:spPr bwMode="auto">
              <a:xfrm>
                <a:off x="4975563" y="1453036"/>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grpSp>
      </p:grpSp>
      <p:grpSp>
        <p:nvGrpSpPr>
          <p:cNvPr id="4" name="Ομάδα 3">
            <a:extLst>
              <a:ext uri="{FF2B5EF4-FFF2-40B4-BE49-F238E27FC236}">
                <a16:creationId xmlns:a16="http://schemas.microsoft.com/office/drawing/2014/main" id="{4DC8696A-B264-45BB-AEB9-AB6B50657B7E}"/>
              </a:ext>
            </a:extLst>
          </p:cNvPr>
          <p:cNvGrpSpPr/>
          <p:nvPr/>
        </p:nvGrpSpPr>
        <p:grpSpPr>
          <a:xfrm>
            <a:off x="186716" y="1498012"/>
            <a:ext cx="5228049" cy="2615474"/>
            <a:chOff x="186716" y="1498012"/>
            <a:chExt cx="5228049" cy="2615474"/>
          </a:xfrm>
        </p:grpSpPr>
        <p:cxnSp>
          <p:nvCxnSpPr>
            <p:cNvPr id="223" name="Straight Connector 415">
              <a:extLst>
                <a:ext uri="{FF2B5EF4-FFF2-40B4-BE49-F238E27FC236}">
                  <a16:creationId xmlns:a16="http://schemas.microsoft.com/office/drawing/2014/main" id="{540C688D-167C-4CAE-93CA-3908196834CB}"/>
                </a:ext>
              </a:extLst>
            </p:cNvPr>
            <p:cNvCxnSpPr>
              <a:cxnSpLocks/>
              <a:stCxn id="148" idx="27"/>
              <a:endCxn id="180" idx="2"/>
            </p:cNvCxnSpPr>
            <p:nvPr/>
          </p:nvCxnSpPr>
          <p:spPr>
            <a:xfrm flipH="1" flipV="1">
              <a:off x="4824516" y="2756186"/>
              <a:ext cx="587051" cy="653828"/>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13" name="Straight Connector 405">
              <a:extLst>
                <a:ext uri="{FF2B5EF4-FFF2-40B4-BE49-F238E27FC236}">
                  <a16:creationId xmlns:a16="http://schemas.microsoft.com/office/drawing/2014/main" id="{D65FD0F8-01EC-42A0-A237-E7ECE8ECB0E6}"/>
                </a:ext>
              </a:extLst>
            </p:cNvPr>
            <p:cNvCxnSpPr>
              <a:cxnSpLocks/>
              <a:endCxn id="148" idx="27"/>
            </p:cNvCxnSpPr>
            <p:nvPr/>
          </p:nvCxnSpPr>
          <p:spPr>
            <a:xfrm flipV="1">
              <a:off x="4358955" y="3296973"/>
              <a:ext cx="1055810" cy="510128"/>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16" name="Straight Connector 408">
              <a:extLst>
                <a:ext uri="{FF2B5EF4-FFF2-40B4-BE49-F238E27FC236}">
                  <a16:creationId xmlns:a16="http://schemas.microsoft.com/office/drawing/2014/main" id="{FD8F24CA-C1DB-4DD7-A2D7-D4A2E3521DAA}"/>
                </a:ext>
              </a:extLst>
            </p:cNvPr>
            <p:cNvCxnSpPr/>
            <p:nvPr/>
          </p:nvCxnSpPr>
          <p:spPr>
            <a:xfrm flipV="1">
              <a:off x="4067065" y="2769281"/>
              <a:ext cx="179461" cy="145277"/>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grpSp>
          <p:nvGrpSpPr>
            <p:cNvPr id="245" name="Group 53">
              <a:extLst>
                <a:ext uri="{FF2B5EF4-FFF2-40B4-BE49-F238E27FC236}">
                  <a16:creationId xmlns:a16="http://schemas.microsoft.com/office/drawing/2014/main" id="{1E12516D-D431-42EC-BDCB-0913346ADC93}"/>
                </a:ext>
              </a:extLst>
            </p:cNvPr>
            <p:cNvGrpSpPr/>
            <p:nvPr/>
          </p:nvGrpSpPr>
          <p:grpSpPr>
            <a:xfrm>
              <a:off x="431219" y="2654813"/>
              <a:ext cx="2278512" cy="1320390"/>
              <a:chOff x="684873" y="66275"/>
              <a:chExt cx="2089476" cy="2146881"/>
            </a:xfrm>
          </p:grpSpPr>
          <p:sp>
            <p:nvSpPr>
              <p:cNvPr id="170" name="Rectangle 54">
                <a:extLst>
                  <a:ext uri="{FF2B5EF4-FFF2-40B4-BE49-F238E27FC236}">
                    <a16:creationId xmlns:a16="http://schemas.microsoft.com/office/drawing/2014/main" id="{89C2A6A5-6786-4E8B-883C-995E7A349008}"/>
                  </a:ext>
                </a:extLst>
              </p:cNvPr>
              <p:cNvSpPr/>
              <p:nvPr/>
            </p:nvSpPr>
            <p:spPr>
              <a:xfrm>
                <a:off x="756240" y="556594"/>
                <a:ext cx="2018109" cy="165656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71" name="Rectangle 55">
                <a:extLst>
                  <a:ext uri="{FF2B5EF4-FFF2-40B4-BE49-F238E27FC236}">
                    <a16:creationId xmlns:a16="http://schemas.microsoft.com/office/drawing/2014/main" id="{0FE89502-63B1-4A0F-BDC3-E7DFF857701E}"/>
                  </a:ext>
                </a:extLst>
              </p:cNvPr>
              <p:cNvSpPr/>
              <p:nvPr/>
            </p:nvSpPr>
            <p:spPr>
              <a:xfrm>
                <a:off x="684873" y="66275"/>
                <a:ext cx="2018109" cy="165656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lvl="0" algn="r" defTabSz="622300">
                  <a:lnSpc>
                    <a:spcPct val="90000"/>
                  </a:lnSpc>
                  <a:spcBef>
                    <a:spcPct val="0"/>
                  </a:spcBef>
                  <a:spcAft>
                    <a:spcPct val="35000"/>
                  </a:spcAft>
                </a:pPr>
                <a:r>
                  <a:rPr lang="el-GR" sz="1600" b="0" kern="1200" dirty="0">
                    <a:solidFill>
                      <a:schemeClr val="tx1"/>
                    </a:solidFill>
                  </a:rPr>
                  <a:t>3.2 Ενδυνάμωση της θέσης της χώρας σε </a:t>
                </a:r>
                <a:r>
                  <a:rPr lang="el-GR" sz="1600" b="1" kern="1200" dirty="0">
                    <a:solidFill>
                      <a:schemeClr val="tx1"/>
                    </a:solidFill>
                  </a:rPr>
                  <a:t>πολυμερές</a:t>
                </a:r>
                <a:r>
                  <a:rPr lang="el-GR" sz="1600" b="0" kern="1200" dirty="0">
                    <a:solidFill>
                      <a:schemeClr val="tx1"/>
                    </a:solidFill>
                  </a:rPr>
                  <a:t> οικονομικό επίπεδο</a:t>
                </a:r>
              </a:p>
            </p:txBody>
          </p:sp>
        </p:grpSp>
        <p:cxnSp>
          <p:nvCxnSpPr>
            <p:cNvPr id="27" name="Straight Connector 26">
              <a:extLst>
                <a:ext uri="{FF2B5EF4-FFF2-40B4-BE49-F238E27FC236}">
                  <a16:creationId xmlns:a16="http://schemas.microsoft.com/office/drawing/2014/main" id="{344C9510-FD44-467B-92F5-896C095D3389}"/>
                </a:ext>
              </a:extLst>
            </p:cNvPr>
            <p:cNvCxnSpPr/>
            <p:nvPr/>
          </p:nvCxnSpPr>
          <p:spPr>
            <a:xfrm flipH="1">
              <a:off x="2714483" y="1929275"/>
              <a:ext cx="14563" cy="1785274"/>
            </a:xfrm>
            <a:prstGeom prst="line">
              <a:avLst/>
            </a:prstGeom>
          </p:spPr>
          <p:style>
            <a:lnRef idx="1">
              <a:schemeClr val="accent1"/>
            </a:lnRef>
            <a:fillRef idx="0">
              <a:schemeClr val="accent1"/>
            </a:fillRef>
            <a:effectRef idx="0">
              <a:schemeClr val="accent1"/>
            </a:effectRef>
            <a:fontRef idx="minor">
              <a:schemeClr val="tx1"/>
            </a:fontRef>
          </p:style>
        </p:cxnSp>
        <p:sp>
          <p:nvSpPr>
            <p:cNvPr id="379" name="Oval 378">
              <a:extLst>
                <a:ext uri="{FF2B5EF4-FFF2-40B4-BE49-F238E27FC236}">
                  <a16:creationId xmlns:a16="http://schemas.microsoft.com/office/drawing/2014/main" id="{B9A6B0AE-5AFB-43FF-9866-96A729BE54D9}"/>
                </a:ext>
              </a:extLst>
            </p:cNvPr>
            <p:cNvSpPr/>
            <p:nvPr/>
          </p:nvSpPr>
          <p:spPr>
            <a:xfrm flipH="1">
              <a:off x="2645300" y="2292511"/>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406" name="Oval 405">
              <a:extLst>
                <a:ext uri="{FF2B5EF4-FFF2-40B4-BE49-F238E27FC236}">
                  <a16:creationId xmlns:a16="http://schemas.microsoft.com/office/drawing/2014/main" id="{C4B851CC-7F8E-4625-80D0-F18360953F70}"/>
                </a:ext>
              </a:extLst>
            </p:cNvPr>
            <p:cNvSpPr/>
            <p:nvPr/>
          </p:nvSpPr>
          <p:spPr>
            <a:xfrm flipH="1">
              <a:off x="2644848" y="2782409"/>
              <a:ext cx="156944" cy="156944"/>
            </a:xfrm>
            <a:prstGeom prst="ellipse">
              <a:avLst/>
            </a:prstGeom>
            <a:solidFill>
              <a:srgbClr val="01347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176" tIns="46176" rIns="46176" bIns="46176" rtlCol="0" anchor="ctr"/>
            <a:lstStyle/>
            <a:p>
              <a:pPr algn="ctr"/>
              <a:endParaRPr lang="en-GB" sz="855" b="1" dirty="0" err="1">
                <a:latin typeface="+mj-lt"/>
              </a:endParaRPr>
            </a:p>
          </p:txBody>
        </p:sp>
        <p:sp>
          <p:nvSpPr>
            <p:cNvPr id="35" name="Straight Connector 34"/>
            <p:cNvSpPr/>
            <p:nvPr/>
          </p:nvSpPr>
          <p:spPr>
            <a:xfrm rot="16200000" flipV="1">
              <a:off x="3450680" y="1680791"/>
              <a:ext cx="131571" cy="1507777"/>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sp>
          <p:nvSpPr>
            <p:cNvPr id="38" name="Straight Connector 37"/>
            <p:cNvSpPr/>
            <p:nvPr/>
          </p:nvSpPr>
          <p:spPr>
            <a:xfrm>
              <a:off x="2714481" y="3617312"/>
              <a:ext cx="377608" cy="80218"/>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cxnSp>
          <p:nvCxnSpPr>
            <p:cNvPr id="220" name="Straight Connector 412">
              <a:extLst>
                <a:ext uri="{FF2B5EF4-FFF2-40B4-BE49-F238E27FC236}">
                  <a16:creationId xmlns:a16="http://schemas.microsoft.com/office/drawing/2014/main" id="{DE9709B2-DB8B-471D-9FA2-B4770167A0E5}"/>
                </a:ext>
              </a:extLst>
            </p:cNvPr>
            <p:cNvCxnSpPr>
              <a:cxnSpLocks/>
            </p:cNvCxnSpPr>
            <p:nvPr/>
          </p:nvCxnSpPr>
          <p:spPr>
            <a:xfrm flipH="1" flipV="1">
              <a:off x="3989131" y="1929276"/>
              <a:ext cx="498399" cy="270801"/>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cxnSp>
          <p:nvCxnSpPr>
            <p:cNvPr id="286" name="Straight Connector 494">
              <a:extLst>
                <a:ext uri="{FF2B5EF4-FFF2-40B4-BE49-F238E27FC236}">
                  <a16:creationId xmlns:a16="http://schemas.microsoft.com/office/drawing/2014/main" id="{DC865B36-81EA-47F5-843D-152A70D455D7}"/>
                </a:ext>
              </a:extLst>
            </p:cNvPr>
            <p:cNvCxnSpPr>
              <a:cxnSpLocks/>
            </p:cNvCxnSpPr>
            <p:nvPr/>
          </p:nvCxnSpPr>
          <p:spPr>
            <a:xfrm>
              <a:off x="3368314" y="3736391"/>
              <a:ext cx="442994" cy="116421"/>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cxnSp>
        <p:sp>
          <p:nvSpPr>
            <p:cNvPr id="180" name="Freeform 30">
              <a:extLst>
                <a:ext uri="{FF2B5EF4-FFF2-40B4-BE49-F238E27FC236}">
                  <a16:creationId xmlns:a16="http://schemas.microsoft.com/office/drawing/2014/main" id="{72715D88-A431-423B-891D-29307B9BCBE4}"/>
                </a:ext>
              </a:extLst>
            </p:cNvPr>
            <p:cNvSpPr>
              <a:spLocks noChangeAspect="1" noEditPoints="1"/>
            </p:cNvSpPr>
            <p:nvPr/>
          </p:nvSpPr>
          <p:spPr bwMode="auto">
            <a:xfrm>
              <a:off x="4273306" y="2204913"/>
              <a:ext cx="576000" cy="576000"/>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rgbClr val="013476"/>
            </a:solidFill>
            <a:ln>
              <a:noFill/>
            </a:ln>
          </p:spPr>
          <p:txBody>
            <a:bodyPr vert="horz" wrap="square" lIns="68580" tIns="34290" rIns="68580" bIns="34290" numCol="1" anchor="t" anchorCtr="0" compatLnSpc="1">
              <a:prstTxWarp prst="textNoShape">
                <a:avLst/>
              </a:prstTxWarp>
            </a:bodyPr>
            <a:lstStyle/>
            <a:p>
              <a:endParaRPr lang="en-US" sz="800">
                <a:solidFill>
                  <a:schemeClr val="accent1"/>
                </a:solidFill>
              </a:endParaRPr>
            </a:p>
          </p:txBody>
        </p:sp>
        <p:sp>
          <p:nvSpPr>
            <p:cNvPr id="182" name="Freeform 53">
              <a:extLst>
                <a:ext uri="{FF2B5EF4-FFF2-40B4-BE49-F238E27FC236}">
                  <a16:creationId xmlns:a16="http://schemas.microsoft.com/office/drawing/2014/main" id="{6508C92E-304E-4317-BEE1-CE4199A254D9}"/>
                </a:ext>
              </a:extLst>
            </p:cNvPr>
            <p:cNvSpPr>
              <a:spLocks noChangeAspect="1" noEditPoints="1"/>
            </p:cNvSpPr>
            <p:nvPr/>
          </p:nvSpPr>
          <p:spPr bwMode="auto">
            <a:xfrm>
              <a:off x="3795631" y="3537486"/>
              <a:ext cx="574368" cy="576000"/>
            </a:xfrm>
            <a:custGeom>
              <a:avLst/>
              <a:gdLst>
                <a:gd name="T0" fmla="*/ 0 w 576"/>
                <a:gd name="T1" fmla="*/ 576 h 576"/>
                <a:gd name="T2" fmla="*/ 576 w 576"/>
                <a:gd name="T3" fmla="*/ 0 h 576"/>
                <a:gd name="T4" fmla="*/ 551 w 576"/>
                <a:gd name="T5" fmla="*/ 551 h 576"/>
                <a:gd name="T6" fmla="*/ 24 w 576"/>
                <a:gd name="T7" fmla="*/ 24 h 576"/>
                <a:gd name="T8" fmla="*/ 551 w 576"/>
                <a:gd name="T9" fmla="*/ 551 h 576"/>
                <a:gd name="T10" fmla="*/ 197 w 576"/>
                <a:gd name="T11" fmla="*/ 475 h 576"/>
                <a:gd name="T12" fmla="*/ 278 w 576"/>
                <a:gd name="T13" fmla="*/ 79 h 576"/>
                <a:gd name="T14" fmla="*/ 282 w 576"/>
                <a:gd name="T15" fmla="*/ 45 h 576"/>
                <a:gd name="T16" fmla="*/ 282 w 576"/>
                <a:gd name="T17" fmla="*/ 143 h 576"/>
                <a:gd name="T18" fmla="*/ 281 w 576"/>
                <a:gd name="T19" fmla="*/ 106 h 576"/>
                <a:gd name="T20" fmla="*/ 205 w 576"/>
                <a:gd name="T21" fmla="*/ 449 h 576"/>
                <a:gd name="T22" fmla="*/ 310 w 576"/>
                <a:gd name="T23" fmla="*/ 511 h 576"/>
                <a:gd name="T24" fmla="*/ 242 w 576"/>
                <a:gd name="T25" fmla="*/ 481 h 576"/>
                <a:gd name="T26" fmla="*/ 310 w 576"/>
                <a:gd name="T27" fmla="*/ 451 h 576"/>
                <a:gd name="T28" fmla="*/ 470 w 576"/>
                <a:gd name="T29" fmla="*/ 288 h 576"/>
                <a:gd name="T30" fmla="*/ 371 w 576"/>
                <a:gd name="T31" fmla="*/ 96 h 576"/>
                <a:gd name="T32" fmla="*/ 295 w 576"/>
                <a:gd name="T33" fmla="*/ 496 h 576"/>
                <a:gd name="T34" fmla="*/ 158 w 576"/>
                <a:gd name="T35" fmla="*/ 288 h 576"/>
                <a:gd name="T36" fmla="*/ 419 w 576"/>
                <a:gd name="T37" fmla="*/ 288 h 576"/>
                <a:gd name="T38" fmla="*/ 183 w 576"/>
                <a:gd name="T39" fmla="*/ 300 h 576"/>
                <a:gd name="T40" fmla="*/ 216 w 576"/>
                <a:gd name="T41" fmla="*/ 330 h 576"/>
                <a:gd name="T42" fmla="*/ 183 w 576"/>
                <a:gd name="T43" fmla="*/ 300 h 576"/>
                <a:gd name="T44" fmla="*/ 301 w 576"/>
                <a:gd name="T45" fmla="*/ 193 h 576"/>
                <a:gd name="T46" fmla="*/ 301 w 576"/>
                <a:gd name="T47" fmla="*/ 221 h 576"/>
                <a:gd name="T48" fmla="*/ 345 w 576"/>
                <a:gd name="T49" fmla="*/ 275 h 576"/>
                <a:gd name="T50" fmla="*/ 301 w 576"/>
                <a:gd name="T51" fmla="*/ 246 h 576"/>
                <a:gd name="T52" fmla="*/ 276 w 576"/>
                <a:gd name="T53" fmla="*/ 194 h 576"/>
                <a:gd name="T54" fmla="*/ 254 w 576"/>
                <a:gd name="T55" fmla="*/ 221 h 576"/>
                <a:gd name="T56" fmla="*/ 276 w 576"/>
                <a:gd name="T57" fmla="*/ 246 h 576"/>
                <a:gd name="T58" fmla="*/ 236 w 576"/>
                <a:gd name="T59" fmla="*/ 275 h 576"/>
                <a:gd name="T60" fmla="*/ 276 w 576"/>
                <a:gd name="T61" fmla="*/ 246 h 576"/>
                <a:gd name="T62" fmla="*/ 183 w 576"/>
                <a:gd name="T63" fmla="*/ 275 h 576"/>
                <a:gd name="T64" fmla="*/ 216 w 576"/>
                <a:gd name="T65" fmla="*/ 246 h 576"/>
                <a:gd name="T66" fmla="*/ 236 w 576"/>
                <a:gd name="T67" fmla="*/ 300 h 576"/>
                <a:gd name="T68" fmla="*/ 276 w 576"/>
                <a:gd name="T69" fmla="*/ 330 h 576"/>
                <a:gd name="T70" fmla="*/ 236 w 576"/>
                <a:gd name="T71" fmla="*/ 300 h 576"/>
                <a:gd name="T72" fmla="*/ 276 w 576"/>
                <a:gd name="T73" fmla="*/ 382 h 576"/>
                <a:gd name="T74" fmla="*/ 276 w 576"/>
                <a:gd name="T75" fmla="*/ 354 h 576"/>
                <a:gd name="T76" fmla="*/ 301 w 576"/>
                <a:gd name="T77" fmla="*/ 354 h 576"/>
                <a:gd name="T78" fmla="*/ 301 w 576"/>
                <a:gd name="T79" fmla="*/ 383 h 576"/>
                <a:gd name="T80" fmla="*/ 301 w 576"/>
                <a:gd name="T81" fmla="*/ 300 h 576"/>
                <a:gd name="T82" fmla="*/ 338 w 576"/>
                <a:gd name="T83" fmla="*/ 330 h 576"/>
                <a:gd name="T84" fmla="*/ 370 w 576"/>
                <a:gd name="T85" fmla="*/ 300 h 576"/>
                <a:gd name="T86" fmla="*/ 386 w 576"/>
                <a:gd name="T87" fmla="*/ 330 h 576"/>
                <a:gd name="T88" fmla="*/ 370 w 576"/>
                <a:gd name="T89" fmla="*/ 300 h 576"/>
                <a:gd name="T90" fmla="*/ 364 w 576"/>
                <a:gd name="T91" fmla="*/ 246 h 576"/>
                <a:gd name="T92" fmla="*/ 394 w 576"/>
                <a:gd name="T93" fmla="*/ 275 h 576"/>
                <a:gd name="T94" fmla="*/ 371 w 576"/>
                <a:gd name="T95" fmla="*/ 221 h 576"/>
                <a:gd name="T96" fmla="*/ 335 w 576"/>
                <a:gd name="T97" fmla="*/ 192 h 576"/>
                <a:gd name="T98" fmla="*/ 245 w 576"/>
                <a:gd name="T99" fmla="*/ 191 h 576"/>
                <a:gd name="T100" fmla="*/ 206 w 576"/>
                <a:gd name="T101" fmla="*/ 221 h 576"/>
                <a:gd name="T102" fmla="*/ 206 w 576"/>
                <a:gd name="T103" fmla="*/ 354 h 576"/>
                <a:gd name="T104" fmla="*/ 245 w 576"/>
                <a:gd name="T105" fmla="*/ 385 h 576"/>
                <a:gd name="T106" fmla="*/ 335 w 576"/>
                <a:gd name="T107" fmla="*/ 383 h 576"/>
                <a:gd name="T108" fmla="*/ 371 w 576"/>
                <a:gd name="T109" fmla="*/ 3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05" y="449"/>
                  </a:moveTo>
                  <a:cubicBezTo>
                    <a:pt x="197" y="475"/>
                    <a:pt x="197" y="475"/>
                    <a:pt x="197" y="475"/>
                  </a:cubicBezTo>
                  <a:cubicBezTo>
                    <a:pt x="128" y="442"/>
                    <a:pt x="80" y="370"/>
                    <a:pt x="80" y="288"/>
                  </a:cubicBezTo>
                  <a:cubicBezTo>
                    <a:pt x="80" y="176"/>
                    <a:pt x="168" y="85"/>
                    <a:pt x="278" y="79"/>
                  </a:cubicBezTo>
                  <a:cubicBezTo>
                    <a:pt x="263" y="64"/>
                    <a:pt x="263" y="64"/>
                    <a:pt x="263" y="64"/>
                  </a:cubicBezTo>
                  <a:cubicBezTo>
                    <a:pt x="282" y="45"/>
                    <a:pt x="282" y="45"/>
                    <a:pt x="282" y="45"/>
                  </a:cubicBezTo>
                  <a:cubicBezTo>
                    <a:pt x="331" y="94"/>
                    <a:pt x="331" y="94"/>
                    <a:pt x="331" y="94"/>
                  </a:cubicBezTo>
                  <a:cubicBezTo>
                    <a:pt x="282" y="143"/>
                    <a:pt x="282" y="143"/>
                    <a:pt x="282" y="143"/>
                  </a:cubicBezTo>
                  <a:cubicBezTo>
                    <a:pt x="263" y="124"/>
                    <a:pt x="263" y="124"/>
                    <a:pt x="263" y="124"/>
                  </a:cubicBezTo>
                  <a:cubicBezTo>
                    <a:pt x="281" y="106"/>
                    <a:pt x="281" y="106"/>
                    <a:pt x="281" y="106"/>
                  </a:cubicBezTo>
                  <a:cubicBezTo>
                    <a:pt x="184" y="110"/>
                    <a:pt x="107" y="190"/>
                    <a:pt x="107" y="288"/>
                  </a:cubicBezTo>
                  <a:cubicBezTo>
                    <a:pt x="107" y="358"/>
                    <a:pt x="147" y="419"/>
                    <a:pt x="205" y="449"/>
                  </a:cubicBezTo>
                  <a:close/>
                  <a:moveTo>
                    <a:pt x="295" y="496"/>
                  </a:moveTo>
                  <a:cubicBezTo>
                    <a:pt x="310" y="511"/>
                    <a:pt x="310" y="511"/>
                    <a:pt x="310" y="511"/>
                  </a:cubicBezTo>
                  <a:cubicBezTo>
                    <a:pt x="291" y="530"/>
                    <a:pt x="291" y="530"/>
                    <a:pt x="291" y="530"/>
                  </a:cubicBezTo>
                  <a:cubicBezTo>
                    <a:pt x="242" y="481"/>
                    <a:pt x="242" y="481"/>
                    <a:pt x="242" y="481"/>
                  </a:cubicBezTo>
                  <a:cubicBezTo>
                    <a:pt x="291" y="432"/>
                    <a:pt x="291" y="432"/>
                    <a:pt x="291" y="432"/>
                  </a:cubicBezTo>
                  <a:cubicBezTo>
                    <a:pt x="310" y="451"/>
                    <a:pt x="310" y="451"/>
                    <a:pt x="310" y="451"/>
                  </a:cubicBezTo>
                  <a:cubicBezTo>
                    <a:pt x="292" y="469"/>
                    <a:pt x="292" y="469"/>
                    <a:pt x="292" y="469"/>
                  </a:cubicBezTo>
                  <a:cubicBezTo>
                    <a:pt x="391" y="468"/>
                    <a:pt x="470" y="387"/>
                    <a:pt x="470" y="288"/>
                  </a:cubicBezTo>
                  <a:cubicBezTo>
                    <a:pt x="470" y="214"/>
                    <a:pt x="426" y="151"/>
                    <a:pt x="363" y="122"/>
                  </a:cubicBezTo>
                  <a:cubicBezTo>
                    <a:pt x="371" y="96"/>
                    <a:pt x="371" y="96"/>
                    <a:pt x="371" y="96"/>
                  </a:cubicBezTo>
                  <a:cubicBezTo>
                    <a:pt x="445" y="128"/>
                    <a:pt x="497" y="202"/>
                    <a:pt x="497" y="288"/>
                  </a:cubicBezTo>
                  <a:cubicBezTo>
                    <a:pt x="497" y="401"/>
                    <a:pt x="407" y="493"/>
                    <a:pt x="295" y="496"/>
                  </a:cubicBezTo>
                  <a:close/>
                  <a:moveTo>
                    <a:pt x="289" y="157"/>
                  </a:moveTo>
                  <a:cubicBezTo>
                    <a:pt x="217" y="157"/>
                    <a:pt x="158" y="216"/>
                    <a:pt x="158" y="288"/>
                  </a:cubicBezTo>
                  <a:cubicBezTo>
                    <a:pt x="158" y="360"/>
                    <a:pt x="217" y="418"/>
                    <a:pt x="289" y="418"/>
                  </a:cubicBezTo>
                  <a:cubicBezTo>
                    <a:pt x="360" y="418"/>
                    <a:pt x="419" y="360"/>
                    <a:pt x="419" y="288"/>
                  </a:cubicBezTo>
                  <a:cubicBezTo>
                    <a:pt x="419" y="216"/>
                    <a:pt x="360" y="157"/>
                    <a:pt x="289" y="157"/>
                  </a:cubicBezTo>
                  <a:close/>
                  <a:moveTo>
                    <a:pt x="183" y="300"/>
                  </a:moveTo>
                  <a:cubicBezTo>
                    <a:pt x="211" y="300"/>
                    <a:pt x="211" y="300"/>
                    <a:pt x="211" y="300"/>
                  </a:cubicBezTo>
                  <a:cubicBezTo>
                    <a:pt x="212" y="311"/>
                    <a:pt x="214" y="320"/>
                    <a:pt x="216" y="330"/>
                  </a:cubicBezTo>
                  <a:cubicBezTo>
                    <a:pt x="191" y="330"/>
                    <a:pt x="191" y="330"/>
                    <a:pt x="191" y="330"/>
                  </a:cubicBezTo>
                  <a:cubicBezTo>
                    <a:pt x="187" y="320"/>
                    <a:pt x="185" y="310"/>
                    <a:pt x="183" y="300"/>
                  </a:cubicBezTo>
                  <a:close/>
                  <a:moveTo>
                    <a:pt x="301" y="221"/>
                  </a:moveTo>
                  <a:cubicBezTo>
                    <a:pt x="301" y="193"/>
                    <a:pt x="301" y="193"/>
                    <a:pt x="301" y="193"/>
                  </a:cubicBezTo>
                  <a:cubicBezTo>
                    <a:pt x="308" y="200"/>
                    <a:pt x="317" y="209"/>
                    <a:pt x="326" y="221"/>
                  </a:cubicBezTo>
                  <a:lnTo>
                    <a:pt x="301" y="221"/>
                  </a:lnTo>
                  <a:close/>
                  <a:moveTo>
                    <a:pt x="338" y="246"/>
                  </a:moveTo>
                  <a:cubicBezTo>
                    <a:pt x="342" y="255"/>
                    <a:pt x="344" y="265"/>
                    <a:pt x="345" y="275"/>
                  </a:cubicBezTo>
                  <a:cubicBezTo>
                    <a:pt x="301" y="275"/>
                    <a:pt x="301" y="275"/>
                    <a:pt x="301" y="275"/>
                  </a:cubicBezTo>
                  <a:cubicBezTo>
                    <a:pt x="301" y="246"/>
                    <a:pt x="301" y="246"/>
                    <a:pt x="301" y="246"/>
                  </a:cubicBezTo>
                  <a:lnTo>
                    <a:pt x="338" y="246"/>
                  </a:lnTo>
                  <a:close/>
                  <a:moveTo>
                    <a:pt x="276" y="194"/>
                  </a:moveTo>
                  <a:cubicBezTo>
                    <a:pt x="276" y="221"/>
                    <a:pt x="276" y="221"/>
                    <a:pt x="276" y="221"/>
                  </a:cubicBezTo>
                  <a:cubicBezTo>
                    <a:pt x="254" y="221"/>
                    <a:pt x="254" y="221"/>
                    <a:pt x="254" y="221"/>
                  </a:cubicBezTo>
                  <a:cubicBezTo>
                    <a:pt x="261" y="209"/>
                    <a:pt x="269" y="200"/>
                    <a:pt x="276" y="194"/>
                  </a:cubicBezTo>
                  <a:close/>
                  <a:moveTo>
                    <a:pt x="276" y="246"/>
                  </a:moveTo>
                  <a:cubicBezTo>
                    <a:pt x="276" y="275"/>
                    <a:pt x="276" y="275"/>
                    <a:pt x="276" y="275"/>
                  </a:cubicBezTo>
                  <a:cubicBezTo>
                    <a:pt x="236" y="275"/>
                    <a:pt x="236" y="275"/>
                    <a:pt x="236" y="275"/>
                  </a:cubicBezTo>
                  <a:cubicBezTo>
                    <a:pt x="237" y="265"/>
                    <a:pt x="239" y="255"/>
                    <a:pt x="242" y="246"/>
                  </a:cubicBezTo>
                  <a:lnTo>
                    <a:pt x="276" y="246"/>
                  </a:lnTo>
                  <a:close/>
                  <a:moveTo>
                    <a:pt x="211" y="275"/>
                  </a:moveTo>
                  <a:cubicBezTo>
                    <a:pt x="183" y="275"/>
                    <a:pt x="183" y="275"/>
                    <a:pt x="183" y="275"/>
                  </a:cubicBezTo>
                  <a:cubicBezTo>
                    <a:pt x="185" y="265"/>
                    <a:pt x="187" y="255"/>
                    <a:pt x="191" y="246"/>
                  </a:cubicBezTo>
                  <a:cubicBezTo>
                    <a:pt x="216" y="246"/>
                    <a:pt x="216" y="246"/>
                    <a:pt x="216" y="246"/>
                  </a:cubicBezTo>
                  <a:cubicBezTo>
                    <a:pt x="214" y="255"/>
                    <a:pt x="212" y="265"/>
                    <a:pt x="211" y="275"/>
                  </a:cubicBezTo>
                  <a:close/>
                  <a:moveTo>
                    <a:pt x="236" y="300"/>
                  </a:moveTo>
                  <a:cubicBezTo>
                    <a:pt x="276" y="300"/>
                    <a:pt x="276" y="300"/>
                    <a:pt x="276" y="300"/>
                  </a:cubicBezTo>
                  <a:cubicBezTo>
                    <a:pt x="276" y="330"/>
                    <a:pt x="276" y="330"/>
                    <a:pt x="276" y="330"/>
                  </a:cubicBezTo>
                  <a:cubicBezTo>
                    <a:pt x="242" y="330"/>
                    <a:pt x="242" y="330"/>
                    <a:pt x="242" y="330"/>
                  </a:cubicBezTo>
                  <a:cubicBezTo>
                    <a:pt x="239" y="321"/>
                    <a:pt x="237" y="311"/>
                    <a:pt x="236" y="300"/>
                  </a:cubicBezTo>
                  <a:close/>
                  <a:moveTo>
                    <a:pt x="276" y="354"/>
                  </a:moveTo>
                  <a:cubicBezTo>
                    <a:pt x="276" y="382"/>
                    <a:pt x="276" y="382"/>
                    <a:pt x="276" y="382"/>
                  </a:cubicBezTo>
                  <a:cubicBezTo>
                    <a:pt x="269" y="375"/>
                    <a:pt x="261" y="366"/>
                    <a:pt x="254" y="354"/>
                  </a:cubicBezTo>
                  <a:lnTo>
                    <a:pt x="276" y="354"/>
                  </a:lnTo>
                  <a:close/>
                  <a:moveTo>
                    <a:pt x="301" y="383"/>
                  </a:moveTo>
                  <a:cubicBezTo>
                    <a:pt x="301" y="354"/>
                    <a:pt x="301" y="354"/>
                    <a:pt x="301" y="354"/>
                  </a:cubicBezTo>
                  <a:cubicBezTo>
                    <a:pt x="325" y="354"/>
                    <a:pt x="325" y="354"/>
                    <a:pt x="325" y="354"/>
                  </a:cubicBezTo>
                  <a:cubicBezTo>
                    <a:pt x="317" y="366"/>
                    <a:pt x="308" y="376"/>
                    <a:pt x="301" y="383"/>
                  </a:cubicBezTo>
                  <a:close/>
                  <a:moveTo>
                    <a:pt x="301" y="330"/>
                  </a:moveTo>
                  <a:cubicBezTo>
                    <a:pt x="301" y="300"/>
                    <a:pt x="301" y="300"/>
                    <a:pt x="301" y="300"/>
                  </a:cubicBezTo>
                  <a:cubicBezTo>
                    <a:pt x="345" y="300"/>
                    <a:pt x="345" y="300"/>
                    <a:pt x="345" y="300"/>
                  </a:cubicBezTo>
                  <a:cubicBezTo>
                    <a:pt x="344" y="311"/>
                    <a:pt x="342" y="321"/>
                    <a:pt x="338" y="330"/>
                  </a:cubicBezTo>
                  <a:lnTo>
                    <a:pt x="301" y="330"/>
                  </a:lnTo>
                  <a:close/>
                  <a:moveTo>
                    <a:pt x="370" y="300"/>
                  </a:moveTo>
                  <a:cubicBezTo>
                    <a:pt x="394" y="300"/>
                    <a:pt x="394" y="300"/>
                    <a:pt x="394" y="300"/>
                  </a:cubicBezTo>
                  <a:cubicBezTo>
                    <a:pt x="392" y="310"/>
                    <a:pt x="390" y="320"/>
                    <a:pt x="386" y="330"/>
                  </a:cubicBezTo>
                  <a:cubicBezTo>
                    <a:pt x="364" y="330"/>
                    <a:pt x="364" y="330"/>
                    <a:pt x="364" y="330"/>
                  </a:cubicBezTo>
                  <a:cubicBezTo>
                    <a:pt x="367" y="320"/>
                    <a:pt x="369" y="311"/>
                    <a:pt x="370" y="300"/>
                  </a:cubicBezTo>
                  <a:close/>
                  <a:moveTo>
                    <a:pt x="370" y="275"/>
                  </a:moveTo>
                  <a:cubicBezTo>
                    <a:pt x="369" y="265"/>
                    <a:pt x="367" y="255"/>
                    <a:pt x="364" y="246"/>
                  </a:cubicBezTo>
                  <a:cubicBezTo>
                    <a:pt x="386" y="246"/>
                    <a:pt x="386" y="246"/>
                    <a:pt x="386" y="246"/>
                  </a:cubicBezTo>
                  <a:cubicBezTo>
                    <a:pt x="390" y="255"/>
                    <a:pt x="392" y="265"/>
                    <a:pt x="394" y="275"/>
                  </a:cubicBezTo>
                  <a:lnTo>
                    <a:pt x="370" y="275"/>
                  </a:lnTo>
                  <a:close/>
                  <a:moveTo>
                    <a:pt x="371" y="221"/>
                  </a:moveTo>
                  <a:cubicBezTo>
                    <a:pt x="354" y="221"/>
                    <a:pt x="354" y="221"/>
                    <a:pt x="354" y="221"/>
                  </a:cubicBezTo>
                  <a:cubicBezTo>
                    <a:pt x="348" y="210"/>
                    <a:pt x="342" y="201"/>
                    <a:pt x="335" y="192"/>
                  </a:cubicBezTo>
                  <a:cubicBezTo>
                    <a:pt x="349" y="199"/>
                    <a:pt x="361" y="209"/>
                    <a:pt x="371" y="221"/>
                  </a:cubicBezTo>
                  <a:close/>
                  <a:moveTo>
                    <a:pt x="245" y="191"/>
                  </a:moveTo>
                  <a:cubicBezTo>
                    <a:pt x="239" y="199"/>
                    <a:pt x="232" y="210"/>
                    <a:pt x="226" y="221"/>
                  </a:cubicBezTo>
                  <a:cubicBezTo>
                    <a:pt x="206" y="221"/>
                    <a:pt x="206" y="221"/>
                    <a:pt x="206" y="221"/>
                  </a:cubicBezTo>
                  <a:cubicBezTo>
                    <a:pt x="217" y="208"/>
                    <a:pt x="230" y="198"/>
                    <a:pt x="245" y="191"/>
                  </a:cubicBezTo>
                  <a:close/>
                  <a:moveTo>
                    <a:pt x="206" y="354"/>
                  </a:moveTo>
                  <a:cubicBezTo>
                    <a:pt x="226" y="354"/>
                    <a:pt x="226" y="354"/>
                    <a:pt x="226" y="354"/>
                  </a:cubicBezTo>
                  <a:cubicBezTo>
                    <a:pt x="232" y="366"/>
                    <a:pt x="239" y="376"/>
                    <a:pt x="245" y="385"/>
                  </a:cubicBezTo>
                  <a:cubicBezTo>
                    <a:pt x="230" y="378"/>
                    <a:pt x="217" y="367"/>
                    <a:pt x="206" y="354"/>
                  </a:cubicBezTo>
                  <a:close/>
                  <a:moveTo>
                    <a:pt x="335" y="383"/>
                  </a:moveTo>
                  <a:cubicBezTo>
                    <a:pt x="342" y="375"/>
                    <a:pt x="348" y="365"/>
                    <a:pt x="354" y="354"/>
                  </a:cubicBezTo>
                  <a:cubicBezTo>
                    <a:pt x="371" y="354"/>
                    <a:pt x="371" y="354"/>
                    <a:pt x="371" y="354"/>
                  </a:cubicBezTo>
                  <a:cubicBezTo>
                    <a:pt x="361" y="366"/>
                    <a:pt x="349" y="376"/>
                    <a:pt x="335" y="383"/>
                  </a:cubicBez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grpSp>
          <p:nvGrpSpPr>
            <p:cNvPr id="9" name="Group 53"/>
            <p:cNvGrpSpPr/>
            <p:nvPr/>
          </p:nvGrpSpPr>
          <p:grpSpPr>
            <a:xfrm>
              <a:off x="186716" y="1498012"/>
              <a:ext cx="2466582" cy="1650111"/>
              <a:chOff x="307768" y="556594"/>
              <a:chExt cx="2466582" cy="1890028"/>
            </a:xfrm>
          </p:grpSpPr>
          <p:sp>
            <p:nvSpPr>
              <p:cNvPr id="55" name="Rectangle 54"/>
              <p:cNvSpPr/>
              <p:nvPr/>
            </p:nvSpPr>
            <p:spPr>
              <a:xfrm>
                <a:off x="756240" y="556594"/>
                <a:ext cx="2018109" cy="165656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6" name="Rectangle 55"/>
              <p:cNvSpPr/>
              <p:nvPr/>
            </p:nvSpPr>
            <p:spPr>
              <a:xfrm>
                <a:off x="307768" y="790060"/>
                <a:ext cx="2466582" cy="16565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lvl="0" algn="r" defTabSz="622300">
                  <a:lnSpc>
                    <a:spcPct val="90000"/>
                  </a:lnSpc>
                  <a:spcBef>
                    <a:spcPct val="0"/>
                  </a:spcBef>
                  <a:spcAft>
                    <a:spcPct val="35000"/>
                  </a:spcAft>
                </a:pPr>
                <a:r>
                  <a:rPr lang="el-GR" sz="1600" b="1" kern="1200" dirty="0">
                    <a:solidFill>
                      <a:schemeClr val="accent2">
                        <a:lumMod val="50000"/>
                      </a:schemeClr>
                    </a:solidFill>
                  </a:rPr>
                  <a:t>Θεσμικό Επίπεδο</a:t>
                </a:r>
              </a:p>
              <a:p>
                <a:pPr lvl="0" algn="r" defTabSz="622300">
                  <a:lnSpc>
                    <a:spcPct val="90000"/>
                  </a:lnSpc>
                  <a:spcBef>
                    <a:spcPct val="0"/>
                  </a:spcBef>
                  <a:spcAft>
                    <a:spcPct val="35000"/>
                  </a:spcAft>
                </a:pPr>
                <a:r>
                  <a:rPr lang="el-GR" sz="1600" b="0" kern="1200" dirty="0">
                    <a:solidFill>
                      <a:schemeClr val="tx1"/>
                    </a:solidFill>
                  </a:rPr>
                  <a:t>3.1 Ενίσχυση </a:t>
                </a:r>
                <a:r>
                  <a:rPr lang="el-GR" sz="1600" b="1" kern="1200" dirty="0">
                    <a:solidFill>
                      <a:schemeClr val="tx1"/>
                    </a:solidFill>
                  </a:rPr>
                  <a:t>διμερών</a:t>
                </a:r>
                <a:r>
                  <a:rPr lang="el-GR" sz="1600" b="0" kern="1200" dirty="0">
                    <a:solidFill>
                      <a:schemeClr val="tx1"/>
                    </a:solidFill>
                  </a:rPr>
                  <a:t> οικονομικών σχέσεων</a:t>
                </a:r>
                <a:endParaRPr lang="en-US" sz="1600" b="0" kern="1200" dirty="0">
                  <a:solidFill>
                    <a:schemeClr val="tx1"/>
                  </a:solidFill>
                </a:endParaRPr>
              </a:p>
              <a:p>
                <a:pPr lvl="0" algn="r" defTabSz="622300">
                  <a:lnSpc>
                    <a:spcPct val="90000"/>
                  </a:lnSpc>
                  <a:spcBef>
                    <a:spcPct val="0"/>
                  </a:spcBef>
                  <a:spcAft>
                    <a:spcPct val="35000"/>
                  </a:spcAft>
                </a:pPr>
                <a:endParaRPr lang="en-US" sz="1600" b="0" kern="1200" dirty="0">
                  <a:solidFill>
                    <a:schemeClr val="tx1"/>
                  </a:solidFill>
                </a:endParaRPr>
              </a:p>
            </p:txBody>
          </p:sp>
        </p:grpSp>
        <p:sp>
          <p:nvSpPr>
            <p:cNvPr id="425" name="Freeform 13">
              <a:extLst>
                <a:ext uri="{FF2B5EF4-FFF2-40B4-BE49-F238E27FC236}">
                  <a16:creationId xmlns:a16="http://schemas.microsoft.com/office/drawing/2014/main" id="{2F888F79-0108-4ACF-B9DD-ECD5736481D3}"/>
                </a:ext>
              </a:extLst>
            </p:cNvPr>
            <p:cNvSpPr>
              <a:spLocks noEditPoints="1"/>
            </p:cNvSpPr>
            <p:nvPr/>
          </p:nvSpPr>
          <p:spPr bwMode="auto">
            <a:xfrm>
              <a:off x="3807356" y="1587876"/>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sp>
          <p:nvSpPr>
            <p:cNvPr id="427" name="Freeform 13">
              <a:extLst>
                <a:ext uri="{FF2B5EF4-FFF2-40B4-BE49-F238E27FC236}">
                  <a16:creationId xmlns:a16="http://schemas.microsoft.com/office/drawing/2014/main" id="{9F911726-E1E8-4EA4-A497-9DB5C0D26471}"/>
                </a:ext>
              </a:extLst>
            </p:cNvPr>
            <p:cNvSpPr>
              <a:spLocks noEditPoints="1"/>
            </p:cNvSpPr>
            <p:nvPr/>
          </p:nvSpPr>
          <p:spPr bwMode="auto">
            <a:xfrm>
              <a:off x="3632452" y="2795452"/>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sp>
          <p:nvSpPr>
            <p:cNvPr id="439" name="Freeform 13">
              <a:extLst>
                <a:ext uri="{FF2B5EF4-FFF2-40B4-BE49-F238E27FC236}">
                  <a16:creationId xmlns:a16="http://schemas.microsoft.com/office/drawing/2014/main" id="{BCB7FEC5-91EB-44A0-905D-94DC6F209BCE}"/>
                </a:ext>
              </a:extLst>
            </p:cNvPr>
            <p:cNvSpPr>
              <a:spLocks noEditPoints="1"/>
            </p:cNvSpPr>
            <p:nvPr/>
          </p:nvSpPr>
          <p:spPr bwMode="auto">
            <a:xfrm>
              <a:off x="3011735" y="3471089"/>
              <a:ext cx="444811" cy="452881"/>
            </a:xfrm>
            <a:custGeom>
              <a:avLst/>
              <a:gdLst/>
              <a:ahLst/>
              <a:cxnLst>
                <a:cxn ang="0">
                  <a:pos x="236" y="217"/>
                </a:cxn>
                <a:cxn ang="0">
                  <a:pos x="181" y="197"/>
                </a:cxn>
                <a:cxn ang="0">
                  <a:pos x="143" y="197"/>
                </a:cxn>
                <a:cxn ang="0">
                  <a:pos x="88" y="217"/>
                </a:cxn>
                <a:cxn ang="0">
                  <a:pos x="80" y="267"/>
                </a:cxn>
                <a:cxn ang="0">
                  <a:pos x="114" y="246"/>
                </a:cxn>
                <a:cxn ang="0">
                  <a:pos x="120" y="289"/>
                </a:cxn>
                <a:cxn ang="0">
                  <a:pos x="204" y="289"/>
                </a:cxn>
                <a:cxn ang="0">
                  <a:pos x="210" y="246"/>
                </a:cxn>
                <a:cxn ang="0">
                  <a:pos x="245" y="267"/>
                </a:cxn>
                <a:cxn ang="0">
                  <a:pos x="162" y="126"/>
                </a:cxn>
                <a:cxn ang="0">
                  <a:pos x="162" y="189"/>
                </a:cxn>
                <a:cxn ang="0">
                  <a:pos x="162" y="126"/>
                </a:cxn>
                <a:cxn ang="0">
                  <a:pos x="74" y="127"/>
                </a:cxn>
                <a:cxn ang="0">
                  <a:pos x="78" y="207"/>
                </a:cxn>
                <a:cxn ang="0">
                  <a:pos x="127" y="184"/>
                </a:cxn>
                <a:cxn ang="0">
                  <a:pos x="154" y="114"/>
                </a:cxn>
                <a:cxn ang="0">
                  <a:pos x="153" y="108"/>
                </a:cxn>
                <a:cxn ang="0">
                  <a:pos x="117" y="95"/>
                </a:cxn>
                <a:cxn ang="0">
                  <a:pos x="92" y="95"/>
                </a:cxn>
                <a:cxn ang="0">
                  <a:pos x="57" y="108"/>
                </a:cxn>
                <a:cxn ang="0">
                  <a:pos x="46" y="173"/>
                </a:cxn>
                <a:cxn ang="0">
                  <a:pos x="55" y="184"/>
                </a:cxn>
                <a:cxn ang="0">
                  <a:pos x="105" y="88"/>
                </a:cxn>
                <a:cxn ang="0">
                  <a:pos x="105" y="50"/>
                </a:cxn>
                <a:cxn ang="0">
                  <a:pos x="105" y="88"/>
                </a:cxn>
                <a:cxn ang="0">
                  <a:pos x="267" y="109"/>
                </a:cxn>
                <a:cxn ang="0">
                  <a:pos x="249" y="95"/>
                </a:cxn>
                <a:cxn ang="0">
                  <a:pos x="219" y="116"/>
                </a:cxn>
                <a:cxn ang="0">
                  <a:pos x="190" y="95"/>
                </a:cxn>
                <a:cxn ang="0">
                  <a:pos x="171" y="109"/>
                </a:cxn>
                <a:cxn ang="0">
                  <a:pos x="206" y="157"/>
                </a:cxn>
                <a:cxn ang="0">
                  <a:pos x="208" y="184"/>
                </a:cxn>
                <a:cxn ang="0">
                  <a:pos x="244" y="127"/>
                </a:cxn>
                <a:cxn ang="0">
                  <a:pos x="259" y="176"/>
                </a:cxn>
                <a:cxn ang="0">
                  <a:pos x="270" y="184"/>
                </a:cxn>
                <a:cxn ang="0">
                  <a:pos x="219" y="88"/>
                </a:cxn>
                <a:cxn ang="0">
                  <a:pos x="219" y="50"/>
                </a:cxn>
                <a:cxn ang="0">
                  <a:pos x="219" y="88"/>
                </a:cxn>
                <a:cxn ang="0">
                  <a:pos x="0" y="162"/>
                </a:cxn>
                <a:cxn ang="0">
                  <a:pos x="324" y="162"/>
                </a:cxn>
                <a:cxn ang="0">
                  <a:pos x="162" y="13"/>
                </a:cxn>
                <a:cxn ang="0">
                  <a:pos x="162" y="312"/>
                </a:cxn>
                <a:cxn ang="0">
                  <a:pos x="162" y="13"/>
                </a:cxn>
              </a:cxnLst>
              <a:rect l="0" t="0" r="r" b="b"/>
              <a:pathLst>
                <a:path w="324" h="325">
                  <a:moveTo>
                    <a:pt x="236" y="218"/>
                  </a:moveTo>
                  <a:cubicBezTo>
                    <a:pt x="236" y="218"/>
                    <a:pt x="236" y="217"/>
                    <a:pt x="236" y="217"/>
                  </a:cubicBezTo>
                  <a:cubicBezTo>
                    <a:pt x="232" y="205"/>
                    <a:pt x="221" y="197"/>
                    <a:pt x="208" y="197"/>
                  </a:cubicBezTo>
                  <a:cubicBezTo>
                    <a:pt x="181" y="197"/>
                    <a:pt x="181" y="197"/>
                    <a:pt x="181" y="197"/>
                  </a:cubicBezTo>
                  <a:cubicBezTo>
                    <a:pt x="162" y="230"/>
                    <a:pt x="162" y="230"/>
                    <a:pt x="162" y="230"/>
                  </a:cubicBezTo>
                  <a:cubicBezTo>
                    <a:pt x="143" y="197"/>
                    <a:pt x="143" y="197"/>
                    <a:pt x="143" y="197"/>
                  </a:cubicBezTo>
                  <a:cubicBezTo>
                    <a:pt x="116" y="197"/>
                    <a:pt x="116" y="197"/>
                    <a:pt x="116" y="197"/>
                  </a:cubicBezTo>
                  <a:cubicBezTo>
                    <a:pt x="103" y="197"/>
                    <a:pt x="92" y="205"/>
                    <a:pt x="88" y="217"/>
                  </a:cubicBezTo>
                  <a:cubicBezTo>
                    <a:pt x="88" y="217"/>
                    <a:pt x="88" y="218"/>
                    <a:pt x="88" y="218"/>
                  </a:cubicBezTo>
                  <a:cubicBezTo>
                    <a:pt x="80" y="267"/>
                    <a:pt x="80" y="267"/>
                    <a:pt x="80" y="267"/>
                  </a:cubicBezTo>
                  <a:cubicBezTo>
                    <a:pt x="88" y="274"/>
                    <a:pt x="98" y="279"/>
                    <a:pt x="108" y="284"/>
                  </a:cubicBezTo>
                  <a:cubicBezTo>
                    <a:pt x="114" y="246"/>
                    <a:pt x="114" y="246"/>
                    <a:pt x="114" y="246"/>
                  </a:cubicBezTo>
                  <a:cubicBezTo>
                    <a:pt x="122" y="246"/>
                    <a:pt x="122" y="246"/>
                    <a:pt x="122" y="246"/>
                  </a:cubicBezTo>
                  <a:cubicBezTo>
                    <a:pt x="120" y="289"/>
                    <a:pt x="120" y="289"/>
                    <a:pt x="120" y="289"/>
                  </a:cubicBezTo>
                  <a:cubicBezTo>
                    <a:pt x="133" y="293"/>
                    <a:pt x="147" y="296"/>
                    <a:pt x="162" y="296"/>
                  </a:cubicBezTo>
                  <a:cubicBezTo>
                    <a:pt x="177" y="296"/>
                    <a:pt x="191" y="293"/>
                    <a:pt x="204" y="289"/>
                  </a:cubicBezTo>
                  <a:cubicBezTo>
                    <a:pt x="202" y="246"/>
                    <a:pt x="202" y="246"/>
                    <a:pt x="202" y="246"/>
                  </a:cubicBezTo>
                  <a:cubicBezTo>
                    <a:pt x="210" y="246"/>
                    <a:pt x="210" y="246"/>
                    <a:pt x="210" y="246"/>
                  </a:cubicBezTo>
                  <a:cubicBezTo>
                    <a:pt x="216" y="284"/>
                    <a:pt x="216" y="284"/>
                    <a:pt x="216" y="284"/>
                  </a:cubicBezTo>
                  <a:cubicBezTo>
                    <a:pt x="226" y="279"/>
                    <a:pt x="236" y="274"/>
                    <a:pt x="245" y="267"/>
                  </a:cubicBezTo>
                  <a:lnTo>
                    <a:pt x="236" y="218"/>
                  </a:lnTo>
                  <a:close/>
                  <a:moveTo>
                    <a:pt x="162" y="126"/>
                  </a:moveTo>
                  <a:cubicBezTo>
                    <a:pt x="145" y="126"/>
                    <a:pt x="131" y="140"/>
                    <a:pt x="131" y="157"/>
                  </a:cubicBezTo>
                  <a:cubicBezTo>
                    <a:pt x="131" y="175"/>
                    <a:pt x="145" y="189"/>
                    <a:pt x="162" y="189"/>
                  </a:cubicBezTo>
                  <a:cubicBezTo>
                    <a:pt x="179" y="189"/>
                    <a:pt x="194" y="175"/>
                    <a:pt x="194" y="157"/>
                  </a:cubicBezTo>
                  <a:cubicBezTo>
                    <a:pt x="194" y="140"/>
                    <a:pt x="179" y="126"/>
                    <a:pt x="162" y="126"/>
                  </a:cubicBezTo>
                  <a:moveTo>
                    <a:pt x="65" y="176"/>
                  </a:moveTo>
                  <a:cubicBezTo>
                    <a:pt x="74" y="127"/>
                    <a:pt x="74" y="127"/>
                    <a:pt x="74" y="127"/>
                  </a:cubicBezTo>
                  <a:cubicBezTo>
                    <a:pt x="80" y="127"/>
                    <a:pt x="80" y="127"/>
                    <a:pt x="80" y="127"/>
                  </a:cubicBezTo>
                  <a:cubicBezTo>
                    <a:pt x="78" y="207"/>
                    <a:pt x="78" y="207"/>
                    <a:pt x="78" y="207"/>
                  </a:cubicBezTo>
                  <a:cubicBezTo>
                    <a:pt x="85" y="193"/>
                    <a:pt x="100" y="184"/>
                    <a:pt x="116" y="184"/>
                  </a:cubicBezTo>
                  <a:cubicBezTo>
                    <a:pt x="127" y="184"/>
                    <a:pt x="127" y="184"/>
                    <a:pt x="127" y="184"/>
                  </a:cubicBezTo>
                  <a:cubicBezTo>
                    <a:pt x="121" y="176"/>
                    <a:pt x="118" y="167"/>
                    <a:pt x="118" y="157"/>
                  </a:cubicBezTo>
                  <a:cubicBezTo>
                    <a:pt x="118" y="136"/>
                    <a:pt x="133" y="118"/>
                    <a:pt x="154" y="114"/>
                  </a:cubicBezTo>
                  <a:cubicBezTo>
                    <a:pt x="153" y="109"/>
                    <a:pt x="153" y="109"/>
                    <a:pt x="153" y="109"/>
                  </a:cubicBezTo>
                  <a:cubicBezTo>
                    <a:pt x="153" y="108"/>
                    <a:pt x="153" y="108"/>
                    <a:pt x="153" y="108"/>
                  </a:cubicBezTo>
                  <a:cubicBezTo>
                    <a:pt x="150" y="100"/>
                    <a:pt x="143" y="95"/>
                    <a:pt x="134" y="95"/>
                  </a:cubicBezTo>
                  <a:cubicBezTo>
                    <a:pt x="117" y="95"/>
                    <a:pt x="117" y="95"/>
                    <a:pt x="117" y="95"/>
                  </a:cubicBezTo>
                  <a:cubicBezTo>
                    <a:pt x="105" y="116"/>
                    <a:pt x="105" y="116"/>
                    <a:pt x="105" y="116"/>
                  </a:cubicBezTo>
                  <a:cubicBezTo>
                    <a:pt x="92" y="95"/>
                    <a:pt x="92" y="95"/>
                    <a:pt x="92" y="95"/>
                  </a:cubicBezTo>
                  <a:cubicBezTo>
                    <a:pt x="75" y="95"/>
                    <a:pt x="75" y="95"/>
                    <a:pt x="75" y="95"/>
                  </a:cubicBezTo>
                  <a:cubicBezTo>
                    <a:pt x="67" y="95"/>
                    <a:pt x="59" y="100"/>
                    <a:pt x="57" y="108"/>
                  </a:cubicBezTo>
                  <a:cubicBezTo>
                    <a:pt x="57" y="108"/>
                    <a:pt x="57" y="108"/>
                    <a:pt x="57" y="109"/>
                  </a:cubicBezTo>
                  <a:cubicBezTo>
                    <a:pt x="46" y="173"/>
                    <a:pt x="46" y="173"/>
                    <a:pt x="46" y="173"/>
                  </a:cubicBezTo>
                  <a:cubicBezTo>
                    <a:pt x="45" y="178"/>
                    <a:pt x="49" y="184"/>
                    <a:pt x="54" y="184"/>
                  </a:cubicBezTo>
                  <a:cubicBezTo>
                    <a:pt x="55" y="184"/>
                    <a:pt x="55" y="184"/>
                    <a:pt x="55" y="184"/>
                  </a:cubicBezTo>
                  <a:cubicBezTo>
                    <a:pt x="60" y="184"/>
                    <a:pt x="64" y="181"/>
                    <a:pt x="65" y="176"/>
                  </a:cubicBezTo>
                  <a:close/>
                  <a:moveTo>
                    <a:pt x="105" y="88"/>
                  </a:moveTo>
                  <a:cubicBezTo>
                    <a:pt x="115" y="88"/>
                    <a:pt x="124" y="79"/>
                    <a:pt x="124" y="69"/>
                  </a:cubicBezTo>
                  <a:cubicBezTo>
                    <a:pt x="124" y="59"/>
                    <a:pt x="115" y="50"/>
                    <a:pt x="105" y="50"/>
                  </a:cubicBezTo>
                  <a:cubicBezTo>
                    <a:pt x="94" y="50"/>
                    <a:pt x="86" y="59"/>
                    <a:pt x="86" y="69"/>
                  </a:cubicBezTo>
                  <a:cubicBezTo>
                    <a:pt x="86" y="79"/>
                    <a:pt x="94" y="88"/>
                    <a:pt x="105" y="88"/>
                  </a:cubicBezTo>
                  <a:close/>
                  <a:moveTo>
                    <a:pt x="278" y="173"/>
                  </a:moveTo>
                  <a:cubicBezTo>
                    <a:pt x="267" y="109"/>
                    <a:pt x="267" y="109"/>
                    <a:pt x="267" y="109"/>
                  </a:cubicBezTo>
                  <a:cubicBezTo>
                    <a:pt x="267" y="108"/>
                    <a:pt x="267" y="108"/>
                    <a:pt x="267" y="108"/>
                  </a:cubicBezTo>
                  <a:cubicBezTo>
                    <a:pt x="265" y="100"/>
                    <a:pt x="257" y="95"/>
                    <a:pt x="249" y="95"/>
                  </a:cubicBezTo>
                  <a:cubicBezTo>
                    <a:pt x="232" y="95"/>
                    <a:pt x="232" y="95"/>
                    <a:pt x="232" y="95"/>
                  </a:cubicBezTo>
                  <a:cubicBezTo>
                    <a:pt x="219" y="116"/>
                    <a:pt x="219" y="116"/>
                    <a:pt x="219" y="116"/>
                  </a:cubicBezTo>
                  <a:cubicBezTo>
                    <a:pt x="207" y="95"/>
                    <a:pt x="207" y="95"/>
                    <a:pt x="207" y="95"/>
                  </a:cubicBezTo>
                  <a:cubicBezTo>
                    <a:pt x="190" y="95"/>
                    <a:pt x="190" y="95"/>
                    <a:pt x="190" y="95"/>
                  </a:cubicBezTo>
                  <a:cubicBezTo>
                    <a:pt x="181" y="95"/>
                    <a:pt x="174" y="100"/>
                    <a:pt x="171" y="108"/>
                  </a:cubicBezTo>
                  <a:cubicBezTo>
                    <a:pt x="171" y="108"/>
                    <a:pt x="171" y="108"/>
                    <a:pt x="171" y="109"/>
                  </a:cubicBezTo>
                  <a:cubicBezTo>
                    <a:pt x="170" y="114"/>
                    <a:pt x="170" y="114"/>
                    <a:pt x="170" y="114"/>
                  </a:cubicBezTo>
                  <a:cubicBezTo>
                    <a:pt x="191" y="118"/>
                    <a:pt x="206" y="136"/>
                    <a:pt x="206" y="157"/>
                  </a:cubicBezTo>
                  <a:cubicBezTo>
                    <a:pt x="206" y="167"/>
                    <a:pt x="203" y="176"/>
                    <a:pt x="197" y="184"/>
                  </a:cubicBezTo>
                  <a:cubicBezTo>
                    <a:pt x="208" y="184"/>
                    <a:pt x="208" y="184"/>
                    <a:pt x="208" y="184"/>
                  </a:cubicBezTo>
                  <a:cubicBezTo>
                    <a:pt x="224" y="184"/>
                    <a:pt x="239" y="193"/>
                    <a:pt x="246" y="207"/>
                  </a:cubicBezTo>
                  <a:cubicBezTo>
                    <a:pt x="244" y="127"/>
                    <a:pt x="244" y="127"/>
                    <a:pt x="244" y="127"/>
                  </a:cubicBezTo>
                  <a:cubicBezTo>
                    <a:pt x="251" y="127"/>
                    <a:pt x="251" y="127"/>
                    <a:pt x="251" y="127"/>
                  </a:cubicBezTo>
                  <a:cubicBezTo>
                    <a:pt x="259" y="176"/>
                    <a:pt x="259" y="176"/>
                    <a:pt x="259" y="176"/>
                  </a:cubicBezTo>
                  <a:cubicBezTo>
                    <a:pt x="260" y="181"/>
                    <a:pt x="264" y="184"/>
                    <a:pt x="269" y="184"/>
                  </a:cubicBezTo>
                  <a:cubicBezTo>
                    <a:pt x="269" y="184"/>
                    <a:pt x="270" y="184"/>
                    <a:pt x="270" y="184"/>
                  </a:cubicBezTo>
                  <a:cubicBezTo>
                    <a:pt x="275" y="184"/>
                    <a:pt x="279" y="178"/>
                    <a:pt x="278" y="173"/>
                  </a:cubicBezTo>
                  <a:close/>
                  <a:moveTo>
                    <a:pt x="219" y="88"/>
                  </a:moveTo>
                  <a:cubicBezTo>
                    <a:pt x="230" y="88"/>
                    <a:pt x="238" y="79"/>
                    <a:pt x="238" y="69"/>
                  </a:cubicBezTo>
                  <a:cubicBezTo>
                    <a:pt x="238" y="59"/>
                    <a:pt x="230" y="50"/>
                    <a:pt x="219" y="50"/>
                  </a:cubicBezTo>
                  <a:cubicBezTo>
                    <a:pt x="209" y="50"/>
                    <a:pt x="200" y="59"/>
                    <a:pt x="200" y="69"/>
                  </a:cubicBezTo>
                  <a:cubicBezTo>
                    <a:pt x="200" y="79"/>
                    <a:pt x="209" y="88"/>
                    <a:pt x="219" y="88"/>
                  </a:cubicBezTo>
                  <a:close/>
                  <a:moveTo>
                    <a:pt x="162" y="0"/>
                  </a:moveTo>
                  <a:cubicBezTo>
                    <a:pt x="72" y="0"/>
                    <a:pt x="0" y="73"/>
                    <a:pt x="0" y="162"/>
                  </a:cubicBezTo>
                  <a:cubicBezTo>
                    <a:pt x="0" y="252"/>
                    <a:pt x="72" y="325"/>
                    <a:pt x="162" y="325"/>
                  </a:cubicBezTo>
                  <a:cubicBezTo>
                    <a:pt x="252" y="325"/>
                    <a:pt x="324" y="252"/>
                    <a:pt x="324" y="162"/>
                  </a:cubicBezTo>
                  <a:cubicBezTo>
                    <a:pt x="324" y="73"/>
                    <a:pt x="252" y="0"/>
                    <a:pt x="162" y="0"/>
                  </a:cubicBezTo>
                  <a:close/>
                  <a:moveTo>
                    <a:pt x="162" y="13"/>
                  </a:moveTo>
                  <a:cubicBezTo>
                    <a:pt x="244" y="13"/>
                    <a:pt x="311" y="80"/>
                    <a:pt x="311" y="162"/>
                  </a:cubicBezTo>
                  <a:cubicBezTo>
                    <a:pt x="311" y="245"/>
                    <a:pt x="244" y="312"/>
                    <a:pt x="162" y="312"/>
                  </a:cubicBezTo>
                  <a:cubicBezTo>
                    <a:pt x="80" y="312"/>
                    <a:pt x="13" y="245"/>
                    <a:pt x="13" y="162"/>
                  </a:cubicBezTo>
                  <a:cubicBezTo>
                    <a:pt x="13" y="80"/>
                    <a:pt x="80" y="13"/>
                    <a:pt x="162" y="13"/>
                  </a:cubicBez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a:p>
          </p:txBody>
        </p:sp>
        <p:sp>
          <p:nvSpPr>
            <p:cNvPr id="444" name="Straight Connector 443">
              <a:extLst>
                <a:ext uri="{FF2B5EF4-FFF2-40B4-BE49-F238E27FC236}">
                  <a16:creationId xmlns:a16="http://schemas.microsoft.com/office/drawing/2014/main" id="{D57B27A6-47B9-4952-BB83-08B2DC844E27}"/>
                </a:ext>
              </a:extLst>
            </p:cNvPr>
            <p:cNvSpPr/>
            <p:nvPr/>
          </p:nvSpPr>
          <p:spPr>
            <a:xfrm rot="16200000" flipH="1" flipV="1">
              <a:off x="3336927" y="1913854"/>
              <a:ext cx="339541" cy="1555303"/>
            </a:xfrm>
            <a:prstGeom prst="line">
              <a:avLst/>
            </a:prstGeom>
            <a:ln w="12700" cap="rnd">
              <a:solidFill>
                <a:srgbClr val="968C6D"/>
              </a:solidFill>
              <a:prstDash val="sysDot"/>
            </a:ln>
          </p:spPr>
          <p:style>
            <a:lnRef idx="1">
              <a:schemeClr val="accent1"/>
            </a:lnRef>
            <a:fillRef idx="0">
              <a:schemeClr val="accent1"/>
            </a:fillRef>
            <a:effectRef idx="0">
              <a:schemeClr val="accent1"/>
            </a:effectRef>
            <a:fontRef idx="minor">
              <a:schemeClr val="tx1"/>
            </a:fontRef>
          </p:style>
          <p:txBody>
            <a:bodyPr/>
            <a:lstStyle/>
            <a:p>
              <a:endParaRPr lang="en-GB"/>
            </a:p>
          </p:txBody>
        </p:sp>
      </p:grpSp>
      <p:sp>
        <p:nvSpPr>
          <p:cNvPr id="404" name="Rectangle 403">
            <a:extLst>
              <a:ext uri="{FF2B5EF4-FFF2-40B4-BE49-F238E27FC236}">
                <a16:creationId xmlns:a16="http://schemas.microsoft.com/office/drawing/2014/main" id="{ADF15C66-8658-4E8E-BA6A-BC0433AC14CA}"/>
              </a:ext>
            </a:extLst>
          </p:cNvPr>
          <p:cNvSpPr/>
          <p:nvPr/>
        </p:nvSpPr>
        <p:spPr>
          <a:xfrm>
            <a:off x="4980669" y="3030846"/>
            <a:ext cx="782658" cy="77175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8" name="Freeform 97">
            <a:extLst>
              <a:ext uri="{FF2B5EF4-FFF2-40B4-BE49-F238E27FC236}">
                <a16:creationId xmlns:a16="http://schemas.microsoft.com/office/drawing/2014/main" id="{2FB30791-5DD2-4875-AAB5-AF0EC2CA0264}"/>
              </a:ext>
            </a:extLst>
          </p:cNvPr>
          <p:cNvSpPr>
            <a:spLocks noChangeAspect="1" noEditPoints="1"/>
          </p:cNvSpPr>
          <p:nvPr/>
        </p:nvSpPr>
        <p:spPr bwMode="auto">
          <a:xfrm>
            <a:off x="4980105" y="3014701"/>
            <a:ext cx="825654" cy="828000"/>
          </a:xfrm>
          <a:custGeom>
            <a:avLst/>
            <a:gdLst>
              <a:gd name="T0" fmla="*/ 288 w 576"/>
              <a:gd name="T1" fmla="*/ 498 h 576"/>
              <a:gd name="T2" fmla="*/ 147 w 576"/>
              <a:gd name="T3" fmla="*/ 169 h 576"/>
              <a:gd name="T4" fmla="*/ 208 w 576"/>
              <a:gd name="T5" fmla="*/ 123 h 576"/>
              <a:gd name="T6" fmla="*/ 146 w 576"/>
              <a:gd name="T7" fmla="*/ 170 h 576"/>
              <a:gd name="T8" fmla="*/ 128 w 576"/>
              <a:gd name="T9" fmla="*/ 195 h 576"/>
              <a:gd name="T10" fmla="*/ 171 w 576"/>
              <a:gd name="T11" fmla="*/ 196 h 576"/>
              <a:gd name="T12" fmla="*/ 104 w 576"/>
              <a:gd name="T13" fmla="*/ 275 h 576"/>
              <a:gd name="T14" fmla="*/ 104 w 576"/>
              <a:gd name="T15" fmla="*/ 301 h 576"/>
              <a:gd name="T16" fmla="*/ 158 w 576"/>
              <a:gd name="T17" fmla="*/ 301 h 576"/>
              <a:gd name="T18" fmla="*/ 128 w 576"/>
              <a:gd name="T19" fmla="*/ 380 h 576"/>
              <a:gd name="T20" fmla="*/ 146 w 576"/>
              <a:gd name="T21" fmla="*/ 406 h 576"/>
              <a:gd name="T22" fmla="*/ 208 w 576"/>
              <a:gd name="T23" fmla="*/ 453 h 576"/>
              <a:gd name="T24" fmla="*/ 275 w 576"/>
              <a:gd name="T25" fmla="*/ 471 h 576"/>
              <a:gd name="T26" fmla="*/ 208 w 576"/>
              <a:gd name="T27" fmla="*/ 406 h 576"/>
              <a:gd name="T28" fmla="*/ 275 w 576"/>
              <a:gd name="T29" fmla="*/ 380 h 576"/>
              <a:gd name="T30" fmla="*/ 184 w 576"/>
              <a:gd name="T31" fmla="*/ 301 h 576"/>
              <a:gd name="T32" fmla="*/ 275 w 576"/>
              <a:gd name="T33" fmla="*/ 380 h 576"/>
              <a:gd name="T34" fmla="*/ 184 w 576"/>
              <a:gd name="T35" fmla="*/ 275 h 576"/>
              <a:gd name="T36" fmla="*/ 275 w 576"/>
              <a:gd name="T37" fmla="*/ 195 h 576"/>
              <a:gd name="T38" fmla="*/ 208 w 576"/>
              <a:gd name="T39" fmla="*/ 170 h 576"/>
              <a:gd name="T40" fmla="*/ 275 w 576"/>
              <a:gd name="T41" fmla="*/ 105 h 576"/>
              <a:gd name="T42" fmla="*/ 429 w 576"/>
              <a:gd name="T43" fmla="*/ 169 h 576"/>
              <a:gd name="T44" fmla="*/ 395 w 576"/>
              <a:gd name="T45" fmla="*/ 170 h 576"/>
              <a:gd name="T46" fmla="*/ 369 w 576"/>
              <a:gd name="T47" fmla="*/ 122 h 576"/>
              <a:gd name="T48" fmla="*/ 367 w 576"/>
              <a:gd name="T49" fmla="*/ 169 h 576"/>
              <a:gd name="T50" fmla="*/ 301 w 576"/>
              <a:gd name="T51" fmla="*/ 105 h 576"/>
              <a:gd name="T52" fmla="*/ 378 w 576"/>
              <a:gd name="T53" fmla="*/ 196 h 576"/>
              <a:gd name="T54" fmla="*/ 301 w 576"/>
              <a:gd name="T55" fmla="*/ 275 h 576"/>
              <a:gd name="T56" fmla="*/ 392 w 576"/>
              <a:gd name="T57" fmla="*/ 301 h 576"/>
              <a:gd name="T58" fmla="*/ 378 w 576"/>
              <a:gd name="T59" fmla="*/ 380 h 576"/>
              <a:gd name="T60" fmla="*/ 301 w 576"/>
              <a:gd name="T61" fmla="*/ 471 h 576"/>
              <a:gd name="T62" fmla="*/ 368 w 576"/>
              <a:gd name="T63" fmla="*/ 406 h 576"/>
              <a:gd name="T64" fmla="*/ 429 w 576"/>
              <a:gd name="T65" fmla="*/ 407 h 576"/>
              <a:gd name="T66" fmla="*/ 368 w 576"/>
              <a:gd name="T67" fmla="*/ 453 h 576"/>
              <a:gd name="T68" fmla="*/ 430 w 576"/>
              <a:gd name="T69" fmla="*/ 406 h 576"/>
              <a:gd name="T70" fmla="*/ 448 w 576"/>
              <a:gd name="T71" fmla="*/ 380 h 576"/>
              <a:gd name="T72" fmla="*/ 405 w 576"/>
              <a:gd name="T73" fmla="*/ 380 h 576"/>
              <a:gd name="T74" fmla="*/ 472 w 576"/>
              <a:gd name="T75" fmla="*/ 301 h 576"/>
              <a:gd name="T76" fmla="*/ 472 w 576"/>
              <a:gd name="T77" fmla="*/ 275 h 576"/>
              <a:gd name="T78" fmla="*/ 405 w 576"/>
              <a:gd name="T79" fmla="*/ 196 h 576"/>
              <a:gd name="T80" fmla="*/ 0 w 576"/>
              <a:gd name="T81" fmla="*/ 0 h 576"/>
              <a:gd name="T82" fmla="*/ 576 w 576"/>
              <a:gd name="T83" fmla="*/ 0 h 576"/>
              <a:gd name="T84" fmla="*/ 25 w 576"/>
              <a:gd name="T85" fmla="*/ 551 h 576"/>
              <a:gd name="T86" fmla="*/ 551 w 576"/>
              <a:gd name="T8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6" h="576">
                <a:moveTo>
                  <a:pt x="288" y="78"/>
                </a:moveTo>
                <a:cubicBezTo>
                  <a:pt x="172" y="78"/>
                  <a:pt x="78" y="172"/>
                  <a:pt x="78" y="288"/>
                </a:cubicBezTo>
                <a:cubicBezTo>
                  <a:pt x="78" y="404"/>
                  <a:pt x="172" y="498"/>
                  <a:pt x="288" y="498"/>
                </a:cubicBezTo>
                <a:cubicBezTo>
                  <a:pt x="404" y="498"/>
                  <a:pt x="498" y="404"/>
                  <a:pt x="498" y="288"/>
                </a:cubicBezTo>
                <a:cubicBezTo>
                  <a:pt x="498" y="172"/>
                  <a:pt x="404" y="78"/>
                  <a:pt x="288" y="78"/>
                </a:cubicBezTo>
                <a:close/>
                <a:moveTo>
                  <a:pt x="147" y="169"/>
                </a:moveTo>
                <a:cubicBezTo>
                  <a:pt x="163" y="149"/>
                  <a:pt x="184" y="133"/>
                  <a:pt x="207" y="122"/>
                </a:cubicBezTo>
                <a:cubicBezTo>
                  <a:pt x="209" y="121"/>
                  <a:pt x="209" y="121"/>
                  <a:pt x="209" y="121"/>
                </a:cubicBezTo>
                <a:cubicBezTo>
                  <a:pt x="208" y="123"/>
                  <a:pt x="208" y="123"/>
                  <a:pt x="208" y="123"/>
                </a:cubicBezTo>
                <a:cubicBezTo>
                  <a:pt x="197" y="136"/>
                  <a:pt x="188" y="152"/>
                  <a:pt x="181" y="170"/>
                </a:cubicBezTo>
                <a:cubicBezTo>
                  <a:pt x="180" y="170"/>
                  <a:pt x="180" y="170"/>
                  <a:pt x="180" y="170"/>
                </a:cubicBezTo>
                <a:cubicBezTo>
                  <a:pt x="146" y="170"/>
                  <a:pt x="146" y="170"/>
                  <a:pt x="146" y="170"/>
                </a:cubicBezTo>
                <a:lnTo>
                  <a:pt x="147" y="169"/>
                </a:lnTo>
                <a:close/>
                <a:moveTo>
                  <a:pt x="104" y="275"/>
                </a:moveTo>
                <a:cubicBezTo>
                  <a:pt x="106" y="246"/>
                  <a:pt x="114" y="220"/>
                  <a:pt x="128" y="195"/>
                </a:cubicBezTo>
                <a:cubicBezTo>
                  <a:pt x="128" y="195"/>
                  <a:pt x="128" y="195"/>
                  <a:pt x="128" y="195"/>
                </a:cubicBezTo>
                <a:cubicBezTo>
                  <a:pt x="171" y="195"/>
                  <a:pt x="171" y="195"/>
                  <a:pt x="171" y="195"/>
                </a:cubicBezTo>
                <a:cubicBezTo>
                  <a:pt x="171" y="196"/>
                  <a:pt x="171" y="196"/>
                  <a:pt x="171" y="196"/>
                </a:cubicBezTo>
                <a:cubicBezTo>
                  <a:pt x="164" y="221"/>
                  <a:pt x="159" y="247"/>
                  <a:pt x="158" y="275"/>
                </a:cubicBezTo>
                <a:cubicBezTo>
                  <a:pt x="158" y="275"/>
                  <a:pt x="158" y="275"/>
                  <a:pt x="158" y="275"/>
                </a:cubicBezTo>
                <a:cubicBezTo>
                  <a:pt x="104" y="275"/>
                  <a:pt x="104" y="275"/>
                  <a:pt x="104" y="275"/>
                </a:cubicBezTo>
                <a:close/>
                <a:moveTo>
                  <a:pt x="128" y="380"/>
                </a:moveTo>
                <a:cubicBezTo>
                  <a:pt x="128" y="380"/>
                  <a:pt x="128" y="380"/>
                  <a:pt x="128" y="380"/>
                </a:cubicBezTo>
                <a:cubicBezTo>
                  <a:pt x="114" y="356"/>
                  <a:pt x="106" y="329"/>
                  <a:pt x="104" y="301"/>
                </a:cubicBezTo>
                <a:cubicBezTo>
                  <a:pt x="104" y="301"/>
                  <a:pt x="104" y="301"/>
                  <a:pt x="104" y="301"/>
                </a:cubicBezTo>
                <a:cubicBezTo>
                  <a:pt x="158" y="301"/>
                  <a:pt x="158" y="301"/>
                  <a:pt x="158" y="301"/>
                </a:cubicBezTo>
                <a:cubicBezTo>
                  <a:pt x="158" y="301"/>
                  <a:pt x="158" y="301"/>
                  <a:pt x="158" y="301"/>
                </a:cubicBezTo>
                <a:cubicBezTo>
                  <a:pt x="159" y="329"/>
                  <a:pt x="164" y="355"/>
                  <a:pt x="171" y="380"/>
                </a:cubicBezTo>
                <a:cubicBezTo>
                  <a:pt x="171" y="380"/>
                  <a:pt x="171" y="380"/>
                  <a:pt x="171" y="380"/>
                </a:cubicBezTo>
                <a:lnTo>
                  <a:pt x="128" y="380"/>
                </a:lnTo>
                <a:close/>
                <a:moveTo>
                  <a:pt x="207" y="454"/>
                </a:moveTo>
                <a:cubicBezTo>
                  <a:pt x="184" y="442"/>
                  <a:pt x="163" y="426"/>
                  <a:pt x="147" y="407"/>
                </a:cubicBezTo>
                <a:cubicBezTo>
                  <a:pt x="146" y="406"/>
                  <a:pt x="146" y="406"/>
                  <a:pt x="146" y="406"/>
                </a:cubicBezTo>
                <a:cubicBezTo>
                  <a:pt x="180" y="406"/>
                  <a:pt x="180" y="406"/>
                  <a:pt x="180" y="406"/>
                </a:cubicBezTo>
                <a:cubicBezTo>
                  <a:pt x="181" y="406"/>
                  <a:pt x="181" y="406"/>
                  <a:pt x="181" y="406"/>
                </a:cubicBezTo>
                <a:cubicBezTo>
                  <a:pt x="188" y="424"/>
                  <a:pt x="197" y="439"/>
                  <a:pt x="208" y="453"/>
                </a:cubicBezTo>
                <a:cubicBezTo>
                  <a:pt x="209" y="455"/>
                  <a:pt x="209" y="455"/>
                  <a:pt x="209" y="455"/>
                </a:cubicBezTo>
                <a:lnTo>
                  <a:pt x="207" y="454"/>
                </a:lnTo>
                <a:close/>
                <a:moveTo>
                  <a:pt x="275" y="471"/>
                </a:moveTo>
                <a:cubicBezTo>
                  <a:pt x="275" y="471"/>
                  <a:pt x="275" y="471"/>
                  <a:pt x="275" y="471"/>
                </a:cubicBezTo>
                <a:cubicBezTo>
                  <a:pt x="249" y="465"/>
                  <a:pt x="226" y="442"/>
                  <a:pt x="209" y="407"/>
                </a:cubicBezTo>
                <a:cubicBezTo>
                  <a:pt x="208" y="406"/>
                  <a:pt x="208" y="406"/>
                  <a:pt x="208" y="406"/>
                </a:cubicBezTo>
                <a:cubicBezTo>
                  <a:pt x="275" y="406"/>
                  <a:pt x="275" y="406"/>
                  <a:pt x="275" y="406"/>
                </a:cubicBezTo>
                <a:lnTo>
                  <a:pt x="275" y="471"/>
                </a:lnTo>
                <a:close/>
                <a:moveTo>
                  <a:pt x="275" y="380"/>
                </a:moveTo>
                <a:cubicBezTo>
                  <a:pt x="198" y="380"/>
                  <a:pt x="198" y="380"/>
                  <a:pt x="198" y="380"/>
                </a:cubicBezTo>
                <a:cubicBezTo>
                  <a:pt x="198" y="380"/>
                  <a:pt x="198" y="380"/>
                  <a:pt x="198" y="380"/>
                </a:cubicBezTo>
                <a:cubicBezTo>
                  <a:pt x="190" y="356"/>
                  <a:pt x="185" y="329"/>
                  <a:pt x="184" y="301"/>
                </a:cubicBezTo>
                <a:cubicBezTo>
                  <a:pt x="184" y="301"/>
                  <a:pt x="184" y="301"/>
                  <a:pt x="184" y="301"/>
                </a:cubicBezTo>
                <a:cubicBezTo>
                  <a:pt x="275" y="301"/>
                  <a:pt x="275" y="301"/>
                  <a:pt x="275" y="301"/>
                </a:cubicBezTo>
                <a:lnTo>
                  <a:pt x="275" y="380"/>
                </a:lnTo>
                <a:close/>
                <a:moveTo>
                  <a:pt x="275" y="275"/>
                </a:moveTo>
                <a:cubicBezTo>
                  <a:pt x="184" y="275"/>
                  <a:pt x="184" y="275"/>
                  <a:pt x="184" y="275"/>
                </a:cubicBezTo>
                <a:cubicBezTo>
                  <a:pt x="184" y="275"/>
                  <a:pt x="184" y="275"/>
                  <a:pt x="184" y="275"/>
                </a:cubicBezTo>
                <a:cubicBezTo>
                  <a:pt x="185" y="247"/>
                  <a:pt x="190" y="220"/>
                  <a:pt x="198" y="196"/>
                </a:cubicBezTo>
                <a:cubicBezTo>
                  <a:pt x="198" y="195"/>
                  <a:pt x="198" y="195"/>
                  <a:pt x="198" y="195"/>
                </a:cubicBezTo>
                <a:cubicBezTo>
                  <a:pt x="275" y="195"/>
                  <a:pt x="275" y="195"/>
                  <a:pt x="275" y="195"/>
                </a:cubicBezTo>
                <a:lnTo>
                  <a:pt x="275" y="275"/>
                </a:lnTo>
                <a:close/>
                <a:moveTo>
                  <a:pt x="275" y="170"/>
                </a:moveTo>
                <a:cubicBezTo>
                  <a:pt x="208" y="170"/>
                  <a:pt x="208" y="170"/>
                  <a:pt x="208" y="170"/>
                </a:cubicBezTo>
                <a:cubicBezTo>
                  <a:pt x="209" y="169"/>
                  <a:pt x="209" y="169"/>
                  <a:pt x="209" y="169"/>
                </a:cubicBezTo>
                <a:cubicBezTo>
                  <a:pt x="226" y="134"/>
                  <a:pt x="249" y="111"/>
                  <a:pt x="275" y="105"/>
                </a:cubicBezTo>
                <a:cubicBezTo>
                  <a:pt x="275" y="105"/>
                  <a:pt x="275" y="105"/>
                  <a:pt x="275" y="105"/>
                </a:cubicBezTo>
                <a:lnTo>
                  <a:pt x="275" y="170"/>
                </a:lnTo>
                <a:close/>
                <a:moveTo>
                  <a:pt x="369" y="122"/>
                </a:moveTo>
                <a:cubicBezTo>
                  <a:pt x="392" y="133"/>
                  <a:pt x="413" y="149"/>
                  <a:pt x="429" y="169"/>
                </a:cubicBezTo>
                <a:cubicBezTo>
                  <a:pt x="430" y="170"/>
                  <a:pt x="430" y="170"/>
                  <a:pt x="430" y="170"/>
                </a:cubicBezTo>
                <a:cubicBezTo>
                  <a:pt x="396" y="170"/>
                  <a:pt x="396" y="170"/>
                  <a:pt x="396" y="170"/>
                </a:cubicBezTo>
                <a:cubicBezTo>
                  <a:pt x="395" y="170"/>
                  <a:pt x="395" y="170"/>
                  <a:pt x="395" y="170"/>
                </a:cubicBezTo>
                <a:cubicBezTo>
                  <a:pt x="388" y="152"/>
                  <a:pt x="379" y="136"/>
                  <a:pt x="368" y="123"/>
                </a:cubicBezTo>
                <a:cubicBezTo>
                  <a:pt x="367" y="121"/>
                  <a:pt x="367" y="121"/>
                  <a:pt x="367" y="121"/>
                </a:cubicBezTo>
                <a:lnTo>
                  <a:pt x="369" y="122"/>
                </a:lnTo>
                <a:close/>
                <a:moveTo>
                  <a:pt x="301" y="105"/>
                </a:moveTo>
                <a:cubicBezTo>
                  <a:pt x="301" y="105"/>
                  <a:pt x="301" y="105"/>
                  <a:pt x="301" y="105"/>
                </a:cubicBezTo>
                <a:cubicBezTo>
                  <a:pt x="327" y="111"/>
                  <a:pt x="350" y="134"/>
                  <a:pt x="367" y="169"/>
                </a:cubicBezTo>
                <a:cubicBezTo>
                  <a:pt x="368" y="170"/>
                  <a:pt x="368" y="170"/>
                  <a:pt x="368" y="170"/>
                </a:cubicBezTo>
                <a:cubicBezTo>
                  <a:pt x="301" y="170"/>
                  <a:pt x="301" y="170"/>
                  <a:pt x="301" y="170"/>
                </a:cubicBezTo>
                <a:lnTo>
                  <a:pt x="301" y="105"/>
                </a:lnTo>
                <a:close/>
                <a:moveTo>
                  <a:pt x="301" y="195"/>
                </a:moveTo>
                <a:cubicBezTo>
                  <a:pt x="378" y="195"/>
                  <a:pt x="378" y="195"/>
                  <a:pt x="378" y="195"/>
                </a:cubicBezTo>
                <a:cubicBezTo>
                  <a:pt x="378" y="196"/>
                  <a:pt x="378" y="196"/>
                  <a:pt x="378" y="196"/>
                </a:cubicBezTo>
                <a:cubicBezTo>
                  <a:pt x="386" y="220"/>
                  <a:pt x="391" y="247"/>
                  <a:pt x="392" y="275"/>
                </a:cubicBezTo>
                <a:cubicBezTo>
                  <a:pt x="392" y="275"/>
                  <a:pt x="392" y="275"/>
                  <a:pt x="392" y="275"/>
                </a:cubicBezTo>
                <a:cubicBezTo>
                  <a:pt x="301" y="275"/>
                  <a:pt x="301" y="275"/>
                  <a:pt x="301" y="275"/>
                </a:cubicBezTo>
                <a:lnTo>
                  <a:pt x="301" y="195"/>
                </a:lnTo>
                <a:close/>
                <a:moveTo>
                  <a:pt x="301" y="301"/>
                </a:moveTo>
                <a:cubicBezTo>
                  <a:pt x="392" y="301"/>
                  <a:pt x="392" y="301"/>
                  <a:pt x="392" y="301"/>
                </a:cubicBezTo>
                <a:cubicBezTo>
                  <a:pt x="392" y="301"/>
                  <a:pt x="392" y="301"/>
                  <a:pt x="392" y="301"/>
                </a:cubicBezTo>
                <a:cubicBezTo>
                  <a:pt x="391" y="329"/>
                  <a:pt x="386" y="355"/>
                  <a:pt x="378" y="380"/>
                </a:cubicBezTo>
                <a:cubicBezTo>
                  <a:pt x="378" y="380"/>
                  <a:pt x="378" y="380"/>
                  <a:pt x="378" y="380"/>
                </a:cubicBezTo>
                <a:cubicBezTo>
                  <a:pt x="301" y="380"/>
                  <a:pt x="301" y="380"/>
                  <a:pt x="301" y="380"/>
                </a:cubicBezTo>
                <a:lnTo>
                  <a:pt x="301" y="301"/>
                </a:lnTo>
                <a:close/>
                <a:moveTo>
                  <a:pt x="301" y="471"/>
                </a:moveTo>
                <a:cubicBezTo>
                  <a:pt x="301" y="471"/>
                  <a:pt x="301" y="471"/>
                  <a:pt x="301" y="471"/>
                </a:cubicBezTo>
                <a:cubicBezTo>
                  <a:pt x="301" y="406"/>
                  <a:pt x="301" y="406"/>
                  <a:pt x="301" y="406"/>
                </a:cubicBezTo>
                <a:cubicBezTo>
                  <a:pt x="368" y="406"/>
                  <a:pt x="368" y="406"/>
                  <a:pt x="368" y="406"/>
                </a:cubicBezTo>
                <a:cubicBezTo>
                  <a:pt x="367" y="407"/>
                  <a:pt x="367" y="407"/>
                  <a:pt x="367" y="407"/>
                </a:cubicBezTo>
                <a:cubicBezTo>
                  <a:pt x="350" y="442"/>
                  <a:pt x="327" y="465"/>
                  <a:pt x="301" y="471"/>
                </a:cubicBezTo>
                <a:close/>
                <a:moveTo>
                  <a:pt x="429" y="407"/>
                </a:moveTo>
                <a:cubicBezTo>
                  <a:pt x="413" y="426"/>
                  <a:pt x="392" y="442"/>
                  <a:pt x="369" y="454"/>
                </a:cubicBezTo>
                <a:cubicBezTo>
                  <a:pt x="367" y="455"/>
                  <a:pt x="367" y="455"/>
                  <a:pt x="367" y="455"/>
                </a:cubicBezTo>
                <a:cubicBezTo>
                  <a:pt x="368" y="453"/>
                  <a:pt x="368" y="453"/>
                  <a:pt x="368" y="453"/>
                </a:cubicBezTo>
                <a:cubicBezTo>
                  <a:pt x="379" y="439"/>
                  <a:pt x="388" y="424"/>
                  <a:pt x="395" y="406"/>
                </a:cubicBezTo>
                <a:cubicBezTo>
                  <a:pt x="396" y="406"/>
                  <a:pt x="396" y="406"/>
                  <a:pt x="396" y="406"/>
                </a:cubicBezTo>
                <a:cubicBezTo>
                  <a:pt x="430" y="406"/>
                  <a:pt x="430" y="406"/>
                  <a:pt x="430" y="406"/>
                </a:cubicBezTo>
                <a:lnTo>
                  <a:pt x="429" y="407"/>
                </a:lnTo>
                <a:close/>
                <a:moveTo>
                  <a:pt x="472" y="301"/>
                </a:moveTo>
                <a:cubicBezTo>
                  <a:pt x="470" y="329"/>
                  <a:pt x="462" y="356"/>
                  <a:pt x="448" y="380"/>
                </a:cubicBezTo>
                <a:cubicBezTo>
                  <a:pt x="448" y="380"/>
                  <a:pt x="448" y="380"/>
                  <a:pt x="448" y="380"/>
                </a:cubicBezTo>
                <a:cubicBezTo>
                  <a:pt x="405" y="380"/>
                  <a:pt x="405" y="380"/>
                  <a:pt x="405" y="380"/>
                </a:cubicBezTo>
                <a:cubicBezTo>
                  <a:pt x="405" y="380"/>
                  <a:pt x="405" y="380"/>
                  <a:pt x="405" y="380"/>
                </a:cubicBezTo>
                <a:cubicBezTo>
                  <a:pt x="412" y="355"/>
                  <a:pt x="417" y="329"/>
                  <a:pt x="418" y="301"/>
                </a:cubicBezTo>
                <a:cubicBezTo>
                  <a:pt x="418" y="301"/>
                  <a:pt x="418" y="301"/>
                  <a:pt x="418" y="301"/>
                </a:cubicBezTo>
                <a:cubicBezTo>
                  <a:pt x="472" y="301"/>
                  <a:pt x="472" y="301"/>
                  <a:pt x="472" y="301"/>
                </a:cubicBezTo>
                <a:close/>
                <a:moveTo>
                  <a:pt x="448" y="195"/>
                </a:moveTo>
                <a:cubicBezTo>
                  <a:pt x="462" y="220"/>
                  <a:pt x="470" y="246"/>
                  <a:pt x="472" y="275"/>
                </a:cubicBezTo>
                <a:cubicBezTo>
                  <a:pt x="472" y="275"/>
                  <a:pt x="472" y="275"/>
                  <a:pt x="472" y="275"/>
                </a:cubicBezTo>
                <a:cubicBezTo>
                  <a:pt x="418" y="275"/>
                  <a:pt x="418" y="275"/>
                  <a:pt x="418" y="275"/>
                </a:cubicBezTo>
                <a:cubicBezTo>
                  <a:pt x="418" y="275"/>
                  <a:pt x="418" y="275"/>
                  <a:pt x="418" y="275"/>
                </a:cubicBezTo>
                <a:cubicBezTo>
                  <a:pt x="417" y="247"/>
                  <a:pt x="412" y="221"/>
                  <a:pt x="405" y="196"/>
                </a:cubicBezTo>
                <a:cubicBezTo>
                  <a:pt x="405" y="195"/>
                  <a:pt x="405" y="195"/>
                  <a:pt x="405" y="195"/>
                </a:cubicBezTo>
                <a:cubicBezTo>
                  <a:pt x="448" y="195"/>
                  <a:pt x="448" y="195"/>
                  <a:pt x="448" y="195"/>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Tree>
    <p:extLst>
      <p:ext uri="{BB962C8B-B14F-4D97-AF65-F5344CB8AC3E}">
        <p14:creationId xmlns:p14="http://schemas.microsoft.com/office/powerpoint/2010/main" val="1012992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E942839-3CC1-416C-9066-4CF29CE4DE04}"/>
              </a:ext>
            </a:extLst>
          </p:cNvPr>
          <p:cNvGraphicFramePr>
            <a:graphicFrameLocks noChangeAspect="1"/>
          </p:cNvGraphicFramePr>
          <p:nvPr>
            <p:custDataLst>
              <p:tags r:id="rId2"/>
            </p:custDataLst>
            <p:extLst>
              <p:ext uri="{D42A27DB-BD31-4B8C-83A1-F6EECF244321}">
                <p14:modId xmlns:p14="http://schemas.microsoft.com/office/powerpoint/2010/main" val="683125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1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87" name="Group 169"/>
          <p:cNvGrpSpPr>
            <a:grpSpLocks noChangeAspect="1"/>
          </p:cNvGrpSpPr>
          <p:nvPr/>
        </p:nvGrpSpPr>
        <p:grpSpPr bwMode="auto">
          <a:xfrm>
            <a:off x="7994501" y="2083318"/>
            <a:ext cx="639448" cy="639352"/>
            <a:chOff x="986" y="0"/>
            <a:chExt cx="6682" cy="6681"/>
          </a:xfrm>
          <a:solidFill>
            <a:schemeClr val="bg1"/>
          </a:solidFill>
        </p:grpSpPr>
        <p:sp>
          <p:nvSpPr>
            <p:cNvPr id="88" name="Freeform 170"/>
            <p:cNvSpPr>
              <a:spLocks noEditPoints="1"/>
            </p:cNvSpPr>
            <p:nvPr/>
          </p:nvSpPr>
          <p:spPr bwMode="auto">
            <a:xfrm>
              <a:off x="986" y="0"/>
              <a:ext cx="6682" cy="6681"/>
            </a:xfrm>
            <a:custGeom>
              <a:avLst/>
              <a:gdLst>
                <a:gd name="T0" fmla="*/ 0 w 6682"/>
                <a:gd name="T1" fmla="*/ 0 h 6681"/>
                <a:gd name="T2" fmla="*/ 0 w 6682"/>
                <a:gd name="T3" fmla="*/ 6681 h 6681"/>
                <a:gd name="T4" fmla="*/ 6682 w 6682"/>
                <a:gd name="T5" fmla="*/ 6681 h 6681"/>
                <a:gd name="T6" fmla="*/ 6682 w 6682"/>
                <a:gd name="T7" fmla="*/ 0 h 6681"/>
                <a:gd name="T8" fmla="*/ 0 w 6682"/>
                <a:gd name="T9" fmla="*/ 0 h 6681"/>
                <a:gd name="T10" fmla="*/ 1774 w 6682"/>
                <a:gd name="T11" fmla="*/ 286 h 6681"/>
                <a:gd name="T12" fmla="*/ 1774 w 6682"/>
                <a:gd name="T13" fmla="*/ 2846 h 6681"/>
                <a:gd name="T14" fmla="*/ 286 w 6682"/>
                <a:gd name="T15" fmla="*/ 2846 h 6681"/>
                <a:gd name="T16" fmla="*/ 286 w 6682"/>
                <a:gd name="T17" fmla="*/ 286 h 6681"/>
                <a:gd name="T18" fmla="*/ 1774 w 6682"/>
                <a:gd name="T19" fmla="*/ 286 h 6681"/>
                <a:gd name="T20" fmla="*/ 286 w 6682"/>
                <a:gd name="T21" fmla="*/ 4989 h 6681"/>
                <a:gd name="T22" fmla="*/ 486 w 6682"/>
                <a:gd name="T23" fmla="*/ 4989 h 6681"/>
                <a:gd name="T24" fmla="*/ 486 w 6682"/>
                <a:gd name="T25" fmla="*/ 4703 h 6681"/>
                <a:gd name="T26" fmla="*/ 286 w 6682"/>
                <a:gd name="T27" fmla="*/ 4703 h 6681"/>
                <a:gd name="T28" fmla="*/ 286 w 6682"/>
                <a:gd name="T29" fmla="*/ 3132 h 6681"/>
                <a:gd name="T30" fmla="*/ 2060 w 6682"/>
                <a:gd name="T31" fmla="*/ 3132 h 6681"/>
                <a:gd name="T32" fmla="*/ 2060 w 6682"/>
                <a:gd name="T33" fmla="*/ 286 h 6681"/>
                <a:gd name="T34" fmla="*/ 6396 w 6682"/>
                <a:gd name="T35" fmla="*/ 286 h 6681"/>
                <a:gd name="T36" fmla="*/ 6396 w 6682"/>
                <a:gd name="T37" fmla="*/ 3539 h 6681"/>
                <a:gd name="T38" fmla="*/ 4724 w 6682"/>
                <a:gd name="T39" fmla="*/ 3539 h 6681"/>
                <a:gd name="T40" fmla="*/ 4724 w 6682"/>
                <a:gd name="T41" fmla="*/ 6397 h 6681"/>
                <a:gd name="T42" fmla="*/ 286 w 6682"/>
                <a:gd name="T43" fmla="*/ 6397 h 6681"/>
                <a:gd name="T44" fmla="*/ 286 w 6682"/>
                <a:gd name="T45" fmla="*/ 4989 h 6681"/>
                <a:gd name="T46" fmla="*/ 5008 w 6682"/>
                <a:gd name="T47" fmla="*/ 6397 h 6681"/>
                <a:gd name="T48" fmla="*/ 5008 w 6682"/>
                <a:gd name="T49" fmla="*/ 3825 h 6681"/>
                <a:gd name="T50" fmla="*/ 6396 w 6682"/>
                <a:gd name="T51" fmla="*/ 3825 h 6681"/>
                <a:gd name="T52" fmla="*/ 6396 w 6682"/>
                <a:gd name="T53" fmla="*/ 6397 h 6681"/>
                <a:gd name="T54" fmla="*/ 5008 w 6682"/>
                <a:gd name="T55" fmla="*/ 6397 h 6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82" h="6681">
                  <a:moveTo>
                    <a:pt x="0" y="0"/>
                  </a:moveTo>
                  <a:lnTo>
                    <a:pt x="0" y="6681"/>
                  </a:lnTo>
                  <a:lnTo>
                    <a:pt x="6682" y="6681"/>
                  </a:lnTo>
                  <a:lnTo>
                    <a:pt x="6682" y="0"/>
                  </a:lnTo>
                  <a:lnTo>
                    <a:pt x="0" y="0"/>
                  </a:lnTo>
                  <a:close/>
                  <a:moveTo>
                    <a:pt x="1774" y="286"/>
                  </a:moveTo>
                  <a:lnTo>
                    <a:pt x="1774" y="2846"/>
                  </a:lnTo>
                  <a:lnTo>
                    <a:pt x="286" y="2846"/>
                  </a:lnTo>
                  <a:lnTo>
                    <a:pt x="286" y="286"/>
                  </a:lnTo>
                  <a:lnTo>
                    <a:pt x="1774" y="286"/>
                  </a:lnTo>
                  <a:close/>
                  <a:moveTo>
                    <a:pt x="286" y="4989"/>
                  </a:moveTo>
                  <a:lnTo>
                    <a:pt x="486" y="4989"/>
                  </a:lnTo>
                  <a:lnTo>
                    <a:pt x="486" y="4703"/>
                  </a:lnTo>
                  <a:lnTo>
                    <a:pt x="286" y="4703"/>
                  </a:lnTo>
                  <a:lnTo>
                    <a:pt x="286" y="3132"/>
                  </a:lnTo>
                  <a:lnTo>
                    <a:pt x="2060" y="3132"/>
                  </a:lnTo>
                  <a:lnTo>
                    <a:pt x="2060" y="286"/>
                  </a:lnTo>
                  <a:lnTo>
                    <a:pt x="6396" y="286"/>
                  </a:lnTo>
                  <a:lnTo>
                    <a:pt x="6396" y="3539"/>
                  </a:lnTo>
                  <a:lnTo>
                    <a:pt x="4724" y="3539"/>
                  </a:lnTo>
                  <a:lnTo>
                    <a:pt x="4724" y="6397"/>
                  </a:lnTo>
                  <a:lnTo>
                    <a:pt x="286" y="6397"/>
                  </a:lnTo>
                  <a:lnTo>
                    <a:pt x="286" y="4989"/>
                  </a:lnTo>
                  <a:close/>
                  <a:moveTo>
                    <a:pt x="5008" y="6397"/>
                  </a:moveTo>
                  <a:lnTo>
                    <a:pt x="5008" y="3825"/>
                  </a:lnTo>
                  <a:lnTo>
                    <a:pt x="6396" y="3825"/>
                  </a:lnTo>
                  <a:lnTo>
                    <a:pt x="6396" y="6397"/>
                  </a:lnTo>
                  <a:lnTo>
                    <a:pt x="5008" y="6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89" name="Rectangle 171"/>
            <p:cNvSpPr>
              <a:spLocks noChangeArrowheads="1"/>
            </p:cNvSpPr>
            <p:nvPr/>
          </p:nvSpPr>
          <p:spPr bwMode="auto">
            <a:xfrm>
              <a:off x="2328" y="4703"/>
              <a:ext cx="284"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0" name="Rectangle 172"/>
            <p:cNvSpPr>
              <a:spLocks noChangeArrowheads="1"/>
            </p:cNvSpPr>
            <p:nvPr/>
          </p:nvSpPr>
          <p:spPr bwMode="auto">
            <a:xfrm>
              <a:off x="2898" y="4703"/>
              <a:ext cx="284"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1" name="Rectangle 173"/>
            <p:cNvSpPr>
              <a:spLocks noChangeArrowheads="1"/>
            </p:cNvSpPr>
            <p:nvPr/>
          </p:nvSpPr>
          <p:spPr bwMode="auto">
            <a:xfrm>
              <a:off x="3466" y="4703"/>
              <a:ext cx="286"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2" name="Rectangle 174"/>
            <p:cNvSpPr>
              <a:spLocks noChangeArrowheads="1"/>
            </p:cNvSpPr>
            <p:nvPr/>
          </p:nvSpPr>
          <p:spPr bwMode="auto">
            <a:xfrm>
              <a:off x="1758" y="4703"/>
              <a:ext cx="284"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3" name="Rectangle 175"/>
            <p:cNvSpPr>
              <a:spLocks noChangeArrowheads="1"/>
            </p:cNvSpPr>
            <p:nvPr/>
          </p:nvSpPr>
          <p:spPr bwMode="auto">
            <a:xfrm>
              <a:off x="5586" y="1694"/>
              <a:ext cx="284"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4" name="Rectangle 176"/>
            <p:cNvSpPr>
              <a:spLocks noChangeArrowheads="1"/>
            </p:cNvSpPr>
            <p:nvPr/>
          </p:nvSpPr>
          <p:spPr bwMode="auto">
            <a:xfrm>
              <a:off x="4216" y="2604"/>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5" name="Rectangle 177"/>
            <p:cNvSpPr>
              <a:spLocks noChangeArrowheads="1"/>
            </p:cNvSpPr>
            <p:nvPr/>
          </p:nvSpPr>
          <p:spPr bwMode="auto">
            <a:xfrm>
              <a:off x="4216" y="2034"/>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6" name="Rectangle 178"/>
            <p:cNvSpPr>
              <a:spLocks noChangeArrowheads="1"/>
            </p:cNvSpPr>
            <p:nvPr/>
          </p:nvSpPr>
          <p:spPr bwMode="auto">
            <a:xfrm>
              <a:off x="4446" y="1694"/>
              <a:ext cx="284"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7" name="Rectangle 179"/>
            <p:cNvSpPr>
              <a:spLocks noChangeArrowheads="1"/>
            </p:cNvSpPr>
            <p:nvPr/>
          </p:nvSpPr>
          <p:spPr bwMode="auto">
            <a:xfrm>
              <a:off x="4036" y="4703"/>
              <a:ext cx="286"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8" name="Rectangle 180"/>
            <p:cNvSpPr>
              <a:spLocks noChangeArrowheads="1"/>
            </p:cNvSpPr>
            <p:nvPr/>
          </p:nvSpPr>
          <p:spPr bwMode="auto">
            <a:xfrm>
              <a:off x="5016" y="1694"/>
              <a:ext cx="284"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99" name="Rectangle 181"/>
            <p:cNvSpPr>
              <a:spLocks noChangeArrowheads="1"/>
            </p:cNvSpPr>
            <p:nvPr/>
          </p:nvSpPr>
          <p:spPr bwMode="auto">
            <a:xfrm>
              <a:off x="4216" y="3745"/>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00" name="Rectangle 182"/>
            <p:cNvSpPr>
              <a:spLocks noChangeArrowheads="1"/>
            </p:cNvSpPr>
            <p:nvPr/>
          </p:nvSpPr>
          <p:spPr bwMode="auto">
            <a:xfrm>
              <a:off x="4216" y="3174"/>
              <a:ext cx="286" cy="2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01" name="Rectangle 183"/>
            <p:cNvSpPr>
              <a:spLocks noChangeArrowheads="1"/>
            </p:cNvSpPr>
            <p:nvPr/>
          </p:nvSpPr>
          <p:spPr bwMode="auto">
            <a:xfrm>
              <a:off x="4216" y="4313"/>
              <a:ext cx="286"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02" name="Freeform 184"/>
            <p:cNvSpPr>
              <a:spLocks noEditPoints="1"/>
            </p:cNvSpPr>
            <p:nvPr/>
          </p:nvSpPr>
          <p:spPr bwMode="auto">
            <a:xfrm>
              <a:off x="5958" y="1166"/>
              <a:ext cx="910" cy="1404"/>
            </a:xfrm>
            <a:custGeom>
              <a:avLst/>
              <a:gdLst>
                <a:gd name="T0" fmla="*/ 202 w 910"/>
                <a:gd name="T1" fmla="*/ 1404 h 1404"/>
                <a:gd name="T2" fmla="*/ 910 w 910"/>
                <a:gd name="T3" fmla="*/ 696 h 1404"/>
                <a:gd name="T4" fmla="*/ 214 w 910"/>
                <a:gd name="T5" fmla="*/ 0 h 1404"/>
                <a:gd name="T6" fmla="*/ 14 w 910"/>
                <a:gd name="T7" fmla="*/ 202 h 1404"/>
                <a:gd name="T8" fmla="*/ 340 w 910"/>
                <a:gd name="T9" fmla="*/ 528 h 1404"/>
                <a:gd name="T10" fmla="*/ 198 w 910"/>
                <a:gd name="T11" fmla="*/ 528 h 1404"/>
                <a:gd name="T12" fmla="*/ 198 w 910"/>
                <a:gd name="T13" fmla="*/ 812 h 1404"/>
                <a:gd name="T14" fmla="*/ 390 w 910"/>
                <a:gd name="T15" fmla="*/ 812 h 1404"/>
                <a:gd name="T16" fmla="*/ 0 w 910"/>
                <a:gd name="T17" fmla="*/ 1202 h 1404"/>
                <a:gd name="T18" fmla="*/ 202 w 910"/>
                <a:gd name="T19" fmla="*/ 1404 h 1404"/>
                <a:gd name="T20" fmla="*/ 482 w 910"/>
                <a:gd name="T21" fmla="*/ 670 h 1404"/>
                <a:gd name="T22" fmla="*/ 508 w 910"/>
                <a:gd name="T23" fmla="*/ 696 h 1404"/>
                <a:gd name="T24" fmla="*/ 482 w 910"/>
                <a:gd name="T25" fmla="*/ 720 h 1404"/>
                <a:gd name="T26" fmla="*/ 482 w 910"/>
                <a:gd name="T27" fmla="*/ 670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0" h="1404">
                  <a:moveTo>
                    <a:pt x="202" y="1404"/>
                  </a:moveTo>
                  <a:lnTo>
                    <a:pt x="910" y="696"/>
                  </a:lnTo>
                  <a:lnTo>
                    <a:pt x="214" y="0"/>
                  </a:lnTo>
                  <a:lnTo>
                    <a:pt x="14" y="202"/>
                  </a:lnTo>
                  <a:lnTo>
                    <a:pt x="340" y="528"/>
                  </a:lnTo>
                  <a:lnTo>
                    <a:pt x="198" y="528"/>
                  </a:lnTo>
                  <a:lnTo>
                    <a:pt x="198" y="812"/>
                  </a:lnTo>
                  <a:lnTo>
                    <a:pt x="390" y="812"/>
                  </a:lnTo>
                  <a:lnTo>
                    <a:pt x="0" y="1202"/>
                  </a:lnTo>
                  <a:lnTo>
                    <a:pt x="202" y="1404"/>
                  </a:lnTo>
                  <a:close/>
                  <a:moveTo>
                    <a:pt x="482" y="670"/>
                  </a:moveTo>
                  <a:lnTo>
                    <a:pt x="508" y="696"/>
                  </a:lnTo>
                  <a:lnTo>
                    <a:pt x="482" y="720"/>
                  </a:lnTo>
                  <a:lnTo>
                    <a:pt x="482" y="6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grpSp>
      <p:grpSp>
        <p:nvGrpSpPr>
          <p:cNvPr id="32" name="Ομάδα 31">
            <a:extLst>
              <a:ext uri="{FF2B5EF4-FFF2-40B4-BE49-F238E27FC236}">
                <a16:creationId xmlns:a16="http://schemas.microsoft.com/office/drawing/2014/main" id="{AEBD5A57-28A8-4F9B-A469-3C492223CA11}"/>
              </a:ext>
            </a:extLst>
          </p:cNvPr>
          <p:cNvGrpSpPr/>
          <p:nvPr/>
        </p:nvGrpSpPr>
        <p:grpSpPr>
          <a:xfrm>
            <a:off x="789791" y="1669937"/>
            <a:ext cx="1928120" cy="4597245"/>
            <a:chOff x="789791" y="1669937"/>
            <a:chExt cx="1928120" cy="4597245"/>
          </a:xfrm>
        </p:grpSpPr>
        <p:sp>
          <p:nvSpPr>
            <p:cNvPr id="117" name="TextBox 116">
              <a:extLst>
                <a:ext uri="{FF2B5EF4-FFF2-40B4-BE49-F238E27FC236}">
                  <a16:creationId xmlns:a16="http://schemas.microsoft.com/office/drawing/2014/main" id="{919399C2-5B56-4E5A-9EB4-7603057D8205}"/>
                </a:ext>
              </a:extLst>
            </p:cNvPr>
            <p:cNvSpPr txBox="1"/>
            <p:nvPr/>
          </p:nvSpPr>
          <p:spPr>
            <a:xfrm>
              <a:off x="1176249" y="4224894"/>
              <a:ext cx="1541662" cy="276999"/>
            </a:xfrm>
            <a:prstGeom prst="rect">
              <a:avLst/>
            </a:prstGeom>
            <a:noFill/>
          </p:spPr>
          <p:txBody>
            <a:bodyPr wrap="square" rtlCol="0">
              <a:spAutoFit/>
            </a:bodyPr>
            <a:lstStyle/>
            <a:p>
              <a:r>
                <a:rPr lang="el-GR" sz="1200" kern="0" dirty="0">
                  <a:cs typeface="Arial" charset="0"/>
                </a:rPr>
                <a:t>Δίκτυο</a:t>
              </a:r>
              <a:endParaRPr lang="en-GB" sz="1200" kern="0" dirty="0">
                <a:cs typeface="Arial" charset="0"/>
              </a:endParaRPr>
            </a:p>
          </p:txBody>
        </p:sp>
        <p:sp>
          <p:nvSpPr>
            <p:cNvPr id="125" name="TextBox 124">
              <a:extLst>
                <a:ext uri="{FF2B5EF4-FFF2-40B4-BE49-F238E27FC236}">
                  <a16:creationId xmlns:a16="http://schemas.microsoft.com/office/drawing/2014/main" id="{93B9197C-BB0E-4397-B03C-757F87E5FFDD}"/>
                </a:ext>
              </a:extLst>
            </p:cNvPr>
            <p:cNvSpPr txBox="1"/>
            <p:nvPr/>
          </p:nvSpPr>
          <p:spPr>
            <a:xfrm>
              <a:off x="1171611" y="4799106"/>
              <a:ext cx="1541662" cy="276999"/>
            </a:xfrm>
            <a:prstGeom prst="rect">
              <a:avLst/>
            </a:prstGeom>
            <a:noFill/>
          </p:spPr>
          <p:txBody>
            <a:bodyPr wrap="square" rtlCol="0">
              <a:spAutoFit/>
            </a:bodyPr>
            <a:lstStyle/>
            <a:p>
              <a:r>
                <a:rPr lang="el-GR" sz="1200" kern="0" dirty="0">
                  <a:cs typeface="Arial" charset="0"/>
                </a:rPr>
                <a:t>Χρηματικά μέσα</a:t>
              </a:r>
              <a:endParaRPr lang="en-GB" sz="1200" kern="0" dirty="0">
                <a:cs typeface="Arial" charset="0"/>
              </a:endParaRPr>
            </a:p>
          </p:txBody>
        </p:sp>
        <p:sp>
          <p:nvSpPr>
            <p:cNvPr id="126" name="TextBox 125">
              <a:extLst>
                <a:ext uri="{FF2B5EF4-FFF2-40B4-BE49-F238E27FC236}">
                  <a16:creationId xmlns:a16="http://schemas.microsoft.com/office/drawing/2014/main" id="{2E1DD8BE-BE1E-4E97-948B-16BED34525A7}"/>
                </a:ext>
              </a:extLst>
            </p:cNvPr>
            <p:cNvSpPr txBox="1"/>
            <p:nvPr/>
          </p:nvSpPr>
          <p:spPr>
            <a:xfrm>
              <a:off x="1161924" y="5373317"/>
              <a:ext cx="1541662" cy="276999"/>
            </a:xfrm>
            <a:prstGeom prst="rect">
              <a:avLst/>
            </a:prstGeom>
            <a:noFill/>
          </p:spPr>
          <p:txBody>
            <a:bodyPr wrap="square" rtlCol="0">
              <a:spAutoFit/>
            </a:bodyPr>
            <a:lstStyle/>
            <a:p>
              <a:r>
                <a:rPr lang="el-GR" sz="1200" kern="0" dirty="0">
                  <a:cs typeface="Arial" charset="0"/>
                </a:rPr>
                <a:t>Ρόλοι/Οργάνωση</a:t>
              </a:r>
              <a:endParaRPr lang="en-GB" sz="1200" kern="0" dirty="0">
                <a:cs typeface="Arial" charset="0"/>
              </a:endParaRPr>
            </a:p>
          </p:txBody>
        </p:sp>
        <p:sp>
          <p:nvSpPr>
            <p:cNvPr id="127" name="TextBox 126">
              <a:extLst>
                <a:ext uri="{FF2B5EF4-FFF2-40B4-BE49-F238E27FC236}">
                  <a16:creationId xmlns:a16="http://schemas.microsoft.com/office/drawing/2014/main" id="{1D1412AF-8945-4808-B12E-0FE0257669DA}"/>
                </a:ext>
              </a:extLst>
            </p:cNvPr>
            <p:cNvSpPr txBox="1"/>
            <p:nvPr/>
          </p:nvSpPr>
          <p:spPr>
            <a:xfrm>
              <a:off x="1171611" y="5947528"/>
              <a:ext cx="1541662" cy="276999"/>
            </a:xfrm>
            <a:prstGeom prst="rect">
              <a:avLst/>
            </a:prstGeom>
            <a:noFill/>
          </p:spPr>
          <p:txBody>
            <a:bodyPr wrap="square" rtlCol="0">
              <a:spAutoFit/>
            </a:bodyPr>
            <a:lstStyle/>
            <a:p>
              <a:r>
                <a:rPr lang="el-GR" sz="1200" kern="0" dirty="0">
                  <a:cs typeface="Arial" charset="0"/>
                </a:rPr>
                <a:t>Τεχνολογία</a:t>
              </a:r>
              <a:endParaRPr lang="en-GB" sz="1200" kern="0" dirty="0">
                <a:cs typeface="Arial" charset="0"/>
              </a:endParaRPr>
            </a:p>
          </p:txBody>
        </p:sp>
        <p:grpSp>
          <p:nvGrpSpPr>
            <p:cNvPr id="26" name="Ομάδα 25">
              <a:extLst>
                <a:ext uri="{FF2B5EF4-FFF2-40B4-BE49-F238E27FC236}">
                  <a16:creationId xmlns:a16="http://schemas.microsoft.com/office/drawing/2014/main" id="{6B895E89-CDDA-4421-A26D-44365082C183}"/>
                </a:ext>
              </a:extLst>
            </p:cNvPr>
            <p:cNvGrpSpPr/>
            <p:nvPr/>
          </p:nvGrpSpPr>
          <p:grpSpPr>
            <a:xfrm>
              <a:off x="789791" y="1669937"/>
              <a:ext cx="1886976" cy="4597245"/>
              <a:chOff x="789791" y="1669937"/>
              <a:chExt cx="1886976" cy="4597245"/>
            </a:xfrm>
          </p:grpSpPr>
          <p:sp>
            <p:nvSpPr>
              <p:cNvPr id="33" name="Rectangle 32"/>
              <p:cNvSpPr/>
              <p:nvPr/>
            </p:nvSpPr>
            <p:spPr bwMode="ltGray">
              <a:xfrm>
                <a:off x="1128717" y="1976456"/>
                <a:ext cx="863810" cy="86381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Georgia" pitchFamily="18" charset="0"/>
                </a:endParaRPr>
              </a:p>
            </p:txBody>
          </p:sp>
          <p:sp>
            <p:nvSpPr>
              <p:cNvPr id="50" name="Rectangle 10"/>
              <p:cNvSpPr>
                <a:spLocks noChangeArrowheads="1"/>
              </p:cNvSpPr>
              <p:nvPr/>
            </p:nvSpPr>
            <p:spPr bwMode="auto">
              <a:xfrm>
                <a:off x="789791" y="3230166"/>
                <a:ext cx="1541662"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749" eaLnBrk="0" hangingPunct="0">
                  <a:spcAft>
                    <a:spcPts val="171"/>
                  </a:spcAft>
                  <a:defRPr/>
                </a:pPr>
                <a:r>
                  <a:rPr lang="el-GR" sz="1400" b="1" kern="0" dirty="0">
                    <a:solidFill>
                      <a:schemeClr val="accent1"/>
                    </a:solidFill>
                    <a:cs typeface="Arial" charset="0"/>
                  </a:rPr>
                  <a:t>ΠΟΡΟΙ</a:t>
                </a:r>
              </a:p>
            </p:txBody>
          </p:sp>
          <p:sp>
            <p:nvSpPr>
              <p:cNvPr id="3" name="Frame 2"/>
              <p:cNvSpPr/>
              <p:nvPr/>
            </p:nvSpPr>
            <p:spPr>
              <a:xfrm>
                <a:off x="822232" y="1669937"/>
                <a:ext cx="1467805" cy="1467806"/>
              </a:xfrm>
              <a:prstGeom prst="frame">
                <a:avLst>
                  <a:gd name="adj1" fmla="val 14698"/>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dirty="0">
                  <a:solidFill>
                    <a:schemeClr val="tx1"/>
                  </a:solidFill>
                </a:endParaRPr>
              </a:p>
            </p:txBody>
          </p:sp>
          <p:sp>
            <p:nvSpPr>
              <p:cNvPr id="115" name="Freeform 104">
                <a:extLst>
                  <a:ext uri="{FF2B5EF4-FFF2-40B4-BE49-F238E27FC236}">
                    <a16:creationId xmlns:a16="http://schemas.microsoft.com/office/drawing/2014/main" id="{85C8566C-7EBB-48F7-A382-2ABB4E3A2DD7}"/>
                  </a:ext>
                </a:extLst>
              </p:cNvPr>
              <p:cNvSpPr>
                <a:spLocks noChangeAspect="1" noEditPoints="1"/>
              </p:cNvSpPr>
              <p:nvPr/>
            </p:nvSpPr>
            <p:spPr bwMode="auto">
              <a:xfrm>
                <a:off x="816249" y="3608768"/>
                <a:ext cx="360000" cy="361023"/>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rgbClr val="4A66AC"/>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25" name="TextBox 24">
                <a:extLst>
                  <a:ext uri="{FF2B5EF4-FFF2-40B4-BE49-F238E27FC236}">
                    <a16:creationId xmlns:a16="http://schemas.microsoft.com/office/drawing/2014/main" id="{AFE9F5E8-C4B9-417E-A1A1-C9F914954E8B}"/>
                  </a:ext>
                </a:extLst>
              </p:cNvPr>
              <p:cNvSpPr txBox="1"/>
              <p:nvPr/>
            </p:nvSpPr>
            <p:spPr>
              <a:xfrm>
                <a:off x="1135105" y="3650682"/>
                <a:ext cx="1541662" cy="276999"/>
              </a:xfrm>
              <a:prstGeom prst="rect">
                <a:avLst/>
              </a:prstGeom>
              <a:noFill/>
            </p:spPr>
            <p:txBody>
              <a:bodyPr wrap="square" rtlCol="0">
                <a:spAutoFit/>
              </a:bodyPr>
              <a:lstStyle/>
              <a:p>
                <a:r>
                  <a:rPr lang="el-GR" sz="1200" kern="0" dirty="0">
                    <a:cs typeface="Arial" charset="0"/>
                  </a:rPr>
                  <a:t>Ανθρώπινο Κεφάλαιο</a:t>
                </a:r>
                <a:endParaRPr lang="en-GB" sz="1200" kern="0" dirty="0">
                  <a:cs typeface="Arial" charset="0"/>
                </a:endParaRPr>
              </a:p>
            </p:txBody>
          </p:sp>
          <p:sp>
            <p:nvSpPr>
              <p:cNvPr id="116" name="Freeform 97">
                <a:extLst>
                  <a:ext uri="{FF2B5EF4-FFF2-40B4-BE49-F238E27FC236}">
                    <a16:creationId xmlns:a16="http://schemas.microsoft.com/office/drawing/2014/main" id="{6509BE89-E17F-42FD-B68B-5A3979713ADD}"/>
                  </a:ext>
                </a:extLst>
              </p:cNvPr>
              <p:cNvSpPr>
                <a:spLocks noChangeAspect="1" noEditPoints="1"/>
              </p:cNvSpPr>
              <p:nvPr/>
            </p:nvSpPr>
            <p:spPr bwMode="auto">
              <a:xfrm>
                <a:off x="816249" y="4183372"/>
                <a:ext cx="360000" cy="361023"/>
              </a:xfrm>
              <a:custGeom>
                <a:avLst/>
                <a:gdLst>
                  <a:gd name="T0" fmla="*/ 288 w 576"/>
                  <a:gd name="T1" fmla="*/ 498 h 576"/>
                  <a:gd name="T2" fmla="*/ 147 w 576"/>
                  <a:gd name="T3" fmla="*/ 169 h 576"/>
                  <a:gd name="T4" fmla="*/ 208 w 576"/>
                  <a:gd name="T5" fmla="*/ 123 h 576"/>
                  <a:gd name="T6" fmla="*/ 146 w 576"/>
                  <a:gd name="T7" fmla="*/ 170 h 576"/>
                  <a:gd name="T8" fmla="*/ 128 w 576"/>
                  <a:gd name="T9" fmla="*/ 195 h 576"/>
                  <a:gd name="T10" fmla="*/ 171 w 576"/>
                  <a:gd name="T11" fmla="*/ 196 h 576"/>
                  <a:gd name="T12" fmla="*/ 104 w 576"/>
                  <a:gd name="T13" fmla="*/ 275 h 576"/>
                  <a:gd name="T14" fmla="*/ 104 w 576"/>
                  <a:gd name="T15" fmla="*/ 301 h 576"/>
                  <a:gd name="T16" fmla="*/ 158 w 576"/>
                  <a:gd name="T17" fmla="*/ 301 h 576"/>
                  <a:gd name="T18" fmla="*/ 128 w 576"/>
                  <a:gd name="T19" fmla="*/ 380 h 576"/>
                  <a:gd name="T20" fmla="*/ 146 w 576"/>
                  <a:gd name="T21" fmla="*/ 406 h 576"/>
                  <a:gd name="T22" fmla="*/ 208 w 576"/>
                  <a:gd name="T23" fmla="*/ 453 h 576"/>
                  <a:gd name="T24" fmla="*/ 275 w 576"/>
                  <a:gd name="T25" fmla="*/ 471 h 576"/>
                  <a:gd name="T26" fmla="*/ 208 w 576"/>
                  <a:gd name="T27" fmla="*/ 406 h 576"/>
                  <a:gd name="T28" fmla="*/ 275 w 576"/>
                  <a:gd name="T29" fmla="*/ 380 h 576"/>
                  <a:gd name="T30" fmla="*/ 184 w 576"/>
                  <a:gd name="T31" fmla="*/ 301 h 576"/>
                  <a:gd name="T32" fmla="*/ 275 w 576"/>
                  <a:gd name="T33" fmla="*/ 380 h 576"/>
                  <a:gd name="T34" fmla="*/ 184 w 576"/>
                  <a:gd name="T35" fmla="*/ 275 h 576"/>
                  <a:gd name="T36" fmla="*/ 275 w 576"/>
                  <a:gd name="T37" fmla="*/ 195 h 576"/>
                  <a:gd name="T38" fmla="*/ 208 w 576"/>
                  <a:gd name="T39" fmla="*/ 170 h 576"/>
                  <a:gd name="T40" fmla="*/ 275 w 576"/>
                  <a:gd name="T41" fmla="*/ 105 h 576"/>
                  <a:gd name="T42" fmla="*/ 429 w 576"/>
                  <a:gd name="T43" fmla="*/ 169 h 576"/>
                  <a:gd name="T44" fmla="*/ 395 w 576"/>
                  <a:gd name="T45" fmla="*/ 170 h 576"/>
                  <a:gd name="T46" fmla="*/ 369 w 576"/>
                  <a:gd name="T47" fmla="*/ 122 h 576"/>
                  <a:gd name="T48" fmla="*/ 367 w 576"/>
                  <a:gd name="T49" fmla="*/ 169 h 576"/>
                  <a:gd name="T50" fmla="*/ 301 w 576"/>
                  <a:gd name="T51" fmla="*/ 105 h 576"/>
                  <a:gd name="T52" fmla="*/ 378 w 576"/>
                  <a:gd name="T53" fmla="*/ 196 h 576"/>
                  <a:gd name="T54" fmla="*/ 301 w 576"/>
                  <a:gd name="T55" fmla="*/ 275 h 576"/>
                  <a:gd name="T56" fmla="*/ 392 w 576"/>
                  <a:gd name="T57" fmla="*/ 301 h 576"/>
                  <a:gd name="T58" fmla="*/ 378 w 576"/>
                  <a:gd name="T59" fmla="*/ 380 h 576"/>
                  <a:gd name="T60" fmla="*/ 301 w 576"/>
                  <a:gd name="T61" fmla="*/ 471 h 576"/>
                  <a:gd name="T62" fmla="*/ 368 w 576"/>
                  <a:gd name="T63" fmla="*/ 406 h 576"/>
                  <a:gd name="T64" fmla="*/ 429 w 576"/>
                  <a:gd name="T65" fmla="*/ 407 h 576"/>
                  <a:gd name="T66" fmla="*/ 368 w 576"/>
                  <a:gd name="T67" fmla="*/ 453 h 576"/>
                  <a:gd name="T68" fmla="*/ 430 w 576"/>
                  <a:gd name="T69" fmla="*/ 406 h 576"/>
                  <a:gd name="T70" fmla="*/ 448 w 576"/>
                  <a:gd name="T71" fmla="*/ 380 h 576"/>
                  <a:gd name="T72" fmla="*/ 405 w 576"/>
                  <a:gd name="T73" fmla="*/ 380 h 576"/>
                  <a:gd name="T74" fmla="*/ 472 w 576"/>
                  <a:gd name="T75" fmla="*/ 301 h 576"/>
                  <a:gd name="T76" fmla="*/ 472 w 576"/>
                  <a:gd name="T77" fmla="*/ 275 h 576"/>
                  <a:gd name="T78" fmla="*/ 405 w 576"/>
                  <a:gd name="T79" fmla="*/ 196 h 576"/>
                  <a:gd name="T80" fmla="*/ 0 w 576"/>
                  <a:gd name="T81" fmla="*/ 0 h 576"/>
                  <a:gd name="T82" fmla="*/ 576 w 576"/>
                  <a:gd name="T83" fmla="*/ 0 h 576"/>
                  <a:gd name="T84" fmla="*/ 25 w 576"/>
                  <a:gd name="T85" fmla="*/ 551 h 576"/>
                  <a:gd name="T86" fmla="*/ 551 w 576"/>
                  <a:gd name="T8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6" h="576">
                    <a:moveTo>
                      <a:pt x="288" y="78"/>
                    </a:moveTo>
                    <a:cubicBezTo>
                      <a:pt x="172" y="78"/>
                      <a:pt x="78" y="172"/>
                      <a:pt x="78" y="288"/>
                    </a:cubicBezTo>
                    <a:cubicBezTo>
                      <a:pt x="78" y="404"/>
                      <a:pt x="172" y="498"/>
                      <a:pt x="288" y="498"/>
                    </a:cubicBezTo>
                    <a:cubicBezTo>
                      <a:pt x="404" y="498"/>
                      <a:pt x="498" y="404"/>
                      <a:pt x="498" y="288"/>
                    </a:cubicBezTo>
                    <a:cubicBezTo>
                      <a:pt x="498" y="172"/>
                      <a:pt x="404" y="78"/>
                      <a:pt x="288" y="78"/>
                    </a:cubicBezTo>
                    <a:close/>
                    <a:moveTo>
                      <a:pt x="147" y="169"/>
                    </a:moveTo>
                    <a:cubicBezTo>
                      <a:pt x="163" y="149"/>
                      <a:pt x="184" y="133"/>
                      <a:pt x="207" y="122"/>
                    </a:cubicBezTo>
                    <a:cubicBezTo>
                      <a:pt x="209" y="121"/>
                      <a:pt x="209" y="121"/>
                      <a:pt x="209" y="121"/>
                    </a:cubicBezTo>
                    <a:cubicBezTo>
                      <a:pt x="208" y="123"/>
                      <a:pt x="208" y="123"/>
                      <a:pt x="208" y="123"/>
                    </a:cubicBezTo>
                    <a:cubicBezTo>
                      <a:pt x="197" y="136"/>
                      <a:pt x="188" y="152"/>
                      <a:pt x="181" y="170"/>
                    </a:cubicBezTo>
                    <a:cubicBezTo>
                      <a:pt x="180" y="170"/>
                      <a:pt x="180" y="170"/>
                      <a:pt x="180" y="170"/>
                    </a:cubicBezTo>
                    <a:cubicBezTo>
                      <a:pt x="146" y="170"/>
                      <a:pt x="146" y="170"/>
                      <a:pt x="146" y="170"/>
                    </a:cubicBezTo>
                    <a:lnTo>
                      <a:pt x="147" y="169"/>
                    </a:lnTo>
                    <a:close/>
                    <a:moveTo>
                      <a:pt x="104" y="275"/>
                    </a:moveTo>
                    <a:cubicBezTo>
                      <a:pt x="106" y="246"/>
                      <a:pt x="114" y="220"/>
                      <a:pt x="128" y="195"/>
                    </a:cubicBezTo>
                    <a:cubicBezTo>
                      <a:pt x="128" y="195"/>
                      <a:pt x="128" y="195"/>
                      <a:pt x="128" y="195"/>
                    </a:cubicBezTo>
                    <a:cubicBezTo>
                      <a:pt x="171" y="195"/>
                      <a:pt x="171" y="195"/>
                      <a:pt x="171" y="195"/>
                    </a:cubicBezTo>
                    <a:cubicBezTo>
                      <a:pt x="171" y="196"/>
                      <a:pt x="171" y="196"/>
                      <a:pt x="171" y="196"/>
                    </a:cubicBezTo>
                    <a:cubicBezTo>
                      <a:pt x="164" y="221"/>
                      <a:pt x="159" y="247"/>
                      <a:pt x="158" y="275"/>
                    </a:cubicBezTo>
                    <a:cubicBezTo>
                      <a:pt x="158" y="275"/>
                      <a:pt x="158" y="275"/>
                      <a:pt x="158" y="275"/>
                    </a:cubicBezTo>
                    <a:cubicBezTo>
                      <a:pt x="104" y="275"/>
                      <a:pt x="104" y="275"/>
                      <a:pt x="104" y="275"/>
                    </a:cubicBezTo>
                    <a:close/>
                    <a:moveTo>
                      <a:pt x="128" y="380"/>
                    </a:moveTo>
                    <a:cubicBezTo>
                      <a:pt x="128" y="380"/>
                      <a:pt x="128" y="380"/>
                      <a:pt x="128" y="380"/>
                    </a:cubicBezTo>
                    <a:cubicBezTo>
                      <a:pt x="114" y="356"/>
                      <a:pt x="106" y="329"/>
                      <a:pt x="104" y="301"/>
                    </a:cubicBezTo>
                    <a:cubicBezTo>
                      <a:pt x="104" y="301"/>
                      <a:pt x="104" y="301"/>
                      <a:pt x="104" y="301"/>
                    </a:cubicBezTo>
                    <a:cubicBezTo>
                      <a:pt x="158" y="301"/>
                      <a:pt x="158" y="301"/>
                      <a:pt x="158" y="301"/>
                    </a:cubicBezTo>
                    <a:cubicBezTo>
                      <a:pt x="158" y="301"/>
                      <a:pt x="158" y="301"/>
                      <a:pt x="158" y="301"/>
                    </a:cubicBezTo>
                    <a:cubicBezTo>
                      <a:pt x="159" y="329"/>
                      <a:pt x="164" y="355"/>
                      <a:pt x="171" y="380"/>
                    </a:cubicBezTo>
                    <a:cubicBezTo>
                      <a:pt x="171" y="380"/>
                      <a:pt x="171" y="380"/>
                      <a:pt x="171" y="380"/>
                    </a:cubicBezTo>
                    <a:lnTo>
                      <a:pt x="128" y="380"/>
                    </a:lnTo>
                    <a:close/>
                    <a:moveTo>
                      <a:pt x="207" y="454"/>
                    </a:moveTo>
                    <a:cubicBezTo>
                      <a:pt x="184" y="442"/>
                      <a:pt x="163" y="426"/>
                      <a:pt x="147" y="407"/>
                    </a:cubicBezTo>
                    <a:cubicBezTo>
                      <a:pt x="146" y="406"/>
                      <a:pt x="146" y="406"/>
                      <a:pt x="146" y="406"/>
                    </a:cubicBezTo>
                    <a:cubicBezTo>
                      <a:pt x="180" y="406"/>
                      <a:pt x="180" y="406"/>
                      <a:pt x="180" y="406"/>
                    </a:cubicBezTo>
                    <a:cubicBezTo>
                      <a:pt x="181" y="406"/>
                      <a:pt x="181" y="406"/>
                      <a:pt x="181" y="406"/>
                    </a:cubicBezTo>
                    <a:cubicBezTo>
                      <a:pt x="188" y="424"/>
                      <a:pt x="197" y="439"/>
                      <a:pt x="208" y="453"/>
                    </a:cubicBezTo>
                    <a:cubicBezTo>
                      <a:pt x="209" y="455"/>
                      <a:pt x="209" y="455"/>
                      <a:pt x="209" y="455"/>
                    </a:cubicBezTo>
                    <a:lnTo>
                      <a:pt x="207" y="454"/>
                    </a:lnTo>
                    <a:close/>
                    <a:moveTo>
                      <a:pt x="275" y="471"/>
                    </a:moveTo>
                    <a:cubicBezTo>
                      <a:pt x="275" y="471"/>
                      <a:pt x="275" y="471"/>
                      <a:pt x="275" y="471"/>
                    </a:cubicBezTo>
                    <a:cubicBezTo>
                      <a:pt x="249" y="465"/>
                      <a:pt x="226" y="442"/>
                      <a:pt x="209" y="407"/>
                    </a:cubicBezTo>
                    <a:cubicBezTo>
                      <a:pt x="208" y="406"/>
                      <a:pt x="208" y="406"/>
                      <a:pt x="208" y="406"/>
                    </a:cubicBezTo>
                    <a:cubicBezTo>
                      <a:pt x="275" y="406"/>
                      <a:pt x="275" y="406"/>
                      <a:pt x="275" y="406"/>
                    </a:cubicBezTo>
                    <a:lnTo>
                      <a:pt x="275" y="471"/>
                    </a:lnTo>
                    <a:close/>
                    <a:moveTo>
                      <a:pt x="275" y="380"/>
                    </a:moveTo>
                    <a:cubicBezTo>
                      <a:pt x="198" y="380"/>
                      <a:pt x="198" y="380"/>
                      <a:pt x="198" y="380"/>
                    </a:cubicBezTo>
                    <a:cubicBezTo>
                      <a:pt x="198" y="380"/>
                      <a:pt x="198" y="380"/>
                      <a:pt x="198" y="380"/>
                    </a:cubicBezTo>
                    <a:cubicBezTo>
                      <a:pt x="190" y="356"/>
                      <a:pt x="185" y="329"/>
                      <a:pt x="184" y="301"/>
                    </a:cubicBezTo>
                    <a:cubicBezTo>
                      <a:pt x="184" y="301"/>
                      <a:pt x="184" y="301"/>
                      <a:pt x="184" y="301"/>
                    </a:cubicBezTo>
                    <a:cubicBezTo>
                      <a:pt x="275" y="301"/>
                      <a:pt x="275" y="301"/>
                      <a:pt x="275" y="301"/>
                    </a:cubicBezTo>
                    <a:lnTo>
                      <a:pt x="275" y="380"/>
                    </a:lnTo>
                    <a:close/>
                    <a:moveTo>
                      <a:pt x="275" y="275"/>
                    </a:moveTo>
                    <a:cubicBezTo>
                      <a:pt x="184" y="275"/>
                      <a:pt x="184" y="275"/>
                      <a:pt x="184" y="275"/>
                    </a:cubicBezTo>
                    <a:cubicBezTo>
                      <a:pt x="184" y="275"/>
                      <a:pt x="184" y="275"/>
                      <a:pt x="184" y="275"/>
                    </a:cubicBezTo>
                    <a:cubicBezTo>
                      <a:pt x="185" y="247"/>
                      <a:pt x="190" y="220"/>
                      <a:pt x="198" y="196"/>
                    </a:cubicBezTo>
                    <a:cubicBezTo>
                      <a:pt x="198" y="195"/>
                      <a:pt x="198" y="195"/>
                      <a:pt x="198" y="195"/>
                    </a:cubicBezTo>
                    <a:cubicBezTo>
                      <a:pt x="275" y="195"/>
                      <a:pt x="275" y="195"/>
                      <a:pt x="275" y="195"/>
                    </a:cubicBezTo>
                    <a:lnTo>
                      <a:pt x="275" y="275"/>
                    </a:lnTo>
                    <a:close/>
                    <a:moveTo>
                      <a:pt x="275" y="170"/>
                    </a:moveTo>
                    <a:cubicBezTo>
                      <a:pt x="208" y="170"/>
                      <a:pt x="208" y="170"/>
                      <a:pt x="208" y="170"/>
                    </a:cubicBezTo>
                    <a:cubicBezTo>
                      <a:pt x="209" y="169"/>
                      <a:pt x="209" y="169"/>
                      <a:pt x="209" y="169"/>
                    </a:cubicBezTo>
                    <a:cubicBezTo>
                      <a:pt x="226" y="134"/>
                      <a:pt x="249" y="111"/>
                      <a:pt x="275" y="105"/>
                    </a:cubicBezTo>
                    <a:cubicBezTo>
                      <a:pt x="275" y="105"/>
                      <a:pt x="275" y="105"/>
                      <a:pt x="275" y="105"/>
                    </a:cubicBezTo>
                    <a:lnTo>
                      <a:pt x="275" y="170"/>
                    </a:lnTo>
                    <a:close/>
                    <a:moveTo>
                      <a:pt x="369" y="122"/>
                    </a:moveTo>
                    <a:cubicBezTo>
                      <a:pt x="392" y="133"/>
                      <a:pt x="413" y="149"/>
                      <a:pt x="429" y="169"/>
                    </a:cubicBezTo>
                    <a:cubicBezTo>
                      <a:pt x="430" y="170"/>
                      <a:pt x="430" y="170"/>
                      <a:pt x="430" y="170"/>
                    </a:cubicBezTo>
                    <a:cubicBezTo>
                      <a:pt x="396" y="170"/>
                      <a:pt x="396" y="170"/>
                      <a:pt x="396" y="170"/>
                    </a:cubicBezTo>
                    <a:cubicBezTo>
                      <a:pt x="395" y="170"/>
                      <a:pt x="395" y="170"/>
                      <a:pt x="395" y="170"/>
                    </a:cubicBezTo>
                    <a:cubicBezTo>
                      <a:pt x="388" y="152"/>
                      <a:pt x="379" y="136"/>
                      <a:pt x="368" y="123"/>
                    </a:cubicBezTo>
                    <a:cubicBezTo>
                      <a:pt x="367" y="121"/>
                      <a:pt x="367" y="121"/>
                      <a:pt x="367" y="121"/>
                    </a:cubicBezTo>
                    <a:lnTo>
                      <a:pt x="369" y="122"/>
                    </a:lnTo>
                    <a:close/>
                    <a:moveTo>
                      <a:pt x="301" y="105"/>
                    </a:moveTo>
                    <a:cubicBezTo>
                      <a:pt x="301" y="105"/>
                      <a:pt x="301" y="105"/>
                      <a:pt x="301" y="105"/>
                    </a:cubicBezTo>
                    <a:cubicBezTo>
                      <a:pt x="327" y="111"/>
                      <a:pt x="350" y="134"/>
                      <a:pt x="367" y="169"/>
                    </a:cubicBezTo>
                    <a:cubicBezTo>
                      <a:pt x="368" y="170"/>
                      <a:pt x="368" y="170"/>
                      <a:pt x="368" y="170"/>
                    </a:cubicBezTo>
                    <a:cubicBezTo>
                      <a:pt x="301" y="170"/>
                      <a:pt x="301" y="170"/>
                      <a:pt x="301" y="170"/>
                    </a:cubicBezTo>
                    <a:lnTo>
                      <a:pt x="301" y="105"/>
                    </a:lnTo>
                    <a:close/>
                    <a:moveTo>
                      <a:pt x="301" y="195"/>
                    </a:moveTo>
                    <a:cubicBezTo>
                      <a:pt x="378" y="195"/>
                      <a:pt x="378" y="195"/>
                      <a:pt x="378" y="195"/>
                    </a:cubicBezTo>
                    <a:cubicBezTo>
                      <a:pt x="378" y="196"/>
                      <a:pt x="378" y="196"/>
                      <a:pt x="378" y="196"/>
                    </a:cubicBezTo>
                    <a:cubicBezTo>
                      <a:pt x="386" y="220"/>
                      <a:pt x="391" y="247"/>
                      <a:pt x="392" y="275"/>
                    </a:cubicBezTo>
                    <a:cubicBezTo>
                      <a:pt x="392" y="275"/>
                      <a:pt x="392" y="275"/>
                      <a:pt x="392" y="275"/>
                    </a:cubicBezTo>
                    <a:cubicBezTo>
                      <a:pt x="301" y="275"/>
                      <a:pt x="301" y="275"/>
                      <a:pt x="301" y="275"/>
                    </a:cubicBezTo>
                    <a:lnTo>
                      <a:pt x="301" y="195"/>
                    </a:lnTo>
                    <a:close/>
                    <a:moveTo>
                      <a:pt x="301" y="301"/>
                    </a:moveTo>
                    <a:cubicBezTo>
                      <a:pt x="392" y="301"/>
                      <a:pt x="392" y="301"/>
                      <a:pt x="392" y="301"/>
                    </a:cubicBezTo>
                    <a:cubicBezTo>
                      <a:pt x="392" y="301"/>
                      <a:pt x="392" y="301"/>
                      <a:pt x="392" y="301"/>
                    </a:cubicBezTo>
                    <a:cubicBezTo>
                      <a:pt x="391" y="329"/>
                      <a:pt x="386" y="355"/>
                      <a:pt x="378" y="380"/>
                    </a:cubicBezTo>
                    <a:cubicBezTo>
                      <a:pt x="378" y="380"/>
                      <a:pt x="378" y="380"/>
                      <a:pt x="378" y="380"/>
                    </a:cubicBezTo>
                    <a:cubicBezTo>
                      <a:pt x="301" y="380"/>
                      <a:pt x="301" y="380"/>
                      <a:pt x="301" y="380"/>
                    </a:cubicBezTo>
                    <a:lnTo>
                      <a:pt x="301" y="301"/>
                    </a:lnTo>
                    <a:close/>
                    <a:moveTo>
                      <a:pt x="301" y="471"/>
                    </a:moveTo>
                    <a:cubicBezTo>
                      <a:pt x="301" y="471"/>
                      <a:pt x="301" y="471"/>
                      <a:pt x="301" y="471"/>
                    </a:cubicBezTo>
                    <a:cubicBezTo>
                      <a:pt x="301" y="406"/>
                      <a:pt x="301" y="406"/>
                      <a:pt x="301" y="406"/>
                    </a:cubicBezTo>
                    <a:cubicBezTo>
                      <a:pt x="368" y="406"/>
                      <a:pt x="368" y="406"/>
                      <a:pt x="368" y="406"/>
                    </a:cubicBezTo>
                    <a:cubicBezTo>
                      <a:pt x="367" y="407"/>
                      <a:pt x="367" y="407"/>
                      <a:pt x="367" y="407"/>
                    </a:cubicBezTo>
                    <a:cubicBezTo>
                      <a:pt x="350" y="442"/>
                      <a:pt x="327" y="465"/>
                      <a:pt x="301" y="471"/>
                    </a:cubicBezTo>
                    <a:close/>
                    <a:moveTo>
                      <a:pt x="429" y="407"/>
                    </a:moveTo>
                    <a:cubicBezTo>
                      <a:pt x="413" y="426"/>
                      <a:pt x="392" y="442"/>
                      <a:pt x="369" y="454"/>
                    </a:cubicBezTo>
                    <a:cubicBezTo>
                      <a:pt x="367" y="455"/>
                      <a:pt x="367" y="455"/>
                      <a:pt x="367" y="455"/>
                    </a:cubicBezTo>
                    <a:cubicBezTo>
                      <a:pt x="368" y="453"/>
                      <a:pt x="368" y="453"/>
                      <a:pt x="368" y="453"/>
                    </a:cubicBezTo>
                    <a:cubicBezTo>
                      <a:pt x="379" y="439"/>
                      <a:pt x="388" y="424"/>
                      <a:pt x="395" y="406"/>
                    </a:cubicBezTo>
                    <a:cubicBezTo>
                      <a:pt x="396" y="406"/>
                      <a:pt x="396" y="406"/>
                      <a:pt x="396" y="406"/>
                    </a:cubicBezTo>
                    <a:cubicBezTo>
                      <a:pt x="430" y="406"/>
                      <a:pt x="430" y="406"/>
                      <a:pt x="430" y="406"/>
                    </a:cubicBezTo>
                    <a:lnTo>
                      <a:pt x="429" y="407"/>
                    </a:lnTo>
                    <a:close/>
                    <a:moveTo>
                      <a:pt x="472" y="301"/>
                    </a:moveTo>
                    <a:cubicBezTo>
                      <a:pt x="470" y="329"/>
                      <a:pt x="462" y="356"/>
                      <a:pt x="448" y="380"/>
                    </a:cubicBezTo>
                    <a:cubicBezTo>
                      <a:pt x="448" y="380"/>
                      <a:pt x="448" y="380"/>
                      <a:pt x="448" y="380"/>
                    </a:cubicBezTo>
                    <a:cubicBezTo>
                      <a:pt x="405" y="380"/>
                      <a:pt x="405" y="380"/>
                      <a:pt x="405" y="380"/>
                    </a:cubicBezTo>
                    <a:cubicBezTo>
                      <a:pt x="405" y="380"/>
                      <a:pt x="405" y="380"/>
                      <a:pt x="405" y="380"/>
                    </a:cubicBezTo>
                    <a:cubicBezTo>
                      <a:pt x="412" y="355"/>
                      <a:pt x="417" y="329"/>
                      <a:pt x="418" y="301"/>
                    </a:cubicBezTo>
                    <a:cubicBezTo>
                      <a:pt x="418" y="301"/>
                      <a:pt x="418" y="301"/>
                      <a:pt x="418" y="301"/>
                    </a:cubicBezTo>
                    <a:cubicBezTo>
                      <a:pt x="472" y="301"/>
                      <a:pt x="472" y="301"/>
                      <a:pt x="472" y="301"/>
                    </a:cubicBezTo>
                    <a:close/>
                    <a:moveTo>
                      <a:pt x="448" y="195"/>
                    </a:moveTo>
                    <a:cubicBezTo>
                      <a:pt x="462" y="220"/>
                      <a:pt x="470" y="246"/>
                      <a:pt x="472" y="275"/>
                    </a:cubicBezTo>
                    <a:cubicBezTo>
                      <a:pt x="472" y="275"/>
                      <a:pt x="472" y="275"/>
                      <a:pt x="472" y="275"/>
                    </a:cubicBezTo>
                    <a:cubicBezTo>
                      <a:pt x="418" y="275"/>
                      <a:pt x="418" y="275"/>
                      <a:pt x="418" y="275"/>
                    </a:cubicBezTo>
                    <a:cubicBezTo>
                      <a:pt x="418" y="275"/>
                      <a:pt x="418" y="275"/>
                      <a:pt x="418" y="275"/>
                    </a:cubicBezTo>
                    <a:cubicBezTo>
                      <a:pt x="417" y="247"/>
                      <a:pt x="412" y="221"/>
                      <a:pt x="405" y="196"/>
                    </a:cubicBezTo>
                    <a:cubicBezTo>
                      <a:pt x="405" y="195"/>
                      <a:pt x="405" y="195"/>
                      <a:pt x="405" y="195"/>
                    </a:cubicBezTo>
                    <a:cubicBezTo>
                      <a:pt x="448" y="195"/>
                      <a:pt x="448" y="195"/>
                      <a:pt x="448" y="195"/>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path>
                </a:pathLst>
              </a:custGeom>
              <a:solidFill>
                <a:srgbClr val="4A66AC"/>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118" name="Freeform 106">
                <a:extLst>
                  <a:ext uri="{FF2B5EF4-FFF2-40B4-BE49-F238E27FC236}">
                    <a16:creationId xmlns:a16="http://schemas.microsoft.com/office/drawing/2014/main" id="{36ECD875-5793-4554-BE38-57DE3626B01D}"/>
                  </a:ext>
                </a:extLst>
              </p:cNvPr>
              <p:cNvSpPr>
                <a:spLocks noChangeAspect="1" noEditPoints="1"/>
              </p:cNvSpPr>
              <p:nvPr/>
            </p:nvSpPr>
            <p:spPr bwMode="auto">
              <a:xfrm>
                <a:off x="816249" y="4757975"/>
                <a:ext cx="360000" cy="361023"/>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4 w 576"/>
                  <a:gd name="T13" fmla="*/ 551 h 576"/>
                  <a:gd name="T14" fmla="*/ 24 w 576"/>
                  <a:gd name="T15" fmla="*/ 25 h 576"/>
                  <a:gd name="T16" fmla="*/ 551 w 576"/>
                  <a:gd name="T17" fmla="*/ 25 h 576"/>
                  <a:gd name="T18" fmla="*/ 551 w 576"/>
                  <a:gd name="T19" fmla="*/ 551 h 576"/>
                  <a:gd name="T20" fmla="*/ 439 w 576"/>
                  <a:gd name="T21" fmla="*/ 439 h 576"/>
                  <a:gd name="T22" fmla="*/ 346 w 576"/>
                  <a:gd name="T23" fmla="*/ 464 h 576"/>
                  <a:gd name="T24" fmla="*/ 215 w 576"/>
                  <a:gd name="T25" fmla="*/ 413 h 576"/>
                  <a:gd name="T26" fmla="*/ 173 w 576"/>
                  <a:gd name="T27" fmla="*/ 349 h 576"/>
                  <a:gd name="T28" fmla="*/ 110 w 576"/>
                  <a:gd name="T29" fmla="*/ 349 h 576"/>
                  <a:gd name="T30" fmla="*/ 128 w 576"/>
                  <a:gd name="T31" fmla="*/ 305 h 576"/>
                  <a:gd name="T32" fmla="*/ 164 w 576"/>
                  <a:gd name="T33" fmla="*/ 305 h 576"/>
                  <a:gd name="T34" fmla="*/ 163 w 576"/>
                  <a:gd name="T35" fmla="*/ 287 h 576"/>
                  <a:gd name="T36" fmla="*/ 164 w 576"/>
                  <a:gd name="T37" fmla="*/ 269 h 576"/>
                  <a:gd name="T38" fmla="*/ 110 w 576"/>
                  <a:gd name="T39" fmla="*/ 269 h 576"/>
                  <a:gd name="T40" fmla="*/ 128 w 576"/>
                  <a:gd name="T41" fmla="*/ 225 h 576"/>
                  <a:gd name="T42" fmla="*/ 173 w 576"/>
                  <a:gd name="T43" fmla="*/ 225 h 576"/>
                  <a:gd name="T44" fmla="*/ 215 w 576"/>
                  <a:gd name="T45" fmla="*/ 160 h 576"/>
                  <a:gd name="T46" fmla="*/ 346 w 576"/>
                  <a:gd name="T47" fmla="*/ 110 h 576"/>
                  <a:gd name="T48" fmla="*/ 437 w 576"/>
                  <a:gd name="T49" fmla="*/ 133 h 576"/>
                  <a:gd name="T50" fmla="*/ 415 w 576"/>
                  <a:gd name="T51" fmla="*/ 186 h 576"/>
                  <a:gd name="T52" fmla="*/ 396 w 576"/>
                  <a:gd name="T53" fmla="*/ 175 h 576"/>
                  <a:gd name="T54" fmla="*/ 345 w 576"/>
                  <a:gd name="T55" fmla="*/ 166 h 576"/>
                  <a:gd name="T56" fmla="*/ 258 w 576"/>
                  <a:gd name="T57" fmla="*/ 199 h 576"/>
                  <a:gd name="T58" fmla="*/ 238 w 576"/>
                  <a:gd name="T59" fmla="*/ 225 h 576"/>
                  <a:gd name="T60" fmla="*/ 399 w 576"/>
                  <a:gd name="T61" fmla="*/ 225 h 576"/>
                  <a:gd name="T62" fmla="*/ 381 w 576"/>
                  <a:gd name="T63" fmla="*/ 269 h 576"/>
                  <a:gd name="T64" fmla="*/ 224 w 576"/>
                  <a:gd name="T65" fmla="*/ 269 h 576"/>
                  <a:gd name="T66" fmla="*/ 223 w 576"/>
                  <a:gd name="T67" fmla="*/ 285 h 576"/>
                  <a:gd name="T68" fmla="*/ 223 w 576"/>
                  <a:gd name="T69" fmla="*/ 287 h 576"/>
                  <a:gd name="T70" fmla="*/ 223 w 576"/>
                  <a:gd name="T71" fmla="*/ 289 h 576"/>
                  <a:gd name="T72" fmla="*/ 224 w 576"/>
                  <a:gd name="T73" fmla="*/ 305 h 576"/>
                  <a:gd name="T74" fmla="*/ 366 w 576"/>
                  <a:gd name="T75" fmla="*/ 305 h 576"/>
                  <a:gd name="T76" fmla="*/ 349 w 576"/>
                  <a:gd name="T77" fmla="*/ 349 h 576"/>
                  <a:gd name="T78" fmla="*/ 238 w 576"/>
                  <a:gd name="T79" fmla="*/ 349 h 576"/>
                  <a:gd name="T80" fmla="*/ 258 w 576"/>
                  <a:gd name="T81" fmla="*/ 374 h 576"/>
                  <a:gd name="T82" fmla="*/ 345 w 576"/>
                  <a:gd name="T83" fmla="*/ 408 h 576"/>
                  <a:gd name="T84" fmla="*/ 396 w 576"/>
                  <a:gd name="T85" fmla="*/ 398 h 576"/>
                  <a:gd name="T86" fmla="*/ 416 w 576"/>
                  <a:gd name="T87" fmla="*/ 387 h 576"/>
                  <a:gd name="T88" fmla="*/ 439 w 576"/>
                  <a:gd name="T89" fmla="*/ 43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439" y="439"/>
                    </a:moveTo>
                    <a:cubicBezTo>
                      <a:pt x="412" y="456"/>
                      <a:pt x="381" y="464"/>
                      <a:pt x="346" y="464"/>
                    </a:cubicBezTo>
                    <a:cubicBezTo>
                      <a:pt x="293" y="464"/>
                      <a:pt x="250" y="447"/>
                      <a:pt x="215" y="413"/>
                    </a:cubicBezTo>
                    <a:cubicBezTo>
                      <a:pt x="196" y="394"/>
                      <a:pt x="182" y="373"/>
                      <a:pt x="173" y="349"/>
                    </a:cubicBezTo>
                    <a:cubicBezTo>
                      <a:pt x="110" y="349"/>
                      <a:pt x="110" y="349"/>
                      <a:pt x="110" y="349"/>
                    </a:cubicBezTo>
                    <a:cubicBezTo>
                      <a:pt x="128" y="305"/>
                      <a:pt x="128" y="305"/>
                      <a:pt x="128" y="305"/>
                    </a:cubicBezTo>
                    <a:cubicBezTo>
                      <a:pt x="164" y="305"/>
                      <a:pt x="164" y="305"/>
                      <a:pt x="164" y="305"/>
                    </a:cubicBezTo>
                    <a:cubicBezTo>
                      <a:pt x="164" y="299"/>
                      <a:pt x="163" y="293"/>
                      <a:pt x="163" y="287"/>
                    </a:cubicBezTo>
                    <a:cubicBezTo>
                      <a:pt x="163" y="281"/>
                      <a:pt x="164" y="275"/>
                      <a:pt x="164" y="269"/>
                    </a:cubicBezTo>
                    <a:cubicBezTo>
                      <a:pt x="110" y="269"/>
                      <a:pt x="110" y="269"/>
                      <a:pt x="110" y="269"/>
                    </a:cubicBezTo>
                    <a:cubicBezTo>
                      <a:pt x="128" y="225"/>
                      <a:pt x="128" y="225"/>
                      <a:pt x="128" y="225"/>
                    </a:cubicBezTo>
                    <a:cubicBezTo>
                      <a:pt x="173" y="225"/>
                      <a:pt x="173" y="225"/>
                      <a:pt x="173" y="225"/>
                    </a:cubicBezTo>
                    <a:cubicBezTo>
                      <a:pt x="182" y="201"/>
                      <a:pt x="196" y="179"/>
                      <a:pt x="215" y="160"/>
                    </a:cubicBezTo>
                    <a:cubicBezTo>
                      <a:pt x="250" y="127"/>
                      <a:pt x="293" y="110"/>
                      <a:pt x="346" y="110"/>
                    </a:cubicBezTo>
                    <a:cubicBezTo>
                      <a:pt x="380" y="110"/>
                      <a:pt x="410" y="118"/>
                      <a:pt x="437" y="133"/>
                    </a:cubicBezTo>
                    <a:cubicBezTo>
                      <a:pt x="415" y="186"/>
                      <a:pt x="415" y="186"/>
                      <a:pt x="415" y="186"/>
                    </a:cubicBezTo>
                    <a:cubicBezTo>
                      <a:pt x="409" y="182"/>
                      <a:pt x="402" y="178"/>
                      <a:pt x="396" y="175"/>
                    </a:cubicBezTo>
                    <a:cubicBezTo>
                      <a:pt x="381" y="169"/>
                      <a:pt x="364" y="166"/>
                      <a:pt x="345" y="166"/>
                    </a:cubicBezTo>
                    <a:cubicBezTo>
                      <a:pt x="311" y="166"/>
                      <a:pt x="282" y="177"/>
                      <a:pt x="258" y="199"/>
                    </a:cubicBezTo>
                    <a:cubicBezTo>
                      <a:pt x="250" y="207"/>
                      <a:pt x="243" y="216"/>
                      <a:pt x="238" y="225"/>
                    </a:cubicBezTo>
                    <a:cubicBezTo>
                      <a:pt x="399" y="225"/>
                      <a:pt x="399" y="225"/>
                      <a:pt x="399" y="225"/>
                    </a:cubicBezTo>
                    <a:cubicBezTo>
                      <a:pt x="381" y="269"/>
                      <a:pt x="381" y="269"/>
                      <a:pt x="381" y="269"/>
                    </a:cubicBezTo>
                    <a:cubicBezTo>
                      <a:pt x="224" y="269"/>
                      <a:pt x="224" y="269"/>
                      <a:pt x="224" y="269"/>
                    </a:cubicBezTo>
                    <a:cubicBezTo>
                      <a:pt x="224" y="274"/>
                      <a:pt x="223" y="279"/>
                      <a:pt x="223" y="285"/>
                    </a:cubicBezTo>
                    <a:cubicBezTo>
                      <a:pt x="223" y="285"/>
                      <a:pt x="223" y="286"/>
                      <a:pt x="223" y="287"/>
                    </a:cubicBezTo>
                    <a:cubicBezTo>
                      <a:pt x="223" y="288"/>
                      <a:pt x="223" y="288"/>
                      <a:pt x="223" y="289"/>
                    </a:cubicBezTo>
                    <a:cubicBezTo>
                      <a:pt x="223" y="295"/>
                      <a:pt x="224" y="300"/>
                      <a:pt x="224" y="305"/>
                    </a:cubicBezTo>
                    <a:cubicBezTo>
                      <a:pt x="366" y="305"/>
                      <a:pt x="366" y="305"/>
                      <a:pt x="366" y="305"/>
                    </a:cubicBezTo>
                    <a:cubicBezTo>
                      <a:pt x="349" y="349"/>
                      <a:pt x="349" y="349"/>
                      <a:pt x="349" y="349"/>
                    </a:cubicBezTo>
                    <a:cubicBezTo>
                      <a:pt x="238" y="349"/>
                      <a:pt x="238" y="349"/>
                      <a:pt x="238" y="349"/>
                    </a:cubicBezTo>
                    <a:cubicBezTo>
                      <a:pt x="243" y="358"/>
                      <a:pt x="250" y="366"/>
                      <a:pt x="258" y="374"/>
                    </a:cubicBezTo>
                    <a:cubicBezTo>
                      <a:pt x="282" y="396"/>
                      <a:pt x="311" y="408"/>
                      <a:pt x="345" y="408"/>
                    </a:cubicBezTo>
                    <a:cubicBezTo>
                      <a:pt x="364" y="408"/>
                      <a:pt x="381" y="404"/>
                      <a:pt x="396" y="398"/>
                    </a:cubicBezTo>
                    <a:cubicBezTo>
                      <a:pt x="403" y="395"/>
                      <a:pt x="409" y="392"/>
                      <a:pt x="416" y="387"/>
                    </a:cubicBezTo>
                    <a:cubicBezTo>
                      <a:pt x="428" y="413"/>
                      <a:pt x="430" y="419"/>
                      <a:pt x="439" y="439"/>
                    </a:cubicBezTo>
                    <a:close/>
                  </a:path>
                </a:pathLst>
              </a:custGeom>
              <a:solidFill>
                <a:srgbClr val="4A66AC"/>
              </a:solidFill>
              <a:ln>
                <a:noFill/>
              </a:ln>
            </p:spPr>
            <p:txBody>
              <a:bodyPr vert="horz" wrap="square" lIns="91440" tIns="45720" rIns="91440" bIns="45720" numCol="1" anchor="t" anchorCtr="0" compatLnSpc="1">
                <a:prstTxWarp prst="textNoShape">
                  <a:avLst/>
                </a:prstTxWarp>
              </a:bodyPr>
              <a:lstStyle/>
              <a:p>
                <a:endParaRPr lang="ja-JP" altLang="en-US" sz="700">
                  <a:solidFill>
                    <a:schemeClr val="accent1"/>
                  </a:solidFill>
                </a:endParaRPr>
              </a:p>
            </p:txBody>
          </p:sp>
          <p:grpSp>
            <p:nvGrpSpPr>
              <p:cNvPr id="119" name="Graphic 47">
                <a:extLst>
                  <a:ext uri="{FF2B5EF4-FFF2-40B4-BE49-F238E27FC236}">
                    <a16:creationId xmlns:a16="http://schemas.microsoft.com/office/drawing/2014/main" id="{89D843C3-6DEC-485D-8F91-828C581D023C}"/>
                  </a:ext>
                </a:extLst>
              </p:cNvPr>
              <p:cNvGrpSpPr/>
              <p:nvPr/>
            </p:nvGrpSpPr>
            <p:grpSpPr>
              <a:xfrm>
                <a:off x="816249" y="5332578"/>
                <a:ext cx="360000" cy="360000"/>
                <a:chOff x="5489444" y="1867103"/>
                <a:chExt cx="457200" cy="457200"/>
              </a:xfrm>
              <a:solidFill>
                <a:srgbClr val="4A66AC"/>
              </a:solidFill>
            </p:grpSpPr>
            <p:sp>
              <p:nvSpPr>
                <p:cNvPr id="120" name="Freeform 158">
                  <a:extLst>
                    <a:ext uri="{FF2B5EF4-FFF2-40B4-BE49-F238E27FC236}">
                      <a16:creationId xmlns:a16="http://schemas.microsoft.com/office/drawing/2014/main" id="{B994C779-61D3-4B60-8B31-9937966034C8}"/>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121" name="Freeform 163">
                  <a:extLst>
                    <a:ext uri="{FF2B5EF4-FFF2-40B4-BE49-F238E27FC236}">
                      <a16:creationId xmlns:a16="http://schemas.microsoft.com/office/drawing/2014/main" id="{8A98805D-331E-413A-A8CF-7B88EA1AB72D}"/>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122" name="Freeform 164">
                  <a:extLst>
                    <a:ext uri="{FF2B5EF4-FFF2-40B4-BE49-F238E27FC236}">
                      <a16:creationId xmlns:a16="http://schemas.microsoft.com/office/drawing/2014/main" id="{B03DAF7E-8F06-4628-B1A8-990E128C6FD8}"/>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123" name="Freeform 166">
                  <a:extLst>
                    <a:ext uri="{FF2B5EF4-FFF2-40B4-BE49-F238E27FC236}">
                      <a16:creationId xmlns:a16="http://schemas.microsoft.com/office/drawing/2014/main" id="{3EB70E63-27B2-4439-B4DF-36597C687009}"/>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p>
                  <a:endParaRPr lang="en-GB" sz="700" b="1" dirty="0">
                    <a:solidFill>
                      <a:schemeClr val="accent1"/>
                    </a:solidFill>
                  </a:endParaRPr>
                </a:p>
              </p:txBody>
            </p:sp>
          </p:grpSp>
          <p:sp>
            <p:nvSpPr>
              <p:cNvPr id="124" name="Freeform 28">
                <a:extLst>
                  <a:ext uri="{FF2B5EF4-FFF2-40B4-BE49-F238E27FC236}">
                    <a16:creationId xmlns:a16="http://schemas.microsoft.com/office/drawing/2014/main" id="{CD94B408-B454-4CFB-B0B9-2C16CC77A890}"/>
                  </a:ext>
                </a:extLst>
              </p:cNvPr>
              <p:cNvSpPr>
                <a:spLocks noChangeAspect="1" noEditPoints="1"/>
              </p:cNvSpPr>
              <p:nvPr/>
            </p:nvSpPr>
            <p:spPr bwMode="auto">
              <a:xfrm>
                <a:off x="811611" y="5906159"/>
                <a:ext cx="360000" cy="361023"/>
              </a:xfrm>
              <a:custGeom>
                <a:avLst/>
                <a:gdLst>
                  <a:gd name="T0" fmla="*/ 576 w 576"/>
                  <a:gd name="T1" fmla="*/ 576 h 576"/>
                  <a:gd name="T2" fmla="*/ 551 w 576"/>
                  <a:gd name="T3" fmla="*/ 551 h 576"/>
                  <a:gd name="T4" fmla="*/ 551 w 576"/>
                  <a:gd name="T5" fmla="*/ 25 h 576"/>
                  <a:gd name="T6" fmla="*/ 391 w 576"/>
                  <a:gd name="T7" fmla="*/ 149 h 576"/>
                  <a:gd name="T8" fmla="*/ 342 w 576"/>
                  <a:gd name="T9" fmla="*/ 178 h 576"/>
                  <a:gd name="T10" fmla="*/ 385 w 576"/>
                  <a:gd name="T11" fmla="*/ 319 h 576"/>
                  <a:gd name="T12" fmla="*/ 324 w 576"/>
                  <a:gd name="T13" fmla="*/ 427 h 576"/>
                  <a:gd name="T14" fmla="*/ 366 w 576"/>
                  <a:gd name="T15" fmla="*/ 394 h 576"/>
                  <a:gd name="T16" fmla="*/ 410 w 576"/>
                  <a:gd name="T17" fmla="*/ 261 h 576"/>
                  <a:gd name="T18" fmla="*/ 357 w 576"/>
                  <a:gd name="T19" fmla="*/ 439 h 576"/>
                  <a:gd name="T20" fmla="*/ 369 w 576"/>
                  <a:gd name="T21" fmla="*/ 427 h 576"/>
                  <a:gd name="T22" fmla="*/ 369 w 576"/>
                  <a:gd name="T23" fmla="*/ 149 h 576"/>
                  <a:gd name="T24" fmla="*/ 358 w 576"/>
                  <a:gd name="T25" fmla="*/ 137 h 576"/>
                  <a:gd name="T26" fmla="*/ 339 w 576"/>
                  <a:gd name="T27" fmla="*/ 50 h 576"/>
                  <a:gd name="T28" fmla="*/ 113 w 576"/>
                  <a:gd name="T29" fmla="*/ 120 h 576"/>
                  <a:gd name="T30" fmla="*/ 54 w 576"/>
                  <a:gd name="T31" fmla="*/ 363 h 576"/>
                  <a:gd name="T32" fmla="*/ 235 w 576"/>
                  <a:gd name="T33" fmla="*/ 524 h 576"/>
                  <a:gd name="T34" fmla="*/ 463 w 576"/>
                  <a:gd name="T35" fmla="*/ 455 h 576"/>
                  <a:gd name="T36" fmla="*/ 524 w 576"/>
                  <a:gd name="T37" fmla="*/ 223 h 576"/>
                  <a:gd name="T38" fmla="*/ 140 w 576"/>
                  <a:gd name="T39" fmla="*/ 399 h 576"/>
                  <a:gd name="T40" fmla="*/ 181 w 576"/>
                  <a:gd name="T41" fmla="*/ 375 h 576"/>
                  <a:gd name="T42" fmla="*/ 126 w 576"/>
                  <a:gd name="T43" fmla="*/ 377 h 576"/>
                  <a:gd name="T44" fmla="*/ 91 w 576"/>
                  <a:gd name="T45" fmla="*/ 309 h 576"/>
                  <a:gd name="T46" fmla="*/ 122 w 576"/>
                  <a:gd name="T47" fmla="*/ 263 h 576"/>
                  <a:gd name="T48" fmla="*/ 79 w 576"/>
                  <a:gd name="T49" fmla="*/ 237 h 576"/>
                  <a:gd name="T50" fmla="*/ 162 w 576"/>
                  <a:gd name="T51" fmla="*/ 231 h 576"/>
                  <a:gd name="T52" fmla="*/ 156 w 576"/>
                  <a:gd name="T53" fmla="*/ 195 h 576"/>
                  <a:gd name="T54" fmla="*/ 237 w 576"/>
                  <a:gd name="T55" fmla="*/ 80 h 576"/>
                  <a:gd name="T56" fmla="*/ 262 w 576"/>
                  <a:gd name="T57" fmla="*/ 283 h 576"/>
                  <a:gd name="T58" fmla="*/ 248 w 576"/>
                  <a:gd name="T59" fmla="*/ 315 h 576"/>
                  <a:gd name="T60" fmla="*/ 275 w 576"/>
                  <a:gd name="T61" fmla="*/ 474 h 576"/>
                  <a:gd name="T62" fmla="*/ 111 w 576"/>
                  <a:gd name="T63" fmla="*/ 297 h 576"/>
                  <a:gd name="T64" fmla="*/ 122 w 576"/>
                  <a:gd name="T65" fmla="*/ 308 h 576"/>
                  <a:gd name="T66" fmla="*/ 433 w 576"/>
                  <a:gd name="T67" fmla="*/ 369 h 576"/>
                  <a:gd name="T68" fmla="*/ 415 w 576"/>
                  <a:gd name="T69" fmla="*/ 394 h 576"/>
                  <a:gd name="T70" fmla="*/ 437 w 576"/>
                  <a:gd name="T71" fmla="*/ 440 h 576"/>
                  <a:gd name="T72" fmla="*/ 300 w 576"/>
                  <a:gd name="T73" fmla="*/ 309 h 576"/>
                  <a:gd name="T74" fmla="*/ 349 w 576"/>
                  <a:gd name="T75" fmla="*/ 296 h 576"/>
                  <a:gd name="T76" fmla="*/ 300 w 576"/>
                  <a:gd name="T77" fmla="*/ 283 h 576"/>
                  <a:gd name="T78" fmla="*/ 439 w 576"/>
                  <a:gd name="T79" fmla="*/ 135 h 576"/>
                  <a:gd name="T80" fmla="*/ 415 w 576"/>
                  <a:gd name="T81" fmla="*/ 194 h 576"/>
                  <a:gd name="T82" fmla="*/ 433 w 576"/>
                  <a:gd name="T83" fmla="*/ 218 h 576"/>
                  <a:gd name="T84" fmla="*/ 498 w 576"/>
                  <a:gd name="T85" fmla="*/ 283 h 576"/>
                  <a:gd name="T86" fmla="*/ 424 w 576"/>
                  <a:gd name="T87" fmla="*/ 297 h 576"/>
                  <a:gd name="T88" fmla="*/ 498 w 576"/>
                  <a:gd name="T89" fmla="*/ 309 h 576"/>
                  <a:gd name="T90" fmla="*/ 470 w 576"/>
                  <a:gd name="T91" fmla="*/ 297 h 576"/>
                  <a:gd name="T92" fmla="*/ 458 w 576"/>
                  <a:gd name="T93" fmla="*/ 285 h 576"/>
                  <a:gd name="T94" fmla="*/ 237 w 576"/>
                  <a:gd name="T95" fmla="*/ 340 h 576"/>
                  <a:gd name="T96" fmla="*/ 236 w 576"/>
                  <a:gd name="T97" fmla="*/ 243 h 576"/>
                  <a:gd name="T98" fmla="*/ 221 w 576"/>
                  <a:gd name="T99" fmla="*/ 114 h 576"/>
                  <a:gd name="T100" fmla="*/ 210 w 576"/>
                  <a:gd name="T101" fmla="*/ 181 h 576"/>
                  <a:gd name="T102" fmla="*/ 167 w 576"/>
                  <a:gd name="T103" fmla="*/ 335 h 576"/>
                  <a:gd name="T104" fmla="*/ 187 w 576"/>
                  <a:gd name="T105" fmla="*/ 428 h 576"/>
                  <a:gd name="T106" fmla="*/ 237 w 576"/>
                  <a:gd name="T107" fmla="*/ 398 h 576"/>
                  <a:gd name="T108" fmla="*/ 221 w 576"/>
                  <a:gd name="T109" fmla="*/ 160 h 576"/>
                  <a:gd name="T110" fmla="*/ 221 w 576"/>
                  <a:gd name="T111" fmla="*/ 440 h 576"/>
                  <a:gd name="T112" fmla="*/ 233 w 576"/>
                  <a:gd name="T113" fmla="*/ 42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67" y="181"/>
                    </a:moveTo>
                    <a:cubicBezTo>
                      <a:pt x="381" y="177"/>
                      <a:pt x="391" y="164"/>
                      <a:pt x="391" y="149"/>
                    </a:cubicBezTo>
                    <a:cubicBezTo>
                      <a:pt x="391" y="130"/>
                      <a:pt x="376" y="115"/>
                      <a:pt x="358" y="115"/>
                    </a:cubicBezTo>
                    <a:cubicBezTo>
                      <a:pt x="339" y="115"/>
                      <a:pt x="324" y="130"/>
                      <a:pt x="324" y="149"/>
                    </a:cubicBezTo>
                    <a:cubicBezTo>
                      <a:pt x="324" y="161"/>
                      <a:pt x="331" y="173"/>
                      <a:pt x="342" y="178"/>
                    </a:cubicBezTo>
                    <a:cubicBezTo>
                      <a:pt x="342" y="243"/>
                      <a:pt x="342" y="243"/>
                      <a:pt x="342" y="243"/>
                    </a:cubicBezTo>
                    <a:cubicBezTo>
                      <a:pt x="385" y="274"/>
                      <a:pt x="385" y="274"/>
                      <a:pt x="385" y="274"/>
                    </a:cubicBezTo>
                    <a:cubicBezTo>
                      <a:pt x="385" y="319"/>
                      <a:pt x="385" y="319"/>
                      <a:pt x="385" y="319"/>
                    </a:cubicBezTo>
                    <a:cubicBezTo>
                      <a:pt x="341" y="340"/>
                      <a:pt x="341" y="340"/>
                      <a:pt x="341" y="340"/>
                    </a:cubicBezTo>
                    <a:cubicBezTo>
                      <a:pt x="341" y="398"/>
                      <a:pt x="341" y="398"/>
                      <a:pt x="341" y="398"/>
                    </a:cubicBezTo>
                    <a:cubicBezTo>
                      <a:pt x="330" y="404"/>
                      <a:pt x="324" y="414"/>
                      <a:pt x="324" y="427"/>
                    </a:cubicBezTo>
                    <a:cubicBezTo>
                      <a:pt x="324" y="446"/>
                      <a:pt x="339" y="461"/>
                      <a:pt x="357" y="461"/>
                    </a:cubicBezTo>
                    <a:cubicBezTo>
                      <a:pt x="376" y="461"/>
                      <a:pt x="391" y="446"/>
                      <a:pt x="391" y="427"/>
                    </a:cubicBezTo>
                    <a:cubicBezTo>
                      <a:pt x="391" y="411"/>
                      <a:pt x="380" y="398"/>
                      <a:pt x="366" y="394"/>
                    </a:cubicBezTo>
                    <a:cubicBezTo>
                      <a:pt x="366" y="356"/>
                      <a:pt x="366" y="356"/>
                      <a:pt x="366" y="356"/>
                    </a:cubicBezTo>
                    <a:cubicBezTo>
                      <a:pt x="410" y="335"/>
                      <a:pt x="410" y="335"/>
                      <a:pt x="410" y="335"/>
                    </a:cubicBezTo>
                    <a:cubicBezTo>
                      <a:pt x="410" y="261"/>
                      <a:pt x="410" y="261"/>
                      <a:pt x="410" y="261"/>
                    </a:cubicBezTo>
                    <a:cubicBezTo>
                      <a:pt x="367" y="230"/>
                      <a:pt x="367" y="230"/>
                      <a:pt x="367" y="230"/>
                    </a:cubicBezTo>
                    <a:lnTo>
                      <a:pt x="367" y="181"/>
                    </a:lnTo>
                    <a:close/>
                    <a:moveTo>
                      <a:pt x="357" y="439"/>
                    </a:moveTo>
                    <a:cubicBezTo>
                      <a:pt x="351" y="439"/>
                      <a:pt x="346" y="433"/>
                      <a:pt x="346" y="427"/>
                    </a:cubicBezTo>
                    <a:cubicBezTo>
                      <a:pt x="346" y="421"/>
                      <a:pt x="351" y="415"/>
                      <a:pt x="357" y="415"/>
                    </a:cubicBezTo>
                    <a:cubicBezTo>
                      <a:pt x="364" y="415"/>
                      <a:pt x="369" y="421"/>
                      <a:pt x="369" y="427"/>
                    </a:cubicBezTo>
                    <a:cubicBezTo>
                      <a:pt x="369" y="433"/>
                      <a:pt x="364" y="439"/>
                      <a:pt x="357" y="439"/>
                    </a:cubicBezTo>
                    <a:close/>
                    <a:moveTo>
                      <a:pt x="358" y="137"/>
                    </a:moveTo>
                    <a:cubicBezTo>
                      <a:pt x="364" y="137"/>
                      <a:pt x="369" y="142"/>
                      <a:pt x="369" y="149"/>
                    </a:cubicBezTo>
                    <a:cubicBezTo>
                      <a:pt x="369" y="155"/>
                      <a:pt x="364" y="160"/>
                      <a:pt x="358" y="160"/>
                    </a:cubicBezTo>
                    <a:cubicBezTo>
                      <a:pt x="351" y="160"/>
                      <a:pt x="346" y="155"/>
                      <a:pt x="346" y="149"/>
                    </a:cubicBezTo>
                    <a:cubicBezTo>
                      <a:pt x="346" y="142"/>
                      <a:pt x="351" y="137"/>
                      <a:pt x="358" y="137"/>
                    </a:cubicBezTo>
                    <a:close/>
                    <a:moveTo>
                      <a:pt x="464" y="186"/>
                    </a:moveTo>
                    <a:cubicBezTo>
                      <a:pt x="464" y="120"/>
                      <a:pt x="464" y="120"/>
                      <a:pt x="464" y="120"/>
                    </a:cubicBezTo>
                    <a:cubicBezTo>
                      <a:pt x="339" y="50"/>
                      <a:pt x="339" y="50"/>
                      <a:pt x="339" y="50"/>
                    </a:cubicBezTo>
                    <a:cubicBezTo>
                      <a:pt x="289" y="82"/>
                      <a:pt x="289" y="82"/>
                      <a:pt x="289" y="82"/>
                    </a:cubicBezTo>
                    <a:cubicBezTo>
                      <a:pt x="238" y="50"/>
                      <a:pt x="238" y="50"/>
                      <a:pt x="238" y="50"/>
                    </a:cubicBezTo>
                    <a:cubicBezTo>
                      <a:pt x="113" y="120"/>
                      <a:pt x="113" y="120"/>
                      <a:pt x="113" y="120"/>
                    </a:cubicBezTo>
                    <a:cubicBezTo>
                      <a:pt x="113" y="186"/>
                      <a:pt x="113" y="186"/>
                      <a:pt x="113" y="186"/>
                    </a:cubicBezTo>
                    <a:cubicBezTo>
                      <a:pt x="54" y="223"/>
                      <a:pt x="54" y="223"/>
                      <a:pt x="54" y="223"/>
                    </a:cubicBezTo>
                    <a:cubicBezTo>
                      <a:pt x="54" y="363"/>
                      <a:pt x="54" y="363"/>
                      <a:pt x="54" y="363"/>
                    </a:cubicBezTo>
                    <a:cubicBezTo>
                      <a:pt x="115" y="400"/>
                      <a:pt x="115" y="400"/>
                      <a:pt x="115" y="400"/>
                    </a:cubicBezTo>
                    <a:cubicBezTo>
                      <a:pt x="115" y="455"/>
                      <a:pt x="115" y="455"/>
                      <a:pt x="115" y="455"/>
                    </a:cubicBezTo>
                    <a:cubicBezTo>
                      <a:pt x="235" y="524"/>
                      <a:pt x="235" y="524"/>
                      <a:pt x="235" y="524"/>
                    </a:cubicBezTo>
                    <a:cubicBezTo>
                      <a:pt x="289" y="495"/>
                      <a:pt x="289" y="495"/>
                      <a:pt x="289" y="495"/>
                    </a:cubicBezTo>
                    <a:cubicBezTo>
                      <a:pt x="343" y="524"/>
                      <a:pt x="343" y="524"/>
                      <a:pt x="343" y="524"/>
                    </a:cubicBezTo>
                    <a:cubicBezTo>
                      <a:pt x="463" y="455"/>
                      <a:pt x="463" y="455"/>
                      <a:pt x="463" y="455"/>
                    </a:cubicBezTo>
                    <a:cubicBezTo>
                      <a:pt x="463" y="400"/>
                      <a:pt x="463" y="400"/>
                      <a:pt x="463" y="400"/>
                    </a:cubicBezTo>
                    <a:cubicBezTo>
                      <a:pt x="524" y="363"/>
                      <a:pt x="524" y="363"/>
                      <a:pt x="524" y="363"/>
                    </a:cubicBezTo>
                    <a:cubicBezTo>
                      <a:pt x="524" y="223"/>
                      <a:pt x="524" y="223"/>
                      <a:pt x="524" y="223"/>
                    </a:cubicBezTo>
                    <a:lnTo>
                      <a:pt x="464" y="186"/>
                    </a:lnTo>
                    <a:close/>
                    <a:moveTo>
                      <a:pt x="140" y="440"/>
                    </a:moveTo>
                    <a:cubicBezTo>
                      <a:pt x="140" y="399"/>
                      <a:pt x="140" y="399"/>
                      <a:pt x="140" y="399"/>
                    </a:cubicBezTo>
                    <a:cubicBezTo>
                      <a:pt x="155" y="392"/>
                      <a:pt x="155" y="392"/>
                      <a:pt x="155" y="392"/>
                    </a:cubicBezTo>
                    <a:cubicBezTo>
                      <a:pt x="157" y="393"/>
                      <a:pt x="160" y="394"/>
                      <a:pt x="162" y="394"/>
                    </a:cubicBezTo>
                    <a:cubicBezTo>
                      <a:pt x="173" y="394"/>
                      <a:pt x="181" y="385"/>
                      <a:pt x="181" y="375"/>
                    </a:cubicBezTo>
                    <a:cubicBezTo>
                      <a:pt x="181" y="365"/>
                      <a:pt x="173" y="356"/>
                      <a:pt x="162" y="356"/>
                    </a:cubicBezTo>
                    <a:cubicBezTo>
                      <a:pt x="154" y="356"/>
                      <a:pt x="147" y="362"/>
                      <a:pt x="145" y="369"/>
                    </a:cubicBezTo>
                    <a:cubicBezTo>
                      <a:pt x="126" y="377"/>
                      <a:pt x="126" y="377"/>
                      <a:pt x="126" y="377"/>
                    </a:cubicBezTo>
                    <a:cubicBezTo>
                      <a:pt x="79" y="348"/>
                      <a:pt x="79" y="348"/>
                      <a:pt x="79" y="348"/>
                    </a:cubicBezTo>
                    <a:cubicBezTo>
                      <a:pt x="79" y="309"/>
                      <a:pt x="79" y="309"/>
                      <a:pt x="79" y="309"/>
                    </a:cubicBezTo>
                    <a:cubicBezTo>
                      <a:pt x="91" y="309"/>
                      <a:pt x="91" y="309"/>
                      <a:pt x="91" y="309"/>
                    </a:cubicBezTo>
                    <a:cubicBezTo>
                      <a:pt x="96" y="321"/>
                      <a:pt x="108" y="330"/>
                      <a:pt x="122" y="330"/>
                    </a:cubicBezTo>
                    <a:cubicBezTo>
                      <a:pt x="141" y="330"/>
                      <a:pt x="156" y="315"/>
                      <a:pt x="156" y="297"/>
                    </a:cubicBezTo>
                    <a:cubicBezTo>
                      <a:pt x="156" y="278"/>
                      <a:pt x="141" y="263"/>
                      <a:pt x="122" y="263"/>
                    </a:cubicBezTo>
                    <a:cubicBezTo>
                      <a:pt x="108" y="263"/>
                      <a:pt x="96" y="271"/>
                      <a:pt x="91" y="283"/>
                    </a:cubicBezTo>
                    <a:cubicBezTo>
                      <a:pt x="79" y="283"/>
                      <a:pt x="79" y="283"/>
                      <a:pt x="79" y="283"/>
                    </a:cubicBezTo>
                    <a:cubicBezTo>
                      <a:pt x="79" y="237"/>
                      <a:pt x="79" y="237"/>
                      <a:pt x="79" y="237"/>
                    </a:cubicBezTo>
                    <a:cubicBezTo>
                      <a:pt x="126" y="208"/>
                      <a:pt x="126" y="208"/>
                      <a:pt x="126" y="208"/>
                    </a:cubicBezTo>
                    <a:cubicBezTo>
                      <a:pt x="145" y="218"/>
                      <a:pt x="145" y="218"/>
                      <a:pt x="145" y="218"/>
                    </a:cubicBezTo>
                    <a:cubicBezTo>
                      <a:pt x="147" y="225"/>
                      <a:pt x="154" y="231"/>
                      <a:pt x="162" y="231"/>
                    </a:cubicBezTo>
                    <a:cubicBezTo>
                      <a:pt x="173" y="231"/>
                      <a:pt x="181" y="223"/>
                      <a:pt x="181" y="212"/>
                    </a:cubicBezTo>
                    <a:cubicBezTo>
                      <a:pt x="181" y="202"/>
                      <a:pt x="173" y="194"/>
                      <a:pt x="162" y="194"/>
                    </a:cubicBezTo>
                    <a:cubicBezTo>
                      <a:pt x="160" y="194"/>
                      <a:pt x="158" y="194"/>
                      <a:pt x="156" y="195"/>
                    </a:cubicBezTo>
                    <a:cubicBezTo>
                      <a:pt x="139" y="185"/>
                      <a:pt x="139" y="185"/>
                      <a:pt x="139" y="185"/>
                    </a:cubicBezTo>
                    <a:cubicBezTo>
                      <a:pt x="139" y="135"/>
                      <a:pt x="139" y="135"/>
                      <a:pt x="139" y="135"/>
                    </a:cubicBezTo>
                    <a:cubicBezTo>
                      <a:pt x="237" y="80"/>
                      <a:pt x="237" y="80"/>
                      <a:pt x="237" y="80"/>
                    </a:cubicBezTo>
                    <a:cubicBezTo>
                      <a:pt x="275" y="102"/>
                      <a:pt x="275" y="102"/>
                      <a:pt x="275" y="102"/>
                    </a:cubicBezTo>
                    <a:cubicBezTo>
                      <a:pt x="275" y="283"/>
                      <a:pt x="275" y="283"/>
                      <a:pt x="275" y="283"/>
                    </a:cubicBezTo>
                    <a:cubicBezTo>
                      <a:pt x="262" y="283"/>
                      <a:pt x="262" y="283"/>
                      <a:pt x="262" y="283"/>
                    </a:cubicBezTo>
                    <a:cubicBezTo>
                      <a:pt x="259" y="280"/>
                      <a:pt x="254" y="277"/>
                      <a:pt x="248" y="277"/>
                    </a:cubicBezTo>
                    <a:cubicBezTo>
                      <a:pt x="238" y="277"/>
                      <a:pt x="229" y="285"/>
                      <a:pt x="229" y="296"/>
                    </a:cubicBezTo>
                    <a:cubicBezTo>
                      <a:pt x="229" y="306"/>
                      <a:pt x="238" y="315"/>
                      <a:pt x="248" y="315"/>
                    </a:cubicBezTo>
                    <a:cubicBezTo>
                      <a:pt x="253" y="315"/>
                      <a:pt x="258" y="312"/>
                      <a:pt x="262" y="309"/>
                    </a:cubicBezTo>
                    <a:cubicBezTo>
                      <a:pt x="275" y="309"/>
                      <a:pt x="275" y="309"/>
                      <a:pt x="275" y="309"/>
                    </a:cubicBezTo>
                    <a:cubicBezTo>
                      <a:pt x="275" y="474"/>
                      <a:pt x="275" y="474"/>
                      <a:pt x="275" y="474"/>
                    </a:cubicBezTo>
                    <a:cubicBezTo>
                      <a:pt x="235" y="495"/>
                      <a:pt x="235" y="495"/>
                      <a:pt x="235" y="495"/>
                    </a:cubicBezTo>
                    <a:lnTo>
                      <a:pt x="140" y="440"/>
                    </a:lnTo>
                    <a:close/>
                    <a:moveTo>
                      <a:pt x="111" y="297"/>
                    </a:moveTo>
                    <a:cubicBezTo>
                      <a:pt x="111" y="290"/>
                      <a:pt x="116" y="285"/>
                      <a:pt x="122" y="285"/>
                    </a:cubicBezTo>
                    <a:cubicBezTo>
                      <a:pt x="129" y="285"/>
                      <a:pt x="134" y="290"/>
                      <a:pt x="134" y="297"/>
                    </a:cubicBezTo>
                    <a:cubicBezTo>
                      <a:pt x="134" y="303"/>
                      <a:pt x="129" y="308"/>
                      <a:pt x="122" y="308"/>
                    </a:cubicBezTo>
                    <a:cubicBezTo>
                      <a:pt x="116" y="308"/>
                      <a:pt x="111" y="303"/>
                      <a:pt x="111" y="297"/>
                    </a:cubicBezTo>
                    <a:close/>
                    <a:moveTo>
                      <a:pt x="451" y="377"/>
                    </a:moveTo>
                    <a:cubicBezTo>
                      <a:pt x="433" y="369"/>
                      <a:pt x="433" y="369"/>
                      <a:pt x="433" y="369"/>
                    </a:cubicBezTo>
                    <a:cubicBezTo>
                      <a:pt x="430" y="362"/>
                      <a:pt x="423" y="356"/>
                      <a:pt x="415" y="356"/>
                    </a:cubicBezTo>
                    <a:cubicBezTo>
                      <a:pt x="405" y="356"/>
                      <a:pt x="396" y="365"/>
                      <a:pt x="396" y="375"/>
                    </a:cubicBezTo>
                    <a:cubicBezTo>
                      <a:pt x="396" y="385"/>
                      <a:pt x="405" y="394"/>
                      <a:pt x="415" y="394"/>
                    </a:cubicBezTo>
                    <a:cubicBezTo>
                      <a:pt x="418" y="394"/>
                      <a:pt x="420" y="393"/>
                      <a:pt x="422" y="392"/>
                    </a:cubicBezTo>
                    <a:cubicBezTo>
                      <a:pt x="437" y="399"/>
                      <a:pt x="437" y="399"/>
                      <a:pt x="437" y="399"/>
                    </a:cubicBezTo>
                    <a:cubicBezTo>
                      <a:pt x="437" y="440"/>
                      <a:pt x="437" y="440"/>
                      <a:pt x="437" y="440"/>
                    </a:cubicBezTo>
                    <a:cubicBezTo>
                      <a:pt x="342" y="495"/>
                      <a:pt x="342" y="495"/>
                      <a:pt x="342" y="495"/>
                    </a:cubicBezTo>
                    <a:cubicBezTo>
                      <a:pt x="300" y="472"/>
                      <a:pt x="300" y="472"/>
                      <a:pt x="300" y="472"/>
                    </a:cubicBezTo>
                    <a:cubicBezTo>
                      <a:pt x="300" y="309"/>
                      <a:pt x="300" y="309"/>
                      <a:pt x="300" y="309"/>
                    </a:cubicBezTo>
                    <a:cubicBezTo>
                      <a:pt x="317" y="309"/>
                      <a:pt x="317" y="309"/>
                      <a:pt x="317" y="309"/>
                    </a:cubicBezTo>
                    <a:cubicBezTo>
                      <a:pt x="320" y="312"/>
                      <a:pt x="325" y="315"/>
                      <a:pt x="330" y="315"/>
                    </a:cubicBezTo>
                    <a:cubicBezTo>
                      <a:pt x="341" y="315"/>
                      <a:pt x="349" y="306"/>
                      <a:pt x="349" y="296"/>
                    </a:cubicBezTo>
                    <a:cubicBezTo>
                      <a:pt x="349" y="285"/>
                      <a:pt x="341" y="277"/>
                      <a:pt x="330" y="277"/>
                    </a:cubicBezTo>
                    <a:cubicBezTo>
                      <a:pt x="325" y="277"/>
                      <a:pt x="320" y="280"/>
                      <a:pt x="316" y="283"/>
                    </a:cubicBezTo>
                    <a:cubicBezTo>
                      <a:pt x="300" y="283"/>
                      <a:pt x="300" y="283"/>
                      <a:pt x="300" y="283"/>
                    </a:cubicBezTo>
                    <a:cubicBezTo>
                      <a:pt x="300" y="104"/>
                      <a:pt x="300" y="104"/>
                      <a:pt x="300" y="104"/>
                    </a:cubicBezTo>
                    <a:cubicBezTo>
                      <a:pt x="340" y="80"/>
                      <a:pt x="340" y="80"/>
                      <a:pt x="340" y="80"/>
                    </a:cubicBezTo>
                    <a:cubicBezTo>
                      <a:pt x="439" y="135"/>
                      <a:pt x="439" y="135"/>
                      <a:pt x="439" y="135"/>
                    </a:cubicBezTo>
                    <a:cubicBezTo>
                      <a:pt x="439" y="185"/>
                      <a:pt x="439" y="185"/>
                      <a:pt x="439" y="185"/>
                    </a:cubicBezTo>
                    <a:cubicBezTo>
                      <a:pt x="422" y="195"/>
                      <a:pt x="422" y="195"/>
                      <a:pt x="422" y="195"/>
                    </a:cubicBezTo>
                    <a:cubicBezTo>
                      <a:pt x="420" y="194"/>
                      <a:pt x="418" y="194"/>
                      <a:pt x="415" y="194"/>
                    </a:cubicBezTo>
                    <a:cubicBezTo>
                      <a:pt x="405" y="194"/>
                      <a:pt x="396" y="202"/>
                      <a:pt x="396" y="212"/>
                    </a:cubicBezTo>
                    <a:cubicBezTo>
                      <a:pt x="396" y="223"/>
                      <a:pt x="405" y="231"/>
                      <a:pt x="415" y="231"/>
                    </a:cubicBezTo>
                    <a:cubicBezTo>
                      <a:pt x="424" y="231"/>
                      <a:pt x="431" y="225"/>
                      <a:pt x="433" y="218"/>
                    </a:cubicBezTo>
                    <a:cubicBezTo>
                      <a:pt x="451" y="208"/>
                      <a:pt x="451" y="208"/>
                      <a:pt x="451" y="208"/>
                    </a:cubicBezTo>
                    <a:cubicBezTo>
                      <a:pt x="498" y="237"/>
                      <a:pt x="498" y="237"/>
                      <a:pt x="498" y="237"/>
                    </a:cubicBezTo>
                    <a:cubicBezTo>
                      <a:pt x="498" y="283"/>
                      <a:pt x="498" y="283"/>
                      <a:pt x="498" y="283"/>
                    </a:cubicBezTo>
                    <a:cubicBezTo>
                      <a:pt x="489" y="283"/>
                      <a:pt x="489" y="283"/>
                      <a:pt x="489" y="283"/>
                    </a:cubicBezTo>
                    <a:cubicBezTo>
                      <a:pt x="484" y="271"/>
                      <a:pt x="472" y="263"/>
                      <a:pt x="458" y="263"/>
                    </a:cubicBezTo>
                    <a:cubicBezTo>
                      <a:pt x="439" y="263"/>
                      <a:pt x="424" y="278"/>
                      <a:pt x="424" y="297"/>
                    </a:cubicBezTo>
                    <a:cubicBezTo>
                      <a:pt x="424" y="315"/>
                      <a:pt x="439" y="330"/>
                      <a:pt x="458" y="330"/>
                    </a:cubicBezTo>
                    <a:cubicBezTo>
                      <a:pt x="472" y="330"/>
                      <a:pt x="485" y="321"/>
                      <a:pt x="489" y="309"/>
                    </a:cubicBezTo>
                    <a:cubicBezTo>
                      <a:pt x="498" y="309"/>
                      <a:pt x="498" y="309"/>
                      <a:pt x="498" y="309"/>
                    </a:cubicBezTo>
                    <a:cubicBezTo>
                      <a:pt x="498" y="348"/>
                      <a:pt x="498" y="348"/>
                      <a:pt x="498" y="348"/>
                    </a:cubicBezTo>
                    <a:lnTo>
                      <a:pt x="451" y="377"/>
                    </a:lnTo>
                    <a:close/>
                    <a:moveTo>
                      <a:pt x="470" y="297"/>
                    </a:moveTo>
                    <a:cubicBezTo>
                      <a:pt x="470" y="303"/>
                      <a:pt x="464" y="308"/>
                      <a:pt x="458" y="308"/>
                    </a:cubicBezTo>
                    <a:cubicBezTo>
                      <a:pt x="452" y="308"/>
                      <a:pt x="446" y="303"/>
                      <a:pt x="446" y="297"/>
                    </a:cubicBezTo>
                    <a:cubicBezTo>
                      <a:pt x="446" y="290"/>
                      <a:pt x="452" y="285"/>
                      <a:pt x="458" y="285"/>
                    </a:cubicBezTo>
                    <a:cubicBezTo>
                      <a:pt x="464" y="285"/>
                      <a:pt x="470" y="290"/>
                      <a:pt x="470" y="297"/>
                    </a:cubicBezTo>
                    <a:close/>
                    <a:moveTo>
                      <a:pt x="237" y="398"/>
                    </a:moveTo>
                    <a:cubicBezTo>
                      <a:pt x="237" y="340"/>
                      <a:pt x="237" y="340"/>
                      <a:pt x="237" y="340"/>
                    </a:cubicBezTo>
                    <a:cubicBezTo>
                      <a:pt x="192" y="319"/>
                      <a:pt x="192" y="319"/>
                      <a:pt x="192" y="319"/>
                    </a:cubicBezTo>
                    <a:cubicBezTo>
                      <a:pt x="192" y="274"/>
                      <a:pt x="192" y="274"/>
                      <a:pt x="192" y="274"/>
                    </a:cubicBezTo>
                    <a:cubicBezTo>
                      <a:pt x="236" y="243"/>
                      <a:pt x="236" y="243"/>
                      <a:pt x="236" y="243"/>
                    </a:cubicBezTo>
                    <a:cubicBezTo>
                      <a:pt x="236" y="178"/>
                      <a:pt x="236" y="178"/>
                      <a:pt x="236" y="178"/>
                    </a:cubicBezTo>
                    <a:cubicBezTo>
                      <a:pt x="247" y="173"/>
                      <a:pt x="254" y="161"/>
                      <a:pt x="254" y="148"/>
                    </a:cubicBezTo>
                    <a:cubicBezTo>
                      <a:pt x="254" y="129"/>
                      <a:pt x="239" y="114"/>
                      <a:pt x="221" y="114"/>
                    </a:cubicBezTo>
                    <a:cubicBezTo>
                      <a:pt x="202" y="114"/>
                      <a:pt x="187" y="129"/>
                      <a:pt x="187" y="148"/>
                    </a:cubicBezTo>
                    <a:cubicBezTo>
                      <a:pt x="187" y="163"/>
                      <a:pt x="197" y="176"/>
                      <a:pt x="211" y="180"/>
                    </a:cubicBezTo>
                    <a:cubicBezTo>
                      <a:pt x="210" y="181"/>
                      <a:pt x="210" y="181"/>
                      <a:pt x="210" y="181"/>
                    </a:cubicBezTo>
                    <a:cubicBezTo>
                      <a:pt x="210" y="230"/>
                      <a:pt x="210" y="230"/>
                      <a:pt x="210" y="230"/>
                    </a:cubicBezTo>
                    <a:cubicBezTo>
                      <a:pt x="167" y="261"/>
                      <a:pt x="167" y="261"/>
                      <a:pt x="167" y="261"/>
                    </a:cubicBezTo>
                    <a:cubicBezTo>
                      <a:pt x="167" y="335"/>
                      <a:pt x="167" y="335"/>
                      <a:pt x="167" y="335"/>
                    </a:cubicBezTo>
                    <a:cubicBezTo>
                      <a:pt x="212" y="356"/>
                      <a:pt x="212" y="356"/>
                      <a:pt x="212" y="356"/>
                    </a:cubicBezTo>
                    <a:cubicBezTo>
                      <a:pt x="212" y="396"/>
                      <a:pt x="212" y="396"/>
                      <a:pt x="212" y="396"/>
                    </a:cubicBezTo>
                    <a:cubicBezTo>
                      <a:pt x="198" y="400"/>
                      <a:pt x="187" y="413"/>
                      <a:pt x="187" y="428"/>
                    </a:cubicBezTo>
                    <a:cubicBezTo>
                      <a:pt x="187" y="447"/>
                      <a:pt x="202" y="462"/>
                      <a:pt x="221" y="462"/>
                    </a:cubicBezTo>
                    <a:cubicBezTo>
                      <a:pt x="240" y="462"/>
                      <a:pt x="255" y="447"/>
                      <a:pt x="255" y="428"/>
                    </a:cubicBezTo>
                    <a:cubicBezTo>
                      <a:pt x="255" y="415"/>
                      <a:pt x="248" y="404"/>
                      <a:pt x="237" y="398"/>
                    </a:cubicBezTo>
                    <a:close/>
                    <a:moveTo>
                      <a:pt x="221" y="136"/>
                    </a:moveTo>
                    <a:cubicBezTo>
                      <a:pt x="227" y="136"/>
                      <a:pt x="232" y="142"/>
                      <a:pt x="232" y="148"/>
                    </a:cubicBezTo>
                    <a:cubicBezTo>
                      <a:pt x="232" y="154"/>
                      <a:pt x="227" y="160"/>
                      <a:pt x="221" y="160"/>
                    </a:cubicBezTo>
                    <a:cubicBezTo>
                      <a:pt x="214" y="160"/>
                      <a:pt x="209" y="154"/>
                      <a:pt x="209" y="148"/>
                    </a:cubicBezTo>
                    <a:cubicBezTo>
                      <a:pt x="209" y="142"/>
                      <a:pt x="214" y="136"/>
                      <a:pt x="221" y="136"/>
                    </a:cubicBezTo>
                    <a:close/>
                    <a:moveTo>
                      <a:pt x="221" y="440"/>
                    </a:moveTo>
                    <a:cubicBezTo>
                      <a:pt x="215" y="440"/>
                      <a:pt x="209" y="434"/>
                      <a:pt x="209" y="428"/>
                    </a:cubicBezTo>
                    <a:cubicBezTo>
                      <a:pt x="209" y="422"/>
                      <a:pt x="215" y="416"/>
                      <a:pt x="221" y="416"/>
                    </a:cubicBezTo>
                    <a:cubicBezTo>
                      <a:pt x="227" y="416"/>
                      <a:pt x="233" y="422"/>
                      <a:pt x="233" y="428"/>
                    </a:cubicBezTo>
                    <a:cubicBezTo>
                      <a:pt x="233" y="434"/>
                      <a:pt x="227" y="440"/>
                      <a:pt x="221" y="440"/>
                    </a:cubicBezTo>
                    <a:close/>
                  </a:path>
                </a:pathLst>
              </a:custGeom>
              <a:solidFill>
                <a:srgbClr val="4A66AC"/>
              </a:solidFill>
              <a:ln>
                <a:noFill/>
              </a:ln>
            </p:spPr>
            <p:txBody>
              <a:bodyPr vert="horz" wrap="square" lIns="91440" tIns="45720" rIns="91440" bIns="45720" numCol="1" anchor="t" anchorCtr="0" compatLnSpc="1">
                <a:prstTxWarp prst="textNoShape">
                  <a:avLst/>
                </a:prstTxWarp>
              </a:bodyPr>
              <a:lstStyle/>
              <a:p>
                <a:endParaRPr lang="ja-JP" altLang="en-US" sz="700">
                  <a:solidFill>
                    <a:schemeClr val="accent1"/>
                  </a:solidFill>
                </a:endParaRPr>
              </a:p>
            </p:txBody>
          </p:sp>
          <p:sp>
            <p:nvSpPr>
              <p:cNvPr id="128" name="Graphic 73">
                <a:extLst>
                  <a:ext uri="{FF2B5EF4-FFF2-40B4-BE49-F238E27FC236}">
                    <a16:creationId xmlns:a16="http://schemas.microsoft.com/office/drawing/2014/main" id="{8F46A499-7101-41EE-B673-3C603A8F7387}"/>
                  </a:ext>
                </a:extLst>
              </p:cNvPr>
              <p:cNvSpPr/>
              <p:nvPr/>
            </p:nvSpPr>
            <p:spPr>
              <a:xfrm>
                <a:off x="1232134" y="2092540"/>
                <a:ext cx="648000" cy="648000"/>
              </a:xfrm>
              <a:custGeom>
                <a:avLst/>
                <a:gdLst>
                  <a:gd name="connsiteX0" fmla="*/ 400495 w 457200"/>
                  <a:gd name="connsiteY0" fmla="*/ 0 h 457200"/>
                  <a:gd name="connsiteX1" fmla="*/ 381000 w 457200"/>
                  <a:gd name="connsiteY1" fmla="*/ 0 h 457200"/>
                  <a:gd name="connsiteX2" fmla="*/ 381000 w 457200"/>
                  <a:gd name="connsiteY2" fmla="*/ 23749 h 457200"/>
                  <a:gd name="connsiteX3" fmla="*/ 368014 w 457200"/>
                  <a:gd name="connsiteY3" fmla="*/ 36735 h 457200"/>
                  <a:gd name="connsiteX4" fmla="*/ 355029 w 457200"/>
                  <a:gd name="connsiteY4" fmla="*/ 23749 h 457200"/>
                  <a:gd name="connsiteX5" fmla="*/ 355029 w 457200"/>
                  <a:gd name="connsiteY5" fmla="*/ 0 h 457200"/>
                  <a:gd name="connsiteX6" fmla="*/ 241681 w 457200"/>
                  <a:gd name="connsiteY6" fmla="*/ 0 h 457200"/>
                  <a:gd name="connsiteX7" fmla="*/ 241681 w 457200"/>
                  <a:gd name="connsiteY7" fmla="*/ 23749 h 457200"/>
                  <a:gd name="connsiteX8" fmla="*/ 228037 w 457200"/>
                  <a:gd name="connsiteY8" fmla="*/ 36108 h 457200"/>
                  <a:gd name="connsiteX9" fmla="*/ 215678 w 457200"/>
                  <a:gd name="connsiteY9" fmla="*/ 23749 h 457200"/>
                  <a:gd name="connsiteX10" fmla="*/ 215678 w 457200"/>
                  <a:gd name="connsiteY10" fmla="*/ 0 h 457200"/>
                  <a:gd name="connsiteX11" fmla="*/ 102362 w 457200"/>
                  <a:gd name="connsiteY11" fmla="*/ 0 h 457200"/>
                  <a:gd name="connsiteX12" fmla="*/ 102362 w 457200"/>
                  <a:gd name="connsiteY12" fmla="*/ 23749 h 457200"/>
                  <a:gd name="connsiteX13" fmla="*/ 89376 w 457200"/>
                  <a:gd name="connsiteY13" fmla="*/ 36735 h 457200"/>
                  <a:gd name="connsiteX14" fmla="*/ 76391 w 457200"/>
                  <a:gd name="connsiteY14" fmla="*/ 23749 h 457200"/>
                  <a:gd name="connsiteX15" fmla="*/ 76391 w 457200"/>
                  <a:gd name="connsiteY15" fmla="*/ 0 h 457200"/>
                  <a:gd name="connsiteX16" fmla="*/ 0 w 457200"/>
                  <a:gd name="connsiteY16" fmla="*/ 0 h 457200"/>
                  <a:gd name="connsiteX17" fmla="*/ 0 w 457200"/>
                  <a:gd name="connsiteY17" fmla="*/ 457200 h 457200"/>
                  <a:gd name="connsiteX18" fmla="*/ 457200 w 457200"/>
                  <a:gd name="connsiteY18" fmla="*/ 457200 h 457200"/>
                  <a:gd name="connsiteX19" fmla="*/ 457200 w 457200"/>
                  <a:gd name="connsiteY19" fmla="*/ 0 h 457200"/>
                  <a:gd name="connsiteX20" fmla="*/ 437674 w 457200"/>
                  <a:gd name="connsiteY20" fmla="*/ 437674 h 457200"/>
                  <a:gd name="connsiteX21" fmla="*/ 19526 w 457200"/>
                  <a:gd name="connsiteY21" fmla="*/ 437674 h 457200"/>
                  <a:gd name="connsiteX22" fmla="*/ 19526 w 457200"/>
                  <a:gd name="connsiteY22" fmla="*/ 19526 h 457200"/>
                  <a:gd name="connsiteX23" fmla="*/ 56864 w 457200"/>
                  <a:gd name="connsiteY23" fmla="*/ 19526 h 457200"/>
                  <a:gd name="connsiteX24" fmla="*/ 56864 w 457200"/>
                  <a:gd name="connsiteY24" fmla="*/ 23749 h 457200"/>
                  <a:gd name="connsiteX25" fmla="*/ 89376 w 457200"/>
                  <a:gd name="connsiteY25" fmla="*/ 56261 h 457200"/>
                  <a:gd name="connsiteX26" fmla="*/ 121888 w 457200"/>
                  <a:gd name="connsiteY26" fmla="*/ 23749 h 457200"/>
                  <a:gd name="connsiteX27" fmla="*/ 121888 w 457200"/>
                  <a:gd name="connsiteY27" fmla="*/ 19526 h 457200"/>
                  <a:gd name="connsiteX28" fmla="*/ 196152 w 457200"/>
                  <a:gd name="connsiteY28" fmla="*/ 19526 h 457200"/>
                  <a:gd name="connsiteX29" fmla="*/ 196152 w 457200"/>
                  <a:gd name="connsiteY29" fmla="*/ 23749 h 457200"/>
                  <a:gd name="connsiteX30" fmla="*/ 229696 w 457200"/>
                  <a:gd name="connsiteY30" fmla="*/ 55261 h 457200"/>
                  <a:gd name="connsiteX31" fmla="*/ 261207 w 457200"/>
                  <a:gd name="connsiteY31" fmla="*/ 23749 h 457200"/>
                  <a:gd name="connsiteX32" fmla="*/ 261207 w 457200"/>
                  <a:gd name="connsiteY32" fmla="*/ 19526 h 457200"/>
                  <a:gd name="connsiteX33" fmla="*/ 335471 w 457200"/>
                  <a:gd name="connsiteY33" fmla="*/ 19526 h 457200"/>
                  <a:gd name="connsiteX34" fmla="*/ 335471 w 457200"/>
                  <a:gd name="connsiteY34" fmla="*/ 23749 h 457200"/>
                  <a:gd name="connsiteX35" fmla="*/ 367983 w 457200"/>
                  <a:gd name="connsiteY35" fmla="*/ 56261 h 457200"/>
                  <a:gd name="connsiteX36" fmla="*/ 400495 w 457200"/>
                  <a:gd name="connsiteY36" fmla="*/ 23749 h 457200"/>
                  <a:gd name="connsiteX37" fmla="*/ 400495 w 457200"/>
                  <a:gd name="connsiteY37" fmla="*/ 19526 h 457200"/>
                  <a:gd name="connsiteX38" fmla="*/ 437674 w 457200"/>
                  <a:gd name="connsiteY38" fmla="*/ 19526 h 457200"/>
                  <a:gd name="connsiteX39" fmla="*/ 400495 w 457200"/>
                  <a:gd name="connsiteY39" fmla="*/ 197422 h 457200"/>
                  <a:gd name="connsiteX40" fmla="*/ 400495 w 457200"/>
                  <a:gd name="connsiteY40" fmla="*/ 177800 h 457200"/>
                  <a:gd name="connsiteX41" fmla="*/ 400495 w 457200"/>
                  <a:gd name="connsiteY41" fmla="*/ 177800 h 457200"/>
                  <a:gd name="connsiteX42" fmla="*/ 400495 w 457200"/>
                  <a:gd name="connsiteY42" fmla="*/ 97727 h 457200"/>
                  <a:gd name="connsiteX43" fmla="*/ 52229 w 457200"/>
                  <a:gd name="connsiteY43" fmla="*/ 97727 h 457200"/>
                  <a:gd name="connsiteX44" fmla="*/ 52229 w 457200"/>
                  <a:gd name="connsiteY44" fmla="*/ 367602 h 457200"/>
                  <a:gd name="connsiteX45" fmla="*/ 236379 w 457200"/>
                  <a:gd name="connsiteY45" fmla="*/ 367602 h 457200"/>
                  <a:gd name="connsiteX46" fmla="*/ 366957 w 457200"/>
                  <a:gd name="connsiteY46" fmla="*/ 393087 h 457200"/>
                  <a:gd name="connsiteX47" fmla="*/ 400622 w 457200"/>
                  <a:gd name="connsiteY47" fmla="*/ 277400 h 457200"/>
                  <a:gd name="connsiteX48" fmla="*/ 400622 w 457200"/>
                  <a:gd name="connsiteY48" fmla="*/ 267875 h 457200"/>
                  <a:gd name="connsiteX49" fmla="*/ 400622 w 457200"/>
                  <a:gd name="connsiteY49" fmla="*/ 267875 h 457200"/>
                  <a:gd name="connsiteX50" fmla="*/ 400622 w 457200"/>
                  <a:gd name="connsiteY50" fmla="*/ 197422 h 457200"/>
                  <a:gd name="connsiteX51" fmla="*/ 294164 w 457200"/>
                  <a:gd name="connsiteY51" fmla="*/ 117253 h 457200"/>
                  <a:gd name="connsiteX52" fmla="*/ 381000 w 457200"/>
                  <a:gd name="connsiteY52" fmla="*/ 117253 h 457200"/>
                  <a:gd name="connsiteX53" fmla="*/ 381000 w 457200"/>
                  <a:gd name="connsiteY53" fmla="*/ 177800 h 457200"/>
                  <a:gd name="connsiteX54" fmla="*/ 294164 w 457200"/>
                  <a:gd name="connsiteY54" fmla="*/ 177800 h 457200"/>
                  <a:gd name="connsiteX55" fmla="*/ 294164 w 457200"/>
                  <a:gd name="connsiteY55" fmla="*/ 197422 h 457200"/>
                  <a:gd name="connsiteX56" fmla="*/ 381000 w 457200"/>
                  <a:gd name="connsiteY56" fmla="*/ 197422 h 457200"/>
                  <a:gd name="connsiteX57" fmla="*/ 381000 w 457200"/>
                  <a:gd name="connsiteY57" fmla="*/ 248603 h 457200"/>
                  <a:gd name="connsiteX58" fmla="*/ 314325 w 457200"/>
                  <a:gd name="connsiteY58" fmla="*/ 220790 h 457200"/>
                  <a:gd name="connsiteX59" fmla="*/ 294259 w 457200"/>
                  <a:gd name="connsiteY59" fmla="*/ 222949 h 457200"/>
                  <a:gd name="connsiteX60" fmla="*/ 178086 w 457200"/>
                  <a:gd name="connsiteY60" fmla="*/ 117253 h 457200"/>
                  <a:gd name="connsiteX61" fmla="*/ 274638 w 457200"/>
                  <a:gd name="connsiteY61" fmla="*/ 117253 h 457200"/>
                  <a:gd name="connsiteX62" fmla="*/ 274638 w 457200"/>
                  <a:gd name="connsiteY62" fmla="*/ 177800 h 457200"/>
                  <a:gd name="connsiteX63" fmla="*/ 178086 w 457200"/>
                  <a:gd name="connsiteY63" fmla="*/ 177800 h 457200"/>
                  <a:gd name="connsiteX64" fmla="*/ 158560 w 457200"/>
                  <a:gd name="connsiteY64" fmla="*/ 348044 h 457200"/>
                  <a:gd name="connsiteX65" fmla="*/ 71755 w 457200"/>
                  <a:gd name="connsiteY65" fmla="*/ 348044 h 457200"/>
                  <a:gd name="connsiteX66" fmla="*/ 71755 w 457200"/>
                  <a:gd name="connsiteY66" fmla="*/ 287401 h 457200"/>
                  <a:gd name="connsiteX67" fmla="*/ 158560 w 457200"/>
                  <a:gd name="connsiteY67" fmla="*/ 287401 h 457200"/>
                  <a:gd name="connsiteX68" fmla="*/ 158560 w 457200"/>
                  <a:gd name="connsiteY68" fmla="*/ 267875 h 457200"/>
                  <a:gd name="connsiteX69" fmla="*/ 71755 w 457200"/>
                  <a:gd name="connsiteY69" fmla="*/ 267875 h 457200"/>
                  <a:gd name="connsiteX70" fmla="*/ 71755 w 457200"/>
                  <a:gd name="connsiteY70" fmla="*/ 197422 h 457200"/>
                  <a:gd name="connsiteX71" fmla="*/ 158560 w 457200"/>
                  <a:gd name="connsiteY71" fmla="*/ 197422 h 457200"/>
                  <a:gd name="connsiteX72" fmla="*/ 158560 w 457200"/>
                  <a:gd name="connsiteY72" fmla="*/ 177895 h 457200"/>
                  <a:gd name="connsiteX73" fmla="*/ 71755 w 457200"/>
                  <a:gd name="connsiteY73" fmla="*/ 177895 h 457200"/>
                  <a:gd name="connsiteX74" fmla="*/ 71755 w 457200"/>
                  <a:gd name="connsiteY74" fmla="*/ 117253 h 457200"/>
                  <a:gd name="connsiteX75" fmla="*/ 158560 w 457200"/>
                  <a:gd name="connsiteY75" fmla="*/ 117253 h 457200"/>
                  <a:gd name="connsiteX76" fmla="*/ 178086 w 457200"/>
                  <a:gd name="connsiteY76" fmla="*/ 348044 h 457200"/>
                  <a:gd name="connsiteX77" fmla="*/ 178086 w 457200"/>
                  <a:gd name="connsiteY77" fmla="*/ 287401 h 457200"/>
                  <a:gd name="connsiteX78" fmla="*/ 224219 w 457200"/>
                  <a:gd name="connsiteY78" fmla="*/ 287401 h 457200"/>
                  <a:gd name="connsiteX79" fmla="*/ 226155 w 457200"/>
                  <a:gd name="connsiteY79" fmla="*/ 348044 h 457200"/>
                  <a:gd name="connsiteX80" fmla="*/ 232728 w 457200"/>
                  <a:gd name="connsiteY80" fmla="*/ 267875 h 457200"/>
                  <a:gd name="connsiteX81" fmla="*/ 178086 w 457200"/>
                  <a:gd name="connsiteY81" fmla="*/ 267875 h 457200"/>
                  <a:gd name="connsiteX82" fmla="*/ 178086 w 457200"/>
                  <a:gd name="connsiteY82" fmla="*/ 197422 h 457200"/>
                  <a:gd name="connsiteX83" fmla="*/ 274638 w 457200"/>
                  <a:gd name="connsiteY83" fmla="*/ 197422 h 457200"/>
                  <a:gd name="connsiteX84" fmla="*/ 274638 w 457200"/>
                  <a:gd name="connsiteY84" fmla="*/ 229521 h 457200"/>
                  <a:gd name="connsiteX85" fmla="*/ 232728 w 457200"/>
                  <a:gd name="connsiteY85" fmla="*/ 267875 h 457200"/>
                  <a:gd name="connsiteX86" fmla="*/ 381000 w 457200"/>
                  <a:gd name="connsiteY86" fmla="*/ 348044 h 457200"/>
                  <a:gd name="connsiteX87" fmla="*/ 381000 w 457200"/>
                  <a:gd name="connsiteY87" fmla="*/ 348044 h 457200"/>
                  <a:gd name="connsiteX88" fmla="*/ 366967 w 457200"/>
                  <a:gd name="connsiteY88" fmla="*/ 367570 h 457200"/>
                  <a:gd name="connsiteX89" fmla="*/ 261359 w 457200"/>
                  <a:gd name="connsiteY89" fmla="*/ 367624 h 457200"/>
                  <a:gd name="connsiteX90" fmla="*/ 261303 w 457200"/>
                  <a:gd name="connsiteY90" fmla="*/ 262018 h 457200"/>
                  <a:gd name="connsiteX91" fmla="*/ 366913 w 457200"/>
                  <a:gd name="connsiteY91" fmla="*/ 261962 h 457200"/>
                  <a:gd name="connsiteX92" fmla="*/ 381000 w 457200"/>
                  <a:gd name="connsiteY92" fmla="*/ 348044 h 457200"/>
                  <a:gd name="connsiteX93" fmla="*/ 267462 w 457200"/>
                  <a:gd name="connsiteY93" fmla="*/ 284544 h 457200"/>
                  <a:gd name="connsiteX94" fmla="*/ 271082 w 457200"/>
                  <a:gd name="connsiteY94" fmla="*/ 277178 h 457200"/>
                  <a:gd name="connsiteX95" fmla="*/ 277273 w 457200"/>
                  <a:gd name="connsiteY95" fmla="*/ 272225 h 457200"/>
                  <a:gd name="connsiteX96" fmla="*/ 286163 w 457200"/>
                  <a:gd name="connsiteY96" fmla="*/ 270415 h 457200"/>
                  <a:gd name="connsiteX97" fmla="*/ 295275 w 457200"/>
                  <a:gd name="connsiteY97" fmla="*/ 272288 h 457200"/>
                  <a:gd name="connsiteX98" fmla="*/ 301181 w 457200"/>
                  <a:gd name="connsiteY98" fmla="*/ 277368 h 457200"/>
                  <a:gd name="connsiteX99" fmla="*/ 304356 w 457200"/>
                  <a:gd name="connsiteY99" fmla="*/ 284893 h 457200"/>
                  <a:gd name="connsiteX100" fmla="*/ 305276 w 457200"/>
                  <a:gd name="connsiteY100" fmla="*/ 294005 h 457200"/>
                  <a:gd name="connsiteX101" fmla="*/ 304133 w 457200"/>
                  <a:gd name="connsiteY101" fmla="*/ 302832 h 457200"/>
                  <a:gd name="connsiteX102" fmla="*/ 300546 w 457200"/>
                  <a:gd name="connsiteY102" fmla="*/ 309785 h 457200"/>
                  <a:gd name="connsiteX103" fmla="*/ 294418 w 457200"/>
                  <a:gd name="connsiteY103" fmla="*/ 314325 h 457200"/>
                  <a:gd name="connsiteX104" fmla="*/ 285560 w 457200"/>
                  <a:gd name="connsiteY104" fmla="*/ 315976 h 457200"/>
                  <a:gd name="connsiteX105" fmla="*/ 276479 w 457200"/>
                  <a:gd name="connsiteY105" fmla="*/ 314325 h 457200"/>
                  <a:gd name="connsiteX106" fmla="*/ 270542 w 457200"/>
                  <a:gd name="connsiteY106" fmla="*/ 309626 h 457200"/>
                  <a:gd name="connsiteX107" fmla="*/ 267367 w 457200"/>
                  <a:gd name="connsiteY107" fmla="*/ 302514 h 457200"/>
                  <a:gd name="connsiteX108" fmla="*/ 266351 w 457200"/>
                  <a:gd name="connsiteY108" fmla="*/ 293561 h 457200"/>
                  <a:gd name="connsiteX109" fmla="*/ 267430 w 457200"/>
                  <a:gd name="connsiteY109" fmla="*/ 284448 h 457200"/>
                  <a:gd name="connsiteX110" fmla="*/ 278321 w 457200"/>
                  <a:gd name="connsiteY110" fmla="*/ 297974 h 457200"/>
                  <a:gd name="connsiteX111" fmla="*/ 279146 w 457200"/>
                  <a:gd name="connsiteY111" fmla="*/ 302355 h 457200"/>
                  <a:gd name="connsiteX112" fmla="*/ 281369 w 457200"/>
                  <a:gd name="connsiteY112" fmla="*/ 305816 h 457200"/>
                  <a:gd name="connsiteX113" fmla="*/ 285687 w 457200"/>
                  <a:gd name="connsiteY113" fmla="*/ 307213 h 457200"/>
                  <a:gd name="connsiteX114" fmla="*/ 289973 w 457200"/>
                  <a:gd name="connsiteY114" fmla="*/ 305816 h 457200"/>
                  <a:gd name="connsiteX115" fmla="*/ 292291 w 457200"/>
                  <a:gd name="connsiteY115" fmla="*/ 302355 h 457200"/>
                  <a:gd name="connsiteX116" fmla="*/ 293243 w 457200"/>
                  <a:gd name="connsiteY116" fmla="*/ 298037 h 457200"/>
                  <a:gd name="connsiteX117" fmla="*/ 293402 w 457200"/>
                  <a:gd name="connsiteY117" fmla="*/ 293878 h 457200"/>
                  <a:gd name="connsiteX118" fmla="*/ 293243 w 457200"/>
                  <a:gd name="connsiteY118" fmla="*/ 289624 h 457200"/>
                  <a:gd name="connsiteX119" fmla="*/ 292354 w 457200"/>
                  <a:gd name="connsiteY119" fmla="*/ 284766 h 457200"/>
                  <a:gd name="connsiteX120" fmla="*/ 290195 w 457200"/>
                  <a:gd name="connsiteY120" fmla="*/ 280797 h 457200"/>
                  <a:gd name="connsiteX121" fmla="*/ 286163 w 457200"/>
                  <a:gd name="connsiteY121" fmla="*/ 279178 h 457200"/>
                  <a:gd name="connsiteX122" fmla="*/ 281781 w 457200"/>
                  <a:gd name="connsiteY122" fmla="*/ 280702 h 457200"/>
                  <a:gd name="connsiteX123" fmla="*/ 279400 w 457200"/>
                  <a:gd name="connsiteY123" fmla="*/ 284321 h 457200"/>
                  <a:gd name="connsiteX124" fmla="*/ 278416 w 457200"/>
                  <a:gd name="connsiteY124" fmla="*/ 289116 h 457200"/>
                  <a:gd name="connsiteX125" fmla="*/ 278416 w 457200"/>
                  <a:gd name="connsiteY125" fmla="*/ 293688 h 457200"/>
                  <a:gd name="connsiteX126" fmla="*/ 278289 w 457200"/>
                  <a:gd name="connsiteY126" fmla="*/ 297879 h 457200"/>
                  <a:gd name="connsiteX127" fmla="*/ 345504 w 457200"/>
                  <a:gd name="connsiteY127" fmla="*/ 269399 h 457200"/>
                  <a:gd name="connsiteX128" fmla="*/ 297339 w 457200"/>
                  <a:gd name="connsiteY128" fmla="*/ 356203 h 457200"/>
                  <a:gd name="connsiteX129" fmla="*/ 287179 w 457200"/>
                  <a:gd name="connsiteY129" fmla="*/ 356203 h 457200"/>
                  <a:gd name="connsiteX130" fmla="*/ 335566 w 457200"/>
                  <a:gd name="connsiteY130" fmla="*/ 269367 h 457200"/>
                  <a:gd name="connsiteX131" fmla="*/ 327755 w 457200"/>
                  <a:gd name="connsiteY131" fmla="*/ 323374 h 457200"/>
                  <a:gd name="connsiteX132" fmla="*/ 331375 w 457200"/>
                  <a:gd name="connsiteY132" fmla="*/ 316262 h 457200"/>
                  <a:gd name="connsiteX133" fmla="*/ 337725 w 457200"/>
                  <a:gd name="connsiteY133" fmla="*/ 311468 h 457200"/>
                  <a:gd name="connsiteX134" fmla="*/ 346615 w 457200"/>
                  <a:gd name="connsiteY134" fmla="*/ 309721 h 457200"/>
                  <a:gd name="connsiteX135" fmla="*/ 355727 w 457200"/>
                  <a:gd name="connsiteY135" fmla="*/ 311531 h 457200"/>
                  <a:gd name="connsiteX136" fmla="*/ 361633 w 457200"/>
                  <a:gd name="connsiteY136" fmla="*/ 316421 h 457200"/>
                  <a:gd name="connsiteX137" fmla="*/ 364808 w 457200"/>
                  <a:gd name="connsiteY137" fmla="*/ 323723 h 457200"/>
                  <a:gd name="connsiteX138" fmla="*/ 365728 w 457200"/>
                  <a:gd name="connsiteY138" fmla="*/ 332740 h 457200"/>
                  <a:gd name="connsiteX139" fmla="*/ 364585 w 457200"/>
                  <a:gd name="connsiteY139" fmla="*/ 341598 h 457200"/>
                  <a:gd name="connsiteX140" fmla="*/ 360998 w 457200"/>
                  <a:gd name="connsiteY140" fmla="*/ 348742 h 457200"/>
                  <a:gd name="connsiteX141" fmla="*/ 354870 w 457200"/>
                  <a:gd name="connsiteY141" fmla="*/ 353473 h 457200"/>
                  <a:gd name="connsiteX142" fmla="*/ 346012 w 457200"/>
                  <a:gd name="connsiteY142" fmla="*/ 355156 h 457200"/>
                  <a:gd name="connsiteX143" fmla="*/ 336931 w 457200"/>
                  <a:gd name="connsiteY143" fmla="*/ 353409 h 457200"/>
                  <a:gd name="connsiteX144" fmla="*/ 330994 w 457200"/>
                  <a:gd name="connsiteY144" fmla="*/ 348552 h 457200"/>
                  <a:gd name="connsiteX145" fmla="*/ 327819 w 457200"/>
                  <a:gd name="connsiteY145" fmla="*/ 341249 h 457200"/>
                  <a:gd name="connsiteX146" fmla="*/ 326803 w 457200"/>
                  <a:gd name="connsiteY146" fmla="*/ 332264 h 457200"/>
                  <a:gd name="connsiteX147" fmla="*/ 327724 w 457200"/>
                  <a:gd name="connsiteY147" fmla="*/ 323469 h 457200"/>
                  <a:gd name="connsiteX148" fmla="*/ 338614 w 457200"/>
                  <a:gd name="connsiteY148" fmla="*/ 336709 h 457200"/>
                  <a:gd name="connsiteX149" fmla="*/ 339439 w 457200"/>
                  <a:gd name="connsiteY149" fmla="*/ 341313 h 457200"/>
                  <a:gd name="connsiteX150" fmla="*/ 341662 w 457200"/>
                  <a:gd name="connsiteY150" fmla="*/ 344996 h 457200"/>
                  <a:gd name="connsiteX151" fmla="*/ 345980 w 457200"/>
                  <a:gd name="connsiteY151" fmla="*/ 346520 h 457200"/>
                  <a:gd name="connsiteX152" fmla="*/ 350266 w 457200"/>
                  <a:gd name="connsiteY152" fmla="*/ 344996 h 457200"/>
                  <a:gd name="connsiteX153" fmla="*/ 352584 w 457200"/>
                  <a:gd name="connsiteY153" fmla="*/ 341313 h 457200"/>
                  <a:gd name="connsiteX154" fmla="*/ 353536 w 457200"/>
                  <a:gd name="connsiteY154" fmla="*/ 336772 h 457200"/>
                  <a:gd name="connsiteX155" fmla="*/ 353536 w 457200"/>
                  <a:gd name="connsiteY155" fmla="*/ 332486 h 457200"/>
                  <a:gd name="connsiteX156" fmla="*/ 353536 w 457200"/>
                  <a:gd name="connsiteY156" fmla="*/ 328359 h 457200"/>
                  <a:gd name="connsiteX157" fmla="*/ 352647 w 457200"/>
                  <a:gd name="connsiteY157" fmla="*/ 323787 h 457200"/>
                  <a:gd name="connsiteX158" fmla="*/ 350488 w 457200"/>
                  <a:gd name="connsiteY158" fmla="*/ 320040 h 457200"/>
                  <a:gd name="connsiteX159" fmla="*/ 346456 w 457200"/>
                  <a:gd name="connsiteY159" fmla="*/ 318484 h 457200"/>
                  <a:gd name="connsiteX160" fmla="*/ 342075 w 457200"/>
                  <a:gd name="connsiteY160" fmla="*/ 319881 h 457200"/>
                  <a:gd name="connsiteX161" fmla="*/ 339662 w 457200"/>
                  <a:gd name="connsiteY161" fmla="*/ 323374 h 457200"/>
                  <a:gd name="connsiteX162" fmla="*/ 338677 w 457200"/>
                  <a:gd name="connsiteY162" fmla="*/ 327946 h 457200"/>
                  <a:gd name="connsiteX163" fmla="*/ 338677 w 457200"/>
                  <a:gd name="connsiteY163" fmla="*/ 332359 h 457200"/>
                  <a:gd name="connsiteX164" fmla="*/ 338582 w 457200"/>
                  <a:gd name="connsiteY164" fmla="*/ 33680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457200" h="457200">
                    <a:moveTo>
                      <a:pt x="400495" y="0"/>
                    </a:moveTo>
                    <a:lnTo>
                      <a:pt x="381000" y="0"/>
                    </a:lnTo>
                    <a:lnTo>
                      <a:pt x="381000" y="23749"/>
                    </a:lnTo>
                    <a:cubicBezTo>
                      <a:pt x="381000" y="30921"/>
                      <a:pt x="375187" y="36735"/>
                      <a:pt x="368014" y="36735"/>
                    </a:cubicBezTo>
                    <a:cubicBezTo>
                      <a:pt x="360842" y="36735"/>
                      <a:pt x="355029" y="30921"/>
                      <a:pt x="355029" y="23749"/>
                    </a:cubicBezTo>
                    <a:lnTo>
                      <a:pt x="355029" y="0"/>
                    </a:lnTo>
                    <a:lnTo>
                      <a:pt x="241681" y="0"/>
                    </a:lnTo>
                    <a:lnTo>
                      <a:pt x="241681" y="23749"/>
                    </a:lnTo>
                    <a:cubicBezTo>
                      <a:pt x="241326" y="30930"/>
                      <a:pt x="235217" y="36463"/>
                      <a:pt x="228037" y="36108"/>
                    </a:cubicBezTo>
                    <a:cubicBezTo>
                      <a:pt x="221353" y="35777"/>
                      <a:pt x="216008" y="30433"/>
                      <a:pt x="215678" y="23749"/>
                    </a:cubicBezTo>
                    <a:lnTo>
                      <a:pt x="215678" y="0"/>
                    </a:lnTo>
                    <a:lnTo>
                      <a:pt x="102362" y="0"/>
                    </a:lnTo>
                    <a:lnTo>
                      <a:pt x="102362" y="23749"/>
                    </a:lnTo>
                    <a:cubicBezTo>
                      <a:pt x="102362" y="30921"/>
                      <a:pt x="96548" y="36735"/>
                      <a:pt x="89376" y="36735"/>
                    </a:cubicBezTo>
                    <a:cubicBezTo>
                      <a:pt x="82205" y="36735"/>
                      <a:pt x="76391" y="30921"/>
                      <a:pt x="76391" y="23749"/>
                    </a:cubicBezTo>
                    <a:lnTo>
                      <a:pt x="76391" y="0"/>
                    </a:lnTo>
                    <a:lnTo>
                      <a:pt x="0" y="0"/>
                    </a:lnTo>
                    <a:lnTo>
                      <a:pt x="0" y="457200"/>
                    </a:lnTo>
                    <a:lnTo>
                      <a:pt x="457200" y="457200"/>
                    </a:lnTo>
                    <a:lnTo>
                      <a:pt x="457200" y="0"/>
                    </a:lnTo>
                    <a:close/>
                    <a:moveTo>
                      <a:pt x="437674" y="437674"/>
                    </a:moveTo>
                    <a:lnTo>
                      <a:pt x="19526" y="437674"/>
                    </a:lnTo>
                    <a:lnTo>
                      <a:pt x="19526" y="19526"/>
                    </a:lnTo>
                    <a:lnTo>
                      <a:pt x="56864" y="19526"/>
                    </a:lnTo>
                    <a:lnTo>
                      <a:pt x="56864" y="23749"/>
                    </a:lnTo>
                    <a:cubicBezTo>
                      <a:pt x="56864" y="41705"/>
                      <a:pt x="71420" y="56261"/>
                      <a:pt x="89376" y="56261"/>
                    </a:cubicBezTo>
                    <a:cubicBezTo>
                      <a:pt x="107332" y="56261"/>
                      <a:pt x="121888" y="41705"/>
                      <a:pt x="121888" y="23749"/>
                    </a:cubicBezTo>
                    <a:lnTo>
                      <a:pt x="121888" y="19526"/>
                    </a:lnTo>
                    <a:lnTo>
                      <a:pt x="196152" y="19526"/>
                    </a:lnTo>
                    <a:lnTo>
                      <a:pt x="196152" y="23749"/>
                    </a:lnTo>
                    <a:cubicBezTo>
                      <a:pt x="196713" y="41714"/>
                      <a:pt x="211731" y="55822"/>
                      <a:pt x="229696" y="55261"/>
                    </a:cubicBezTo>
                    <a:cubicBezTo>
                      <a:pt x="246872" y="54724"/>
                      <a:pt x="260671" y="40925"/>
                      <a:pt x="261207" y="23749"/>
                    </a:cubicBezTo>
                    <a:lnTo>
                      <a:pt x="261207" y="19526"/>
                    </a:lnTo>
                    <a:lnTo>
                      <a:pt x="335471" y="19526"/>
                    </a:lnTo>
                    <a:lnTo>
                      <a:pt x="335471" y="23749"/>
                    </a:lnTo>
                    <a:cubicBezTo>
                      <a:pt x="335471" y="41705"/>
                      <a:pt x="350028" y="56261"/>
                      <a:pt x="367983" y="56261"/>
                    </a:cubicBezTo>
                    <a:cubicBezTo>
                      <a:pt x="385937" y="56261"/>
                      <a:pt x="400495" y="41705"/>
                      <a:pt x="400495" y="23749"/>
                    </a:cubicBezTo>
                    <a:lnTo>
                      <a:pt x="400495" y="19526"/>
                    </a:lnTo>
                    <a:lnTo>
                      <a:pt x="437674" y="19526"/>
                    </a:lnTo>
                    <a:close/>
                    <a:moveTo>
                      <a:pt x="400495" y="197422"/>
                    </a:moveTo>
                    <a:lnTo>
                      <a:pt x="400495" y="177800"/>
                    </a:lnTo>
                    <a:lnTo>
                      <a:pt x="400495" y="177800"/>
                    </a:lnTo>
                    <a:lnTo>
                      <a:pt x="400495" y="97727"/>
                    </a:lnTo>
                    <a:lnTo>
                      <a:pt x="52229" y="97727"/>
                    </a:lnTo>
                    <a:lnTo>
                      <a:pt x="52229" y="367602"/>
                    </a:lnTo>
                    <a:lnTo>
                      <a:pt x="236379" y="367602"/>
                    </a:lnTo>
                    <a:cubicBezTo>
                      <a:pt x="265399" y="410699"/>
                      <a:pt x="323860" y="422110"/>
                      <a:pt x="366957" y="393087"/>
                    </a:cubicBezTo>
                    <a:cubicBezTo>
                      <a:pt x="404641" y="367713"/>
                      <a:pt x="418808" y="319034"/>
                      <a:pt x="400622" y="277400"/>
                    </a:cubicBezTo>
                    <a:lnTo>
                      <a:pt x="400622" y="267875"/>
                    </a:lnTo>
                    <a:lnTo>
                      <a:pt x="400622" y="267875"/>
                    </a:lnTo>
                    <a:lnTo>
                      <a:pt x="400622" y="197422"/>
                    </a:lnTo>
                    <a:close/>
                    <a:moveTo>
                      <a:pt x="294164" y="117253"/>
                    </a:moveTo>
                    <a:lnTo>
                      <a:pt x="381000" y="117253"/>
                    </a:lnTo>
                    <a:lnTo>
                      <a:pt x="381000" y="177800"/>
                    </a:lnTo>
                    <a:lnTo>
                      <a:pt x="294164" y="177800"/>
                    </a:lnTo>
                    <a:close/>
                    <a:moveTo>
                      <a:pt x="294164" y="197422"/>
                    </a:moveTo>
                    <a:lnTo>
                      <a:pt x="381000" y="197422"/>
                    </a:lnTo>
                    <a:lnTo>
                      <a:pt x="381000" y="248603"/>
                    </a:lnTo>
                    <a:cubicBezTo>
                      <a:pt x="363385" y="230795"/>
                      <a:pt x="339373" y="220778"/>
                      <a:pt x="314325" y="220790"/>
                    </a:cubicBezTo>
                    <a:cubicBezTo>
                      <a:pt x="307579" y="220795"/>
                      <a:pt x="300852" y="221518"/>
                      <a:pt x="294259" y="222949"/>
                    </a:cubicBezTo>
                    <a:close/>
                    <a:moveTo>
                      <a:pt x="178086" y="117253"/>
                    </a:moveTo>
                    <a:lnTo>
                      <a:pt x="274638" y="117253"/>
                    </a:lnTo>
                    <a:lnTo>
                      <a:pt x="274638" y="177800"/>
                    </a:lnTo>
                    <a:lnTo>
                      <a:pt x="178086" y="177800"/>
                    </a:lnTo>
                    <a:close/>
                    <a:moveTo>
                      <a:pt x="158560" y="348044"/>
                    </a:moveTo>
                    <a:lnTo>
                      <a:pt x="71755" y="348044"/>
                    </a:lnTo>
                    <a:lnTo>
                      <a:pt x="71755" y="287401"/>
                    </a:lnTo>
                    <a:lnTo>
                      <a:pt x="158560" y="287401"/>
                    </a:lnTo>
                    <a:close/>
                    <a:moveTo>
                      <a:pt x="158560" y="267875"/>
                    </a:moveTo>
                    <a:lnTo>
                      <a:pt x="71755" y="267875"/>
                    </a:lnTo>
                    <a:lnTo>
                      <a:pt x="71755" y="197422"/>
                    </a:lnTo>
                    <a:lnTo>
                      <a:pt x="158560" y="197422"/>
                    </a:lnTo>
                    <a:close/>
                    <a:moveTo>
                      <a:pt x="158560" y="177895"/>
                    </a:moveTo>
                    <a:lnTo>
                      <a:pt x="71755" y="177895"/>
                    </a:lnTo>
                    <a:lnTo>
                      <a:pt x="71755" y="117253"/>
                    </a:lnTo>
                    <a:lnTo>
                      <a:pt x="158560" y="117253"/>
                    </a:lnTo>
                    <a:close/>
                    <a:moveTo>
                      <a:pt x="178086" y="348044"/>
                    </a:moveTo>
                    <a:lnTo>
                      <a:pt x="178086" y="287401"/>
                    </a:lnTo>
                    <a:lnTo>
                      <a:pt x="224219" y="287401"/>
                    </a:lnTo>
                    <a:cubicBezTo>
                      <a:pt x="218159" y="307276"/>
                      <a:pt x="218839" y="328597"/>
                      <a:pt x="226155" y="348044"/>
                    </a:cubicBezTo>
                    <a:close/>
                    <a:moveTo>
                      <a:pt x="232728" y="267875"/>
                    </a:moveTo>
                    <a:lnTo>
                      <a:pt x="178086" y="267875"/>
                    </a:lnTo>
                    <a:lnTo>
                      <a:pt x="178086" y="197422"/>
                    </a:lnTo>
                    <a:lnTo>
                      <a:pt x="274638" y="197422"/>
                    </a:lnTo>
                    <a:lnTo>
                      <a:pt x="274638" y="229521"/>
                    </a:lnTo>
                    <a:cubicBezTo>
                      <a:pt x="257069" y="237710"/>
                      <a:pt x="242439" y="251099"/>
                      <a:pt x="232728" y="267875"/>
                    </a:cubicBezTo>
                    <a:close/>
                    <a:moveTo>
                      <a:pt x="381000" y="348044"/>
                    </a:moveTo>
                    <a:lnTo>
                      <a:pt x="381000" y="348044"/>
                    </a:lnTo>
                    <a:cubicBezTo>
                      <a:pt x="377400" y="355263"/>
                      <a:pt x="372659" y="361855"/>
                      <a:pt x="366967" y="367570"/>
                    </a:cubicBezTo>
                    <a:cubicBezTo>
                      <a:pt x="337820" y="396748"/>
                      <a:pt x="290537" y="396773"/>
                      <a:pt x="261359" y="367624"/>
                    </a:cubicBezTo>
                    <a:cubicBezTo>
                      <a:pt x="232180" y="338477"/>
                      <a:pt x="232156" y="291196"/>
                      <a:pt x="261303" y="262018"/>
                    </a:cubicBezTo>
                    <a:cubicBezTo>
                      <a:pt x="290451" y="232839"/>
                      <a:pt x="337734" y="232815"/>
                      <a:pt x="366913" y="261962"/>
                    </a:cubicBezTo>
                    <a:cubicBezTo>
                      <a:pt x="389620" y="284646"/>
                      <a:pt x="395291" y="319303"/>
                      <a:pt x="381000" y="348044"/>
                    </a:cubicBezTo>
                    <a:close/>
                    <a:moveTo>
                      <a:pt x="267462" y="284544"/>
                    </a:moveTo>
                    <a:cubicBezTo>
                      <a:pt x="268187" y="281879"/>
                      <a:pt x="269415" y="279379"/>
                      <a:pt x="271082" y="277178"/>
                    </a:cubicBezTo>
                    <a:cubicBezTo>
                      <a:pt x="272740" y="275076"/>
                      <a:pt x="274859" y="273382"/>
                      <a:pt x="277273" y="272225"/>
                    </a:cubicBezTo>
                    <a:cubicBezTo>
                      <a:pt x="280061" y="270958"/>
                      <a:pt x="283101" y="270339"/>
                      <a:pt x="286163" y="270415"/>
                    </a:cubicBezTo>
                    <a:cubicBezTo>
                      <a:pt x="289307" y="270295"/>
                      <a:pt x="292433" y="270937"/>
                      <a:pt x="295275" y="272288"/>
                    </a:cubicBezTo>
                    <a:cubicBezTo>
                      <a:pt x="297631" y="273471"/>
                      <a:pt x="299658" y="275216"/>
                      <a:pt x="301181" y="277368"/>
                    </a:cubicBezTo>
                    <a:cubicBezTo>
                      <a:pt x="302741" y="279633"/>
                      <a:pt x="303821" y="282194"/>
                      <a:pt x="304356" y="284893"/>
                    </a:cubicBezTo>
                    <a:cubicBezTo>
                      <a:pt x="304992" y="287888"/>
                      <a:pt x="305301" y="290943"/>
                      <a:pt x="305276" y="294005"/>
                    </a:cubicBezTo>
                    <a:cubicBezTo>
                      <a:pt x="305305" y="296986"/>
                      <a:pt x="304920" y="299956"/>
                      <a:pt x="304133" y="302832"/>
                    </a:cubicBezTo>
                    <a:cubicBezTo>
                      <a:pt x="303431" y="305372"/>
                      <a:pt x="302210" y="307740"/>
                      <a:pt x="300546" y="309785"/>
                    </a:cubicBezTo>
                    <a:cubicBezTo>
                      <a:pt x="298902" y="311774"/>
                      <a:pt x="296799" y="313332"/>
                      <a:pt x="294418" y="314325"/>
                    </a:cubicBezTo>
                    <a:cubicBezTo>
                      <a:pt x="291614" y="315492"/>
                      <a:pt x="288595" y="316054"/>
                      <a:pt x="285560" y="315976"/>
                    </a:cubicBezTo>
                    <a:cubicBezTo>
                      <a:pt x="282451" y="316067"/>
                      <a:pt x="279357" y="315505"/>
                      <a:pt x="276479" y="314325"/>
                    </a:cubicBezTo>
                    <a:cubicBezTo>
                      <a:pt x="274144" y="313270"/>
                      <a:pt x="272105" y="311656"/>
                      <a:pt x="270542" y="309626"/>
                    </a:cubicBezTo>
                    <a:cubicBezTo>
                      <a:pt x="268981" y="307513"/>
                      <a:pt x="267897" y="305087"/>
                      <a:pt x="267367" y="302514"/>
                    </a:cubicBezTo>
                    <a:cubicBezTo>
                      <a:pt x="266675" y="299580"/>
                      <a:pt x="266334" y="296575"/>
                      <a:pt x="266351" y="293561"/>
                    </a:cubicBezTo>
                    <a:cubicBezTo>
                      <a:pt x="266299" y="290488"/>
                      <a:pt x="266662" y="287423"/>
                      <a:pt x="267430" y="284448"/>
                    </a:cubicBezTo>
                    <a:close/>
                    <a:moveTo>
                      <a:pt x="278321" y="297974"/>
                    </a:moveTo>
                    <a:cubicBezTo>
                      <a:pt x="278393" y="299465"/>
                      <a:pt x="278671" y="300940"/>
                      <a:pt x="279146" y="302355"/>
                    </a:cubicBezTo>
                    <a:cubicBezTo>
                      <a:pt x="279591" y="303674"/>
                      <a:pt x="280354" y="304863"/>
                      <a:pt x="281369" y="305816"/>
                    </a:cubicBezTo>
                    <a:cubicBezTo>
                      <a:pt x="282587" y="306798"/>
                      <a:pt x="284124" y="307295"/>
                      <a:pt x="285687" y="307213"/>
                    </a:cubicBezTo>
                    <a:cubicBezTo>
                      <a:pt x="287238" y="307287"/>
                      <a:pt x="288763" y="306790"/>
                      <a:pt x="289973" y="305816"/>
                    </a:cubicBezTo>
                    <a:cubicBezTo>
                      <a:pt x="291015" y="304868"/>
                      <a:pt x="291811" y="303680"/>
                      <a:pt x="292291" y="302355"/>
                    </a:cubicBezTo>
                    <a:cubicBezTo>
                      <a:pt x="292805" y="300967"/>
                      <a:pt x="293125" y="299514"/>
                      <a:pt x="293243" y="298037"/>
                    </a:cubicBezTo>
                    <a:cubicBezTo>
                      <a:pt x="293243" y="296513"/>
                      <a:pt x="293402" y="295148"/>
                      <a:pt x="293402" y="293878"/>
                    </a:cubicBezTo>
                    <a:cubicBezTo>
                      <a:pt x="293402" y="292608"/>
                      <a:pt x="293402" y="291306"/>
                      <a:pt x="293243" y="289624"/>
                    </a:cubicBezTo>
                    <a:cubicBezTo>
                      <a:pt x="293128" y="287976"/>
                      <a:pt x="292830" y="286347"/>
                      <a:pt x="292354" y="284766"/>
                    </a:cubicBezTo>
                    <a:cubicBezTo>
                      <a:pt x="291932" y="283301"/>
                      <a:pt x="291195" y="281947"/>
                      <a:pt x="290195" y="280797"/>
                    </a:cubicBezTo>
                    <a:cubicBezTo>
                      <a:pt x="289154" y="279692"/>
                      <a:pt x="287679" y="279100"/>
                      <a:pt x="286163" y="279178"/>
                    </a:cubicBezTo>
                    <a:cubicBezTo>
                      <a:pt x="284557" y="279082"/>
                      <a:pt x="282980" y="279630"/>
                      <a:pt x="281781" y="280702"/>
                    </a:cubicBezTo>
                    <a:cubicBezTo>
                      <a:pt x="280734" y="281720"/>
                      <a:pt x="279921" y="282956"/>
                      <a:pt x="279400" y="284321"/>
                    </a:cubicBezTo>
                    <a:cubicBezTo>
                      <a:pt x="278853" y="285867"/>
                      <a:pt x="278522" y="287480"/>
                      <a:pt x="278416" y="289116"/>
                    </a:cubicBezTo>
                    <a:cubicBezTo>
                      <a:pt x="278416" y="290830"/>
                      <a:pt x="278416" y="292291"/>
                      <a:pt x="278416" y="293688"/>
                    </a:cubicBezTo>
                    <a:cubicBezTo>
                      <a:pt x="278416" y="295085"/>
                      <a:pt x="278225" y="296323"/>
                      <a:pt x="278289" y="297879"/>
                    </a:cubicBezTo>
                    <a:close/>
                    <a:moveTo>
                      <a:pt x="345504" y="269399"/>
                    </a:moveTo>
                    <a:lnTo>
                      <a:pt x="297339" y="356203"/>
                    </a:lnTo>
                    <a:lnTo>
                      <a:pt x="287179" y="356203"/>
                    </a:lnTo>
                    <a:lnTo>
                      <a:pt x="335566" y="269367"/>
                    </a:lnTo>
                    <a:close/>
                    <a:moveTo>
                      <a:pt x="327755" y="323374"/>
                    </a:moveTo>
                    <a:cubicBezTo>
                      <a:pt x="328473" y="320786"/>
                      <a:pt x="329705" y="318367"/>
                      <a:pt x="331375" y="316262"/>
                    </a:cubicBezTo>
                    <a:cubicBezTo>
                      <a:pt x="333096" y="314197"/>
                      <a:pt x="335267" y="312557"/>
                      <a:pt x="337725" y="311468"/>
                    </a:cubicBezTo>
                    <a:cubicBezTo>
                      <a:pt x="340522" y="310238"/>
                      <a:pt x="343560" y="309642"/>
                      <a:pt x="346615" y="309721"/>
                    </a:cubicBezTo>
                    <a:cubicBezTo>
                      <a:pt x="349752" y="309614"/>
                      <a:pt x="352870" y="310233"/>
                      <a:pt x="355727" y="311531"/>
                    </a:cubicBezTo>
                    <a:cubicBezTo>
                      <a:pt x="358057" y="312664"/>
                      <a:pt x="360083" y="314342"/>
                      <a:pt x="361633" y="316421"/>
                    </a:cubicBezTo>
                    <a:cubicBezTo>
                      <a:pt x="363185" y="318608"/>
                      <a:pt x="364268" y="321094"/>
                      <a:pt x="364808" y="323723"/>
                    </a:cubicBezTo>
                    <a:cubicBezTo>
                      <a:pt x="365446" y="326685"/>
                      <a:pt x="365757" y="329711"/>
                      <a:pt x="365728" y="332740"/>
                    </a:cubicBezTo>
                    <a:cubicBezTo>
                      <a:pt x="365754" y="335731"/>
                      <a:pt x="365366" y="338712"/>
                      <a:pt x="364585" y="341598"/>
                    </a:cubicBezTo>
                    <a:cubicBezTo>
                      <a:pt x="363871" y="344192"/>
                      <a:pt x="362652" y="346621"/>
                      <a:pt x="360998" y="348742"/>
                    </a:cubicBezTo>
                    <a:cubicBezTo>
                      <a:pt x="359375" y="350799"/>
                      <a:pt x="357270" y="352425"/>
                      <a:pt x="354870" y="353473"/>
                    </a:cubicBezTo>
                    <a:cubicBezTo>
                      <a:pt x="352069" y="354651"/>
                      <a:pt x="349050" y="355222"/>
                      <a:pt x="346012" y="355156"/>
                    </a:cubicBezTo>
                    <a:cubicBezTo>
                      <a:pt x="342894" y="355254"/>
                      <a:pt x="339792" y="354657"/>
                      <a:pt x="336931" y="353409"/>
                    </a:cubicBezTo>
                    <a:cubicBezTo>
                      <a:pt x="334575" y="352317"/>
                      <a:pt x="332534" y="350644"/>
                      <a:pt x="330994" y="348552"/>
                    </a:cubicBezTo>
                    <a:cubicBezTo>
                      <a:pt x="329432" y="346367"/>
                      <a:pt x="328352" y="343881"/>
                      <a:pt x="327819" y="341249"/>
                    </a:cubicBezTo>
                    <a:cubicBezTo>
                      <a:pt x="327130" y="338303"/>
                      <a:pt x="326790" y="335290"/>
                      <a:pt x="326803" y="332264"/>
                    </a:cubicBezTo>
                    <a:cubicBezTo>
                      <a:pt x="326714" y="329305"/>
                      <a:pt x="327022" y="326346"/>
                      <a:pt x="327724" y="323469"/>
                    </a:cubicBezTo>
                    <a:close/>
                    <a:moveTo>
                      <a:pt x="338614" y="336709"/>
                    </a:moveTo>
                    <a:cubicBezTo>
                      <a:pt x="338687" y="338274"/>
                      <a:pt x="338963" y="339820"/>
                      <a:pt x="339439" y="341313"/>
                    </a:cubicBezTo>
                    <a:cubicBezTo>
                      <a:pt x="339881" y="342697"/>
                      <a:pt x="340643" y="343960"/>
                      <a:pt x="341662" y="344996"/>
                    </a:cubicBezTo>
                    <a:cubicBezTo>
                      <a:pt x="342833" y="346072"/>
                      <a:pt x="344392" y="346624"/>
                      <a:pt x="345980" y="346520"/>
                    </a:cubicBezTo>
                    <a:cubicBezTo>
                      <a:pt x="347555" y="346602"/>
                      <a:pt x="349098" y="346053"/>
                      <a:pt x="350266" y="344996"/>
                    </a:cubicBezTo>
                    <a:cubicBezTo>
                      <a:pt x="351314" y="343964"/>
                      <a:pt x="352104" y="342703"/>
                      <a:pt x="352584" y="341313"/>
                    </a:cubicBezTo>
                    <a:cubicBezTo>
                      <a:pt x="353098" y="339846"/>
                      <a:pt x="353419" y="338322"/>
                      <a:pt x="353536" y="336772"/>
                    </a:cubicBezTo>
                    <a:cubicBezTo>
                      <a:pt x="353536" y="335153"/>
                      <a:pt x="353536" y="333597"/>
                      <a:pt x="353536" y="332486"/>
                    </a:cubicBezTo>
                    <a:cubicBezTo>
                      <a:pt x="353536" y="331375"/>
                      <a:pt x="353536" y="329946"/>
                      <a:pt x="353536" y="328359"/>
                    </a:cubicBezTo>
                    <a:cubicBezTo>
                      <a:pt x="353428" y="326803"/>
                      <a:pt x="353130" y="325269"/>
                      <a:pt x="352647" y="323787"/>
                    </a:cubicBezTo>
                    <a:cubicBezTo>
                      <a:pt x="352209" y="322396"/>
                      <a:pt x="351473" y="321116"/>
                      <a:pt x="350488" y="320040"/>
                    </a:cubicBezTo>
                    <a:cubicBezTo>
                      <a:pt x="349431" y="318967"/>
                      <a:pt x="347961" y="318399"/>
                      <a:pt x="346456" y="318484"/>
                    </a:cubicBezTo>
                    <a:cubicBezTo>
                      <a:pt x="344872" y="318386"/>
                      <a:pt x="343310" y="318884"/>
                      <a:pt x="342075" y="319881"/>
                    </a:cubicBezTo>
                    <a:cubicBezTo>
                      <a:pt x="341008" y="320840"/>
                      <a:pt x="340182" y="322037"/>
                      <a:pt x="339662" y="323374"/>
                    </a:cubicBezTo>
                    <a:cubicBezTo>
                      <a:pt x="339109" y="324841"/>
                      <a:pt x="338779" y="326380"/>
                      <a:pt x="338677" y="327946"/>
                    </a:cubicBezTo>
                    <a:cubicBezTo>
                      <a:pt x="338677" y="329565"/>
                      <a:pt x="338677" y="331121"/>
                      <a:pt x="338677" y="332359"/>
                    </a:cubicBezTo>
                    <a:cubicBezTo>
                      <a:pt x="338677" y="333597"/>
                      <a:pt x="338519" y="335153"/>
                      <a:pt x="338582" y="336804"/>
                    </a:cubicBezTo>
                    <a:close/>
                  </a:path>
                </a:pathLst>
              </a:custGeom>
              <a:solidFill>
                <a:schemeClr val="bg1"/>
              </a:solidFill>
              <a:ln w="3175" cap="flat">
                <a:noFill/>
                <a:prstDash val="solid"/>
                <a:miter/>
              </a:ln>
            </p:spPr>
            <p:txBody>
              <a:bodyPr rtlCol="0" anchor="ctr"/>
              <a:lstStyle/>
              <a:p>
                <a:endParaRPr lang="en-GB" sz="700">
                  <a:solidFill>
                    <a:schemeClr val="accent1"/>
                  </a:solidFill>
                </a:endParaRPr>
              </a:p>
            </p:txBody>
          </p:sp>
        </p:grpSp>
      </p:grpSp>
      <p:grpSp>
        <p:nvGrpSpPr>
          <p:cNvPr id="34" name="Ομάδα 33">
            <a:extLst>
              <a:ext uri="{FF2B5EF4-FFF2-40B4-BE49-F238E27FC236}">
                <a16:creationId xmlns:a16="http://schemas.microsoft.com/office/drawing/2014/main" id="{B2850299-E4F1-4AB6-925A-02EC7BD83BF5}"/>
              </a:ext>
            </a:extLst>
          </p:cNvPr>
          <p:cNvGrpSpPr/>
          <p:nvPr/>
        </p:nvGrpSpPr>
        <p:grpSpPr>
          <a:xfrm>
            <a:off x="2290037" y="1669937"/>
            <a:ext cx="2947882" cy="4504625"/>
            <a:chOff x="2290037" y="1669937"/>
            <a:chExt cx="2947882" cy="4504625"/>
          </a:xfrm>
        </p:grpSpPr>
        <p:grpSp>
          <p:nvGrpSpPr>
            <p:cNvPr id="27" name="Ομάδα 26">
              <a:extLst>
                <a:ext uri="{FF2B5EF4-FFF2-40B4-BE49-F238E27FC236}">
                  <a16:creationId xmlns:a16="http://schemas.microsoft.com/office/drawing/2014/main" id="{73B35EC9-224A-4519-A159-7200C2C2C010}"/>
                </a:ext>
              </a:extLst>
            </p:cNvPr>
            <p:cNvGrpSpPr/>
            <p:nvPr/>
          </p:nvGrpSpPr>
          <p:grpSpPr>
            <a:xfrm>
              <a:off x="2290037" y="1669937"/>
              <a:ext cx="2947882" cy="4504625"/>
              <a:chOff x="2290037" y="1669937"/>
              <a:chExt cx="2947882" cy="4504625"/>
            </a:xfrm>
          </p:grpSpPr>
          <p:sp>
            <p:nvSpPr>
              <p:cNvPr id="36" name="Oval 35"/>
              <p:cNvSpPr/>
              <p:nvPr/>
            </p:nvSpPr>
            <p:spPr bwMode="ltGray">
              <a:xfrm>
                <a:off x="3372467" y="1974136"/>
                <a:ext cx="863810" cy="86381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Georgia" pitchFamily="18" charset="0"/>
                </a:endParaRPr>
              </a:p>
            </p:txBody>
          </p:sp>
          <p:sp>
            <p:nvSpPr>
              <p:cNvPr id="51" name="Rectangle 10"/>
              <p:cNvSpPr>
                <a:spLocks noChangeArrowheads="1"/>
              </p:cNvSpPr>
              <p:nvPr/>
            </p:nvSpPr>
            <p:spPr bwMode="auto">
              <a:xfrm>
                <a:off x="2829650" y="3230166"/>
                <a:ext cx="2408269" cy="294439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749" eaLnBrk="0" hangingPunct="0">
                  <a:spcAft>
                    <a:spcPts val="171"/>
                  </a:spcAft>
                  <a:defRPr/>
                </a:pPr>
                <a:r>
                  <a:rPr lang="en-US" sz="1400" b="1" kern="0" dirty="0">
                    <a:solidFill>
                      <a:schemeClr val="accent4"/>
                    </a:solidFill>
                    <a:cs typeface="Arial" charset="0"/>
                  </a:rPr>
                  <a:t>    </a:t>
                </a:r>
                <a:r>
                  <a:rPr lang="el-GR" sz="1400" b="1" kern="0" dirty="0">
                    <a:solidFill>
                      <a:schemeClr val="accent4"/>
                    </a:solidFill>
                    <a:cs typeface="Arial" charset="0"/>
                  </a:rPr>
                  <a:t>ΕΝΕΡΓΕΙΕΣ ΤΗΣ ΔΡΑΣΗΣ</a:t>
                </a:r>
              </a:p>
              <a:p>
                <a:pPr defTabSz="682749" eaLnBrk="0" hangingPunct="0">
                  <a:spcAft>
                    <a:spcPts val="171"/>
                  </a:spcAft>
                  <a:defRPr/>
                </a:pPr>
                <a:endParaRPr lang="el-GR" sz="1200" b="1" kern="0" dirty="0">
                  <a:cs typeface="Arial" charset="0"/>
                </a:endParaRPr>
              </a:p>
              <a:p>
                <a:pPr defTabSz="682749" eaLnBrk="0" hangingPunct="0">
                  <a:spcAft>
                    <a:spcPts val="171"/>
                  </a:spcAft>
                  <a:defRPr/>
                </a:pPr>
                <a:r>
                  <a:rPr lang="en-US" sz="1200" b="1" kern="0" dirty="0">
                    <a:solidFill>
                      <a:schemeClr val="accent4"/>
                    </a:solidFill>
                    <a:cs typeface="Arial" charset="0"/>
                  </a:rPr>
                  <a:t>Thessaloniki Connectivity Forum</a:t>
                </a:r>
                <a:endParaRPr lang="el-GR" sz="1200" b="1" kern="0" dirty="0">
                  <a:solidFill>
                    <a:schemeClr val="accent4"/>
                  </a:solidFill>
                  <a:cs typeface="Arial" charset="0"/>
                </a:endParaRPr>
              </a:p>
              <a:p>
                <a:pPr marL="171450" indent="-171450" defTabSz="682749" eaLnBrk="0" hangingPunct="0">
                  <a:spcAft>
                    <a:spcPts val="171"/>
                  </a:spcAft>
                  <a:buFont typeface="Arial" panose="020B0604020202020204" pitchFamily="34" charset="0"/>
                  <a:buChar char="•"/>
                  <a:defRPr/>
                </a:pPr>
                <a:r>
                  <a:rPr lang="el-GR" sz="1400" kern="0" dirty="0">
                    <a:cs typeface="Arial" charset="0"/>
                  </a:rPr>
                  <a:t>Διοργάνωση</a:t>
                </a:r>
              </a:p>
              <a:p>
                <a:pPr marL="171450" indent="-171450" defTabSz="682749" eaLnBrk="0" hangingPunct="0">
                  <a:spcAft>
                    <a:spcPts val="171"/>
                  </a:spcAft>
                  <a:buFont typeface="Arial" panose="020B0604020202020204" pitchFamily="34" charset="0"/>
                  <a:buChar char="•"/>
                  <a:defRPr/>
                </a:pPr>
                <a:r>
                  <a:rPr lang="el-GR" sz="1400" kern="0" dirty="0">
                    <a:cs typeface="Arial" charset="0"/>
                  </a:rPr>
                  <a:t>Επαφές με αρχές ΚΜ ΕΕ, εταίρων ΔΒ, Ευρωπαϊκής Επιτροπής και Κοινότητας Μεταφορών / CEFTA </a:t>
                </a:r>
              </a:p>
              <a:p>
                <a:pPr marL="171450" indent="-171450" defTabSz="682749" eaLnBrk="0" hangingPunct="0">
                  <a:spcAft>
                    <a:spcPts val="171"/>
                  </a:spcAft>
                  <a:buFont typeface="Arial" panose="020B0604020202020204" pitchFamily="34" charset="0"/>
                  <a:buChar char="•"/>
                  <a:defRPr/>
                </a:pPr>
                <a:r>
                  <a:rPr lang="el-GR" sz="1400" kern="0" dirty="0">
                    <a:cs typeface="Arial" charset="0"/>
                  </a:rPr>
                  <a:t>Δικτύωση</a:t>
                </a:r>
              </a:p>
              <a:p>
                <a:pPr marL="171450" indent="-171450" defTabSz="682749" eaLnBrk="0" hangingPunct="0">
                  <a:spcAft>
                    <a:spcPts val="171"/>
                  </a:spcAft>
                  <a:buFont typeface="Arial" panose="020B0604020202020204" pitchFamily="34" charset="0"/>
                  <a:buChar char="•"/>
                  <a:defRPr/>
                </a:pPr>
                <a:r>
                  <a:rPr lang="el-GR" sz="1400" kern="0" dirty="0">
                    <a:cs typeface="Arial" charset="0"/>
                  </a:rPr>
                  <a:t>Προώθηση -  Προβολή</a:t>
                </a:r>
              </a:p>
              <a:p>
                <a:pPr marL="171450" indent="-171450" defTabSz="682749" eaLnBrk="0" hangingPunct="0">
                  <a:spcAft>
                    <a:spcPts val="171"/>
                  </a:spcAft>
                  <a:buFont typeface="Arial" panose="020B0604020202020204" pitchFamily="34" charset="0"/>
                  <a:buChar char="•"/>
                  <a:defRPr/>
                </a:pPr>
                <a:r>
                  <a:rPr lang="el-GR" sz="1400" kern="0" dirty="0">
                    <a:cs typeface="Arial" charset="0"/>
                  </a:rPr>
                  <a:t>Υπογραφή </a:t>
                </a:r>
                <a:r>
                  <a:rPr lang="el-GR" sz="1400" kern="0" dirty="0" err="1">
                    <a:cs typeface="Arial" charset="0"/>
                  </a:rPr>
                  <a:t>MoU</a:t>
                </a:r>
                <a:endParaRPr lang="el-GR" sz="1400" kern="0" dirty="0">
                  <a:cs typeface="Arial" charset="0"/>
                </a:endParaRPr>
              </a:p>
              <a:p>
                <a:pPr marL="171450" indent="-171450" defTabSz="682749" eaLnBrk="0" hangingPunct="0">
                  <a:spcAft>
                    <a:spcPts val="171"/>
                  </a:spcAft>
                  <a:buFont typeface="Arial" panose="020B0604020202020204" pitchFamily="34" charset="0"/>
                  <a:buChar char="•"/>
                  <a:defRPr/>
                </a:pPr>
                <a:r>
                  <a:rPr lang="el-GR" sz="1400" kern="0" dirty="0">
                    <a:cs typeface="Arial" charset="0"/>
                  </a:rPr>
                  <a:t>Έκδοση Κοινού Ανακοινωθέντος</a:t>
                </a:r>
              </a:p>
            </p:txBody>
          </p:sp>
          <p:sp>
            <p:nvSpPr>
              <p:cNvPr id="40" name="Frame 39"/>
              <p:cNvSpPr/>
              <p:nvPr/>
            </p:nvSpPr>
            <p:spPr>
              <a:xfrm>
                <a:off x="3075464" y="1669937"/>
                <a:ext cx="1467805" cy="1467806"/>
              </a:xfrm>
              <a:prstGeom prst="frame">
                <a:avLst>
                  <a:gd name="adj1" fmla="val 14698"/>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solidFill>
                    <a:schemeClr val="tx1"/>
                  </a:solidFill>
                </a:endParaRPr>
              </a:p>
            </p:txBody>
          </p:sp>
          <p:cxnSp>
            <p:nvCxnSpPr>
              <p:cNvPr id="24" name="Straight Arrow Connector 23">
                <a:extLst>
                  <a:ext uri="{FF2B5EF4-FFF2-40B4-BE49-F238E27FC236}">
                    <a16:creationId xmlns:a16="http://schemas.microsoft.com/office/drawing/2014/main" id="{F4FBCE7B-518E-4F88-B2E7-5DBB996FDF7C}"/>
                  </a:ext>
                </a:extLst>
              </p:cNvPr>
              <p:cNvCxnSpPr>
                <a:stCxn id="3" idx="3"/>
                <a:endCxn id="40" idx="1"/>
              </p:cNvCxnSpPr>
              <p:nvPr/>
            </p:nvCxnSpPr>
            <p:spPr>
              <a:xfrm>
                <a:off x="2290037" y="2403840"/>
                <a:ext cx="785427" cy="0"/>
              </a:xfrm>
              <a:prstGeom prst="straightConnector1">
                <a:avLst/>
              </a:prstGeom>
              <a:noFill/>
              <a:ln w="47625" cap="rnd">
                <a:solidFill>
                  <a:schemeClr val="tx2">
                    <a:lumMod val="60000"/>
                    <a:lumOff val="40000"/>
                  </a:schemeClr>
                </a:solidFill>
                <a:prstDash val="sysDot"/>
                <a:bevel/>
                <a:headEnd type="none" w="med" len="med"/>
                <a:tailEnd type="triangle" w="med" len="med"/>
              </a:ln>
            </p:spPr>
          </p:cxnSp>
          <p:sp>
            <p:nvSpPr>
              <p:cNvPr id="129" name="Freeform 81">
                <a:extLst>
                  <a:ext uri="{FF2B5EF4-FFF2-40B4-BE49-F238E27FC236}">
                    <a16:creationId xmlns:a16="http://schemas.microsoft.com/office/drawing/2014/main" id="{704D36D2-231F-444C-BDA7-0D73A70854F1}"/>
                  </a:ext>
                </a:extLst>
              </p:cNvPr>
              <p:cNvSpPr>
                <a:spLocks noChangeAspect="1" noEditPoints="1"/>
              </p:cNvSpPr>
              <p:nvPr/>
            </p:nvSpPr>
            <p:spPr bwMode="auto">
              <a:xfrm>
                <a:off x="3480372" y="2092540"/>
                <a:ext cx="648000" cy="648000"/>
              </a:xfrm>
              <a:custGeom>
                <a:avLst/>
                <a:gdLst>
                  <a:gd name="T0" fmla="*/ 288 w 705"/>
                  <a:gd name="T1" fmla="*/ 411 h 705"/>
                  <a:gd name="T2" fmla="*/ 405 w 705"/>
                  <a:gd name="T3" fmla="*/ 294 h 705"/>
                  <a:gd name="T4" fmla="*/ 318 w 705"/>
                  <a:gd name="T5" fmla="*/ 381 h 705"/>
                  <a:gd name="T6" fmla="*/ 374 w 705"/>
                  <a:gd name="T7" fmla="*/ 323 h 705"/>
                  <a:gd name="T8" fmla="*/ 318 w 705"/>
                  <a:gd name="T9" fmla="*/ 381 h 705"/>
                  <a:gd name="T10" fmla="*/ 492 w 705"/>
                  <a:gd name="T11" fmla="*/ 585 h 705"/>
                  <a:gd name="T12" fmla="*/ 609 w 705"/>
                  <a:gd name="T13" fmla="*/ 467 h 705"/>
                  <a:gd name="T14" fmla="*/ 523 w 705"/>
                  <a:gd name="T15" fmla="*/ 554 h 705"/>
                  <a:gd name="T16" fmla="*/ 579 w 705"/>
                  <a:gd name="T17" fmla="*/ 498 h 705"/>
                  <a:gd name="T18" fmla="*/ 523 w 705"/>
                  <a:gd name="T19" fmla="*/ 554 h 705"/>
                  <a:gd name="T20" fmla="*/ 0 w 705"/>
                  <a:gd name="T21" fmla="*/ 705 h 705"/>
                  <a:gd name="T22" fmla="*/ 705 w 705"/>
                  <a:gd name="T23" fmla="*/ 0 h 705"/>
                  <a:gd name="T24" fmla="*/ 676 w 705"/>
                  <a:gd name="T25" fmla="*/ 674 h 705"/>
                  <a:gd name="T26" fmla="*/ 31 w 705"/>
                  <a:gd name="T27" fmla="*/ 541 h 705"/>
                  <a:gd name="T28" fmla="*/ 356 w 705"/>
                  <a:gd name="T29" fmla="*/ 579 h 705"/>
                  <a:gd name="T30" fmla="*/ 453 w 705"/>
                  <a:gd name="T31" fmla="*/ 526 h 705"/>
                  <a:gd name="T32" fmla="*/ 357 w 705"/>
                  <a:gd name="T33" fmla="*/ 474 h 705"/>
                  <a:gd name="T34" fmla="*/ 31 w 705"/>
                  <a:gd name="T35" fmla="*/ 511 h 705"/>
                  <a:gd name="T36" fmla="*/ 196 w 705"/>
                  <a:gd name="T37" fmla="*/ 373 h 705"/>
                  <a:gd name="T38" fmla="*/ 179 w 705"/>
                  <a:gd name="T39" fmla="*/ 432 h 705"/>
                  <a:gd name="T40" fmla="*/ 180 w 705"/>
                  <a:gd name="T41" fmla="*/ 284 h 705"/>
                  <a:gd name="T42" fmla="*/ 197 w 705"/>
                  <a:gd name="T43" fmla="*/ 343 h 705"/>
                  <a:gd name="T44" fmla="*/ 31 w 705"/>
                  <a:gd name="T45" fmla="*/ 29 h 705"/>
                  <a:gd name="T46" fmla="*/ 676 w 705"/>
                  <a:gd name="T47" fmla="*/ 674 h 705"/>
                  <a:gd name="T48" fmla="*/ 394 w 705"/>
                  <a:gd name="T49" fmla="*/ 193 h 705"/>
                  <a:gd name="T50" fmla="*/ 377 w 705"/>
                  <a:gd name="T51" fmla="*/ 252 h 705"/>
                  <a:gd name="T52" fmla="*/ 379 w 705"/>
                  <a:gd name="T53" fmla="*/ 104 h 705"/>
                  <a:gd name="T54" fmla="*/ 395 w 705"/>
                  <a:gd name="T55" fmla="*/ 163 h 705"/>
                  <a:gd name="T56" fmla="*/ 221 w 705"/>
                  <a:gd name="T57" fmla="*/ 119 h 705"/>
                  <a:gd name="T58" fmla="*/ 104 w 705"/>
                  <a:gd name="T59" fmla="*/ 236 h 705"/>
                  <a:gd name="T60" fmla="*/ 221 w 705"/>
                  <a:gd name="T61" fmla="*/ 193 h 705"/>
                  <a:gd name="T62" fmla="*/ 488 w 705"/>
                  <a:gd name="T63" fmla="*/ 236 h 705"/>
                  <a:gd name="T64" fmla="*/ 606 w 705"/>
                  <a:gd name="T65" fmla="*/ 119 h 705"/>
                  <a:gd name="T66" fmla="*/ 518 w 705"/>
                  <a:gd name="T67" fmla="*/ 207 h 705"/>
                  <a:gd name="T68" fmla="*/ 575 w 705"/>
                  <a:gd name="T69" fmla="*/ 149 h 705"/>
                  <a:gd name="T70" fmla="*/ 518 w 705"/>
                  <a:gd name="T71" fmla="*/ 207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5" h="705">
                    <a:moveTo>
                      <a:pt x="405" y="411"/>
                    </a:moveTo>
                    <a:lnTo>
                      <a:pt x="288" y="411"/>
                    </a:lnTo>
                    <a:lnTo>
                      <a:pt x="288" y="294"/>
                    </a:lnTo>
                    <a:lnTo>
                      <a:pt x="405" y="294"/>
                    </a:lnTo>
                    <a:lnTo>
                      <a:pt x="405" y="411"/>
                    </a:lnTo>
                    <a:close/>
                    <a:moveTo>
                      <a:pt x="318" y="381"/>
                    </a:moveTo>
                    <a:lnTo>
                      <a:pt x="374" y="381"/>
                    </a:lnTo>
                    <a:lnTo>
                      <a:pt x="374" y="323"/>
                    </a:lnTo>
                    <a:lnTo>
                      <a:pt x="318" y="323"/>
                    </a:lnTo>
                    <a:lnTo>
                      <a:pt x="318" y="381"/>
                    </a:lnTo>
                    <a:close/>
                    <a:moveTo>
                      <a:pt x="609" y="585"/>
                    </a:moveTo>
                    <a:lnTo>
                      <a:pt x="492" y="585"/>
                    </a:lnTo>
                    <a:lnTo>
                      <a:pt x="492" y="467"/>
                    </a:lnTo>
                    <a:lnTo>
                      <a:pt x="609" y="467"/>
                    </a:lnTo>
                    <a:lnTo>
                      <a:pt x="609" y="585"/>
                    </a:lnTo>
                    <a:close/>
                    <a:moveTo>
                      <a:pt x="523" y="554"/>
                    </a:moveTo>
                    <a:lnTo>
                      <a:pt x="579" y="554"/>
                    </a:lnTo>
                    <a:lnTo>
                      <a:pt x="579" y="498"/>
                    </a:lnTo>
                    <a:lnTo>
                      <a:pt x="523" y="498"/>
                    </a:lnTo>
                    <a:lnTo>
                      <a:pt x="523" y="554"/>
                    </a:lnTo>
                    <a:close/>
                    <a:moveTo>
                      <a:pt x="0" y="0"/>
                    </a:moveTo>
                    <a:lnTo>
                      <a:pt x="0" y="705"/>
                    </a:lnTo>
                    <a:lnTo>
                      <a:pt x="705" y="705"/>
                    </a:lnTo>
                    <a:lnTo>
                      <a:pt x="705" y="0"/>
                    </a:lnTo>
                    <a:lnTo>
                      <a:pt x="0" y="0"/>
                    </a:lnTo>
                    <a:close/>
                    <a:moveTo>
                      <a:pt x="676" y="674"/>
                    </a:moveTo>
                    <a:lnTo>
                      <a:pt x="31" y="674"/>
                    </a:lnTo>
                    <a:lnTo>
                      <a:pt x="31" y="541"/>
                    </a:lnTo>
                    <a:lnTo>
                      <a:pt x="394" y="541"/>
                    </a:lnTo>
                    <a:lnTo>
                      <a:pt x="356" y="579"/>
                    </a:lnTo>
                    <a:lnTo>
                      <a:pt x="377" y="601"/>
                    </a:lnTo>
                    <a:lnTo>
                      <a:pt x="453" y="526"/>
                    </a:lnTo>
                    <a:lnTo>
                      <a:pt x="379" y="453"/>
                    </a:lnTo>
                    <a:lnTo>
                      <a:pt x="357" y="474"/>
                    </a:lnTo>
                    <a:lnTo>
                      <a:pt x="395" y="511"/>
                    </a:lnTo>
                    <a:lnTo>
                      <a:pt x="31" y="511"/>
                    </a:lnTo>
                    <a:lnTo>
                      <a:pt x="31" y="373"/>
                    </a:lnTo>
                    <a:lnTo>
                      <a:pt x="196" y="373"/>
                    </a:lnTo>
                    <a:lnTo>
                      <a:pt x="158" y="411"/>
                    </a:lnTo>
                    <a:lnTo>
                      <a:pt x="179" y="432"/>
                    </a:lnTo>
                    <a:lnTo>
                      <a:pt x="253" y="357"/>
                    </a:lnTo>
                    <a:lnTo>
                      <a:pt x="180" y="284"/>
                    </a:lnTo>
                    <a:lnTo>
                      <a:pt x="159" y="305"/>
                    </a:lnTo>
                    <a:lnTo>
                      <a:pt x="197" y="343"/>
                    </a:lnTo>
                    <a:lnTo>
                      <a:pt x="31" y="343"/>
                    </a:lnTo>
                    <a:lnTo>
                      <a:pt x="31" y="29"/>
                    </a:lnTo>
                    <a:lnTo>
                      <a:pt x="676" y="29"/>
                    </a:lnTo>
                    <a:lnTo>
                      <a:pt x="676" y="674"/>
                    </a:lnTo>
                    <a:close/>
                    <a:moveTo>
                      <a:pt x="221" y="193"/>
                    </a:moveTo>
                    <a:lnTo>
                      <a:pt x="394" y="193"/>
                    </a:lnTo>
                    <a:lnTo>
                      <a:pt x="356" y="231"/>
                    </a:lnTo>
                    <a:lnTo>
                      <a:pt x="377" y="252"/>
                    </a:lnTo>
                    <a:lnTo>
                      <a:pt x="453" y="177"/>
                    </a:lnTo>
                    <a:lnTo>
                      <a:pt x="379" y="104"/>
                    </a:lnTo>
                    <a:lnTo>
                      <a:pt x="357" y="125"/>
                    </a:lnTo>
                    <a:lnTo>
                      <a:pt x="395" y="163"/>
                    </a:lnTo>
                    <a:lnTo>
                      <a:pt x="221" y="163"/>
                    </a:lnTo>
                    <a:lnTo>
                      <a:pt x="221" y="119"/>
                    </a:lnTo>
                    <a:lnTo>
                      <a:pt x="104" y="119"/>
                    </a:lnTo>
                    <a:lnTo>
                      <a:pt x="104" y="236"/>
                    </a:lnTo>
                    <a:lnTo>
                      <a:pt x="221" y="236"/>
                    </a:lnTo>
                    <a:lnTo>
                      <a:pt x="221" y="193"/>
                    </a:lnTo>
                    <a:close/>
                    <a:moveTo>
                      <a:pt x="606" y="236"/>
                    </a:moveTo>
                    <a:lnTo>
                      <a:pt x="488" y="236"/>
                    </a:lnTo>
                    <a:lnTo>
                      <a:pt x="488" y="119"/>
                    </a:lnTo>
                    <a:lnTo>
                      <a:pt x="606" y="119"/>
                    </a:lnTo>
                    <a:lnTo>
                      <a:pt x="606" y="236"/>
                    </a:lnTo>
                    <a:close/>
                    <a:moveTo>
                      <a:pt x="518" y="207"/>
                    </a:moveTo>
                    <a:lnTo>
                      <a:pt x="575" y="207"/>
                    </a:lnTo>
                    <a:lnTo>
                      <a:pt x="575" y="149"/>
                    </a:lnTo>
                    <a:lnTo>
                      <a:pt x="518" y="149"/>
                    </a:lnTo>
                    <a:lnTo>
                      <a:pt x="518" y="20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grpSp>
        <p:cxnSp>
          <p:nvCxnSpPr>
            <p:cNvPr id="28" name="Straight Connector 27">
              <a:extLst>
                <a:ext uri="{FF2B5EF4-FFF2-40B4-BE49-F238E27FC236}">
                  <a16:creationId xmlns:a16="http://schemas.microsoft.com/office/drawing/2014/main" id="{CFC9CDE3-6AFF-447F-9B4B-BF7A4394A986}"/>
                </a:ext>
              </a:extLst>
            </p:cNvPr>
            <p:cNvCxnSpPr>
              <a:cxnSpLocks/>
            </p:cNvCxnSpPr>
            <p:nvPr/>
          </p:nvCxnSpPr>
          <p:spPr>
            <a:xfrm flipV="1">
              <a:off x="2890667" y="3526907"/>
              <a:ext cx="2088000" cy="9391"/>
            </a:xfrm>
            <a:prstGeom prst="line">
              <a:avLst/>
            </a:prstGeom>
            <a:ln w="12700">
              <a:solidFill>
                <a:srgbClr val="7F8FA9"/>
              </a:solidFill>
              <a:prstDash val="sysDash"/>
            </a:ln>
          </p:spPr>
          <p:style>
            <a:lnRef idx="1">
              <a:schemeClr val="accent1"/>
            </a:lnRef>
            <a:fillRef idx="0">
              <a:schemeClr val="accent1"/>
            </a:fillRef>
            <a:effectRef idx="0">
              <a:schemeClr val="accent1"/>
            </a:effectRef>
            <a:fontRef idx="minor">
              <a:schemeClr val="tx1"/>
            </a:fontRef>
          </p:style>
        </p:cxnSp>
      </p:grpSp>
      <p:grpSp>
        <p:nvGrpSpPr>
          <p:cNvPr id="29" name="Ομάδα 28">
            <a:extLst>
              <a:ext uri="{FF2B5EF4-FFF2-40B4-BE49-F238E27FC236}">
                <a16:creationId xmlns:a16="http://schemas.microsoft.com/office/drawing/2014/main" id="{2C22D629-FC11-40AA-A9CA-9C51D4927188}"/>
              </a:ext>
            </a:extLst>
          </p:cNvPr>
          <p:cNvGrpSpPr/>
          <p:nvPr/>
        </p:nvGrpSpPr>
        <p:grpSpPr>
          <a:xfrm>
            <a:off x="4543269" y="1669937"/>
            <a:ext cx="2737863" cy="4668772"/>
            <a:chOff x="4543269" y="1669937"/>
            <a:chExt cx="2737863" cy="4668772"/>
          </a:xfrm>
        </p:grpSpPr>
        <p:sp>
          <p:nvSpPr>
            <p:cNvPr id="39" name="Oval 38"/>
            <p:cNvSpPr/>
            <p:nvPr/>
          </p:nvSpPr>
          <p:spPr bwMode="ltGray">
            <a:xfrm>
              <a:off x="5633462" y="1974136"/>
              <a:ext cx="863810" cy="863810"/>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Georgia" pitchFamily="18" charset="0"/>
              </a:endParaRPr>
            </a:p>
          </p:txBody>
        </p:sp>
        <p:sp>
          <p:nvSpPr>
            <p:cNvPr id="52" name="Rectangle 10"/>
            <p:cNvSpPr>
              <a:spLocks noChangeArrowheads="1"/>
            </p:cNvSpPr>
            <p:nvPr/>
          </p:nvSpPr>
          <p:spPr bwMode="auto">
            <a:xfrm>
              <a:off x="5294535" y="3230166"/>
              <a:ext cx="1986597" cy="31085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749" eaLnBrk="0" hangingPunct="0">
                <a:spcAft>
                  <a:spcPts val="171"/>
                </a:spcAft>
                <a:defRPr/>
              </a:pPr>
              <a:r>
                <a:rPr lang="el-GR" sz="1400" b="1" kern="0" dirty="0">
                  <a:solidFill>
                    <a:schemeClr val="accent5"/>
                  </a:solidFill>
                  <a:cs typeface="Arial" charset="0"/>
                </a:rPr>
                <a:t>ΑΜΕΣΑ ΑΠΟΤΕΛΕΣΜΑΤΑ</a:t>
              </a:r>
            </a:p>
            <a:p>
              <a:pPr defTabSz="682749" eaLnBrk="0" hangingPunct="0">
                <a:spcAft>
                  <a:spcPts val="171"/>
                </a:spcAft>
                <a:defRPr/>
              </a:pPr>
              <a:endParaRPr lang="el-GR" sz="1200" b="1" kern="0" dirty="0">
                <a:solidFill>
                  <a:schemeClr val="accent5"/>
                </a:solidFill>
                <a:cs typeface="Arial" charset="0"/>
              </a:endParaRPr>
            </a:p>
            <a:p>
              <a:pPr defTabSz="682749" eaLnBrk="0" hangingPunct="0">
                <a:spcAft>
                  <a:spcPts val="171"/>
                </a:spcAft>
                <a:defRPr/>
              </a:pPr>
              <a:r>
                <a:rPr lang="el-GR" sz="1200" b="1" kern="0" dirty="0">
                  <a:solidFill>
                    <a:schemeClr val="accent5"/>
                  </a:solidFill>
                  <a:cs typeface="Arial" charset="0"/>
                </a:rPr>
                <a:t>Ταχύτερες εμπορικές ροές</a:t>
              </a:r>
              <a:endParaRPr lang="en-GB" sz="1200" b="1" kern="0" dirty="0">
                <a:solidFill>
                  <a:schemeClr val="accent5"/>
                </a:solidFill>
                <a:cs typeface="Arial" charset="0"/>
              </a:endParaRPr>
            </a:p>
            <a:p>
              <a:pPr marL="171450" indent="-171450" defTabSz="682749" eaLnBrk="0" hangingPunct="0">
                <a:spcAft>
                  <a:spcPts val="171"/>
                </a:spcAft>
                <a:buFont typeface="Arial" panose="020B0604020202020204" pitchFamily="34" charset="0"/>
                <a:buChar char="•"/>
                <a:defRPr/>
              </a:pPr>
              <a:r>
                <a:rPr lang="el-GR" sz="1400" kern="0" dirty="0">
                  <a:cs typeface="Arial" charset="0"/>
                </a:rPr>
                <a:t>Επέκταση Πράσινων Λωρίδων στα σύνορα ΚΜ ΕΕ – </a:t>
              </a:r>
              <a:r>
                <a:rPr lang="el-GR" sz="1400" kern="0" dirty="0" err="1">
                  <a:cs typeface="Arial" charset="0"/>
                </a:rPr>
                <a:t>Δυτ</a:t>
              </a:r>
              <a:r>
                <a:rPr lang="el-GR" sz="1400" kern="0" dirty="0">
                  <a:cs typeface="Arial" charset="0"/>
                </a:rPr>
                <a:t>. Βαλκανίων</a:t>
              </a:r>
            </a:p>
            <a:p>
              <a:pPr marL="171450" indent="-171450" defTabSz="682749" eaLnBrk="0" hangingPunct="0">
                <a:spcAft>
                  <a:spcPts val="171"/>
                </a:spcAft>
                <a:buFont typeface="Arial" panose="020B0604020202020204" pitchFamily="34" charset="0"/>
                <a:buChar char="•"/>
                <a:defRPr/>
              </a:pPr>
              <a:r>
                <a:rPr lang="el-GR" sz="1400" kern="0" dirty="0">
                  <a:cs typeface="Arial" charset="0"/>
                </a:rPr>
                <a:t>Επίσπευση  διαδικασιών διακίνησης βασικών αγαθών μεταξύ Δυτικών Βαλκανίων και  κ-μ ΕΕ</a:t>
              </a:r>
            </a:p>
            <a:p>
              <a:pPr marL="171450" indent="-171450" defTabSz="682749" eaLnBrk="0" hangingPunct="0">
                <a:spcAft>
                  <a:spcPts val="171"/>
                </a:spcAft>
                <a:buFont typeface="Arial" panose="020B0604020202020204" pitchFamily="34" charset="0"/>
                <a:buChar char="•"/>
                <a:defRPr/>
              </a:pPr>
              <a:r>
                <a:rPr lang="el-GR" sz="1400" kern="0" dirty="0">
                  <a:cs typeface="Arial" charset="0"/>
                </a:rPr>
                <a:t>Μείωση του χρόνου και του κόστους διακίνησης βασικών αγαθών</a:t>
              </a:r>
            </a:p>
            <a:p>
              <a:pPr marL="171450" indent="-171450" defTabSz="682749" eaLnBrk="0" hangingPunct="0">
                <a:spcAft>
                  <a:spcPts val="171"/>
                </a:spcAft>
                <a:buFont typeface="Arial" panose="020B0604020202020204" pitchFamily="34" charset="0"/>
                <a:buChar char="•"/>
                <a:defRPr/>
              </a:pPr>
              <a:r>
                <a:rPr lang="el-GR" sz="1400" kern="0" dirty="0">
                  <a:cs typeface="Arial" charset="0"/>
                </a:rPr>
                <a:t>Αύξηση όγκου εμπορίου</a:t>
              </a:r>
            </a:p>
          </p:txBody>
        </p:sp>
        <p:sp>
          <p:nvSpPr>
            <p:cNvPr id="47" name="Frame 46"/>
            <p:cNvSpPr/>
            <p:nvPr/>
          </p:nvSpPr>
          <p:spPr>
            <a:xfrm>
              <a:off x="5328696" y="1669937"/>
              <a:ext cx="1467805" cy="1467806"/>
            </a:xfrm>
            <a:prstGeom prst="frame">
              <a:avLst>
                <a:gd name="adj1" fmla="val 14698"/>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solidFill>
                  <a:schemeClr val="tx1"/>
                </a:solidFill>
              </a:endParaRPr>
            </a:p>
          </p:txBody>
        </p:sp>
        <p:grpSp>
          <p:nvGrpSpPr>
            <p:cNvPr id="79" name="Group 159"/>
            <p:cNvGrpSpPr>
              <a:grpSpLocks noChangeAspect="1"/>
            </p:cNvGrpSpPr>
            <p:nvPr/>
          </p:nvGrpSpPr>
          <p:grpSpPr bwMode="auto">
            <a:xfrm>
              <a:off x="5758481" y="2083318"/>
              <a:ext cx="639447" cy="639352"/>
              <a:chOff x="986" y="0"/>
              <a:chExt cx="6714" cy="6713"/>
            </a:xfrm>
            <a:solidFill>
              <a:schemeClr val="bg1"/>
            </a:solidFill>
          </p:grpSpPr>
          <p:sp>
            <p:nvSpPr>
              <p:cNvPr id="80" name="Freeform 160"/>
              <p:cNvSpPr>
                <a:spLocks noEditPoints="1"/>
              </p:cNvSpPr>
              <p:nvPr/>
            </p:nvSpPr>
            <p:spPr bwMode="auto">
              <a:xfrm>
                <a:off x="986" y="0"/>
                <a:ext cx="6714" cy="6713"/>
              </a:xfrm>
              <a:custGeom>
                <a:avLst/>
                <a:gdLst>
                  <a:gd name="T0" fmla="*/ 0 w 6714"/>
                  <a:gd name="T1" fmla="*/ 0 h 6713"/>
                  <a:gd name="T2" fmla="*/ 0 w 6714"/>
                  <a:gd name="T3" fmla="*/ 6713 h 6713"/>
                  <a:gd name="T4" fmla="*/ 6714 w 6714"/>
                  <a:gd name="T5" fmla="*/ 6713 h 6713"/>
                  <a:gd name="T6" fmla="*/ 6714 w 6714"/>
                  <a:gd name="T7" fmla="*/ 0 h 6713"/>
                  <a:gd name="T8" fmla="*/ 0 w 6714"/>
                  <a:gd name="T9" fmla="*/ 0 h 6713"/>
                  <a:gd name="T10" fmla="*/ 6428 w 6714"/>
                  <a:gd name="T11" fmla="*/ 4819 h 6713"/>
                  <a:gd name="T12" fmla="*/ 2920 w 6714"/>
                  <a:gd name="T13" fmla="*/ 4819 h 6713"/>
                  <a:gd name="T14" fmla="*/ 4242 w 6714"/>
                  <a:gd name="T15" fmla="*/ 3497 h 6713"/>
                  <a:gd name="T16" fmla="*/ 5106 w 6714"/>
                  <a:gd name="T17" fmla="*/ 3497 h 6713"/>
                  <a:gd name="T18" fmla="*/ 5378 w 6714"/>
                  <a:gd name="T19" fmla="*/ 3222 h 6713"/>
                  <a:gd name="T20" fmla="*/ 5378 w 6714"/>
                  <a:gd name="T21" fmla="*/ 3499 h 6713"/>
                  <a:gd name="T22" fmla="*/ 5668 w 6714"/>
                  <a:gd name="T23" fmla="*/ 3499 h 6713"/>
                  <a:gd name="T24" fmla="*/ 5668 w 6714"/>
                  <a:gd name="T25" fmla="*/ 3212 h 6713"/>
                  <a:gd name="T26" fmla="*/ 5386 w 6714"/>
                  <a:gd name="T27" fmla="*/ 3212 h 6713"/>
                  <a:gd name="T28" fmla="*/ 6428 w 6714"/>
                  <a:gd name="T29" fmla="*/ 2160 h 6713"/>
                  <a:gd name="T30" fmla="*/ 6428 w 6714"/>
                  <a:gd name="T31" fmla="*/ 4819 h 6713"/>
                  <a:gd name="T32" fmla="*/ 288 w 6714"/>
                  <a:gd name="T33" fmla="*/ 5107 h 6713"/>
                  <a:gd name="T34" fmla="*/ 1404 w 6714"/>
                  <a:gd name="T35" fmla="*/ 5107 h 6713"/>
                  <a:gd name="T36" fmla="*/ 288 w 6714"/>
                  <a:gd name="T37" fmla="*/ 6225 h 6713"/>
                  <a:gd name="T38" fmla="*/ 288 w 6714"/>
                  <a:gd name="T39" fmla="*/ 5107 h 6713"/>
                  <a:gd name="T40" fmla="*/ 288 w 6714"/>
                  <a:gd name="T41" fmla="*/ 4819 h 6713"/>
                  <a:gd name="T42" fmla="*/ 288 w 6714"/>
                  <a:gd name="T43" fmla="*/ 3499 h 6713"/>
                  <a:gd name="T44" fmla="*/ 454 w 6714"/>
                  <a:gd name="T45" fmla="*/ 3499 h 6713"/>
                  <a:gd name="T46" fmla="*/ 454 w 6714"/>
                  <a:gd name="T47" fmla="*/ 3212 h 6713"/>
                  <a:gd name="T48" fmla="*/ 288 w 6714"/>
                  <a:gd name="T49" fmla="*/ 3212 h 6713"/>
                  <a:gd name="T50" fmla="*/ 288 w 6714"/>
                  <a:gd name="T51" fmla="*/ 1892 h 6713"/>
                  <a:gd name="T52" fmla="*/ 6290 w 6714"/>
                  <a:gd name="T53" fmla="*/ 1892 h 6713"/>
                  <a:gd name="T54" fmla="*/ 4986 w 6714"/>
                  <a:gd name="T55" fmla="*/ 3210 h 6713"/>
                  <a:gd name="T56" fmla="*/ 4124 w 6714"/>
                  <a:gd name="T57" fmla="*/ 3210 h 6713"/>
                  <a:gd name="T58" fmla="*/ 3930 w 6714"/>
                  <a:gd name="T59" fmla="*/ 3405 h 6713"/>
                  <a:gd name="T60" fmla="*/ 3930 w 6714"/>
                  <a:gd name="T61" fmla="*/ 3212 h 6713"/>
                  <a:gd name="T62" fmla="*/ 3640 w 6714"/>
                  <a:gd name="T63" fmla="*/ 3212 h 6713"/>
                  <a:gd name="T64" fmla="*/ 3640 w 6714"/>
                  <a:gd name="T65" fmla="*/ 3499 h 6713"/>
                  <a:gd name="T66" fmla="*/ 3834 w 6714"/>
                  <a:gd name="T67" fmla="*/ 3499 h 6713"/>
                  <a:gd name="T68" fmla="*/ 2514 w 6714"/>
                  <a:gd name="T69" fmla="*/ 4819 h 6713"/>
                  <a:gd name="T70" fmla="*/ 288 w 6714"/>
                  <a:gd name="T71" fmla="*/ 4819 h 6713"/>
                  <a:gd name="T72" fmla="*/ 6428 w 6714"/>
                  <a:gd name="T73" fmla="*/ 286 h 6713"/>
                  <a:gd name="T74" fmla="*/ 6428 w 6714"/>
                  <a:gd name="T75" fmla="*/ 1606 h 6713"/>
                  <a:gd name="T76" fmla="*/ 288 w 6714"/>
                  <a:gd name="T77" fmla="*/ 1606 h 6713"/>
                  <a:gd name="T78" fmla="*/ 288 w 6714"/>
                  <a:gd name="T79" fmla="*/ 286 h 6713"/>
                  <a:gd name="T80" fmla="*/ 6428 w 6714"/>
                  <a:gd name="T81" fmla="*/ 286 h 6713"/>
                  <a:gd name="T82" fmla="*/ 490 w 6714"/>
                  <a:gd name="T83" fmla="*/ 6427 h 6713"/>
                  <a:gd name="T84" fmla="*/ 1810 w 6714"/>
                  <a:gd name="T85" fmla="*/ 5107 h 6713"/>
                  <a:gd name="T86" fmla="*/ 6428 w 6714"/>
                  <a:gd name="T87" fmla="*/ 5107 h 6713"/>
                  <a:gd name="T88" fmla="*/ 6428 w 6714"/>
                  <a:gd name="T89" fmla="*/ 6427 h 6713"/>
                  <a:gd name="T90" fmla="*/ 490 w 6714"/>
                  <a:gd name="T91" fmla="*/ 6427 h 6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14" h="6713">
                    <a:moveTo>
                      <a:pt x="0" y="0"/>
                    </a:moveTo>
                    <a:lnTo>
                      <a:pt x="0" y="6713"/>
                    </a:lnTo>
                    <a:lnTo>
                      <a:pt x="6714" y="6713"/>
                    </a:lnTo>
                    <a:lnTo>
                      <a:pt x="6714" y="0"/>
                    </a:lnTo>
                    <a:lnTo>
                      <a:pt x="0" y="0"/>
                    </a:lnTo>
                    <a:close/>
                    <a:moveTo>
                      <a:pt x="6428" y="4819"/>
                    </a:moveTo>
                    <a:lnTo>
                      <a:pt x="2920" y="4819"/>
                    </a:lnTo>
                    <a:lnTo>
                      <a:pt x="4242" y="3497"/>
                    </a:lnTo>
                    <a:lnTo>
                      <a:pt x="5106" y="3497"/>
                    </a:lnTo>
                    <a:lnTo>
                      <a:pt x="5378" y="3222"/>
                    </a:lnTo>
                    <a:lnTo>
                      <a:pt x="5378" y="3499"/>
                    </a:lnTo>
                    <a:lnTo>
                      <a:pt x="5668" y="3499"/>
                    </a:lnTo>
                    <a:lnTo>
                      <a:pt x="5668" y="3212"/>
                    </a:lnTo>
                    <a:lnTo>
                      <a:pt x="5386" y="3212"/>
                    </a:lnTo>
                    <a:lnTo>
                      <a:pt x="6428" y="2160"/>
                    </a:lnTo>
                    <a:lnTo>
                      <a:pt x="6428" y="4819"/>
                    </a:lnTo>
                    <a:close/>
                    <a:moveTo>
                      <a:pt x="288" y="5107"/>
                    </a:moveTo>
                    <a:lnTo>
                      <a:pt x="1404" y="5107"/>
                    </a:lnTo>
                    <a:lnTo>
                      <a:pt x="288" y="6225"/>
                    </a:lnTo>
                    <a:lnTo>
                      <a:pt x="288" y="5107"/>
                    </a:lnTo>
                    <a:close/>
                    <a:moveTo>
                      <a:pt x="288" y="4819"/>
                    </a:moveTo>
                    <a:lnTo>
                      <a:pt x="288" y="3499"/>
                    </a:lnTo>
                    <a:lnTo>
                      <a:pt x="454" y="3499"/>
                    </a:lnTo>
                    <a:lnTo>
                      <a:pt x="454" y="3212"/>
                    </a:lnTo>
                    <a:lnTo>
                      <a:pt x="288" y="3212"/>
                    </a:lnTo>
                    <a:lnTo>
                      <a:pt x="288" y="1892"/>
                    </a:lnTo>
                    <a:lnTo>
                      <a:pt x="6290" y="1892"/>
                    </a:lnTo>
                    <a:lnTo>
                      <a:pt x="4986" y="3210"/>
                    </a:lnTo>
                    <a:lnTo>
                      <a:pt x="4124" y="3210"/>
                    </a:lnTo>
                    <a:lnTo>
                      <a:pt x="3930" y="3405"/>
                    </a:lnTo>
                    <a:lnTo>
                      <a:pt x="3930" y="3212"/>
                    </a:lnTo>
                    <a:lnTo>
                      <a:pt x="3640" y="3212"/>
                    </a:lnTo>
                    <a:lnTo>
                      <a:pt x="3640" y="3499"/>
                    </a:lnTo>
                    <a:lnTo>
                      <a:pt x="3834" y="3499"/>
                    </a:lnTo>
                    <a:lnTo>
                      <a:pt x="2514" y="4819"/>
                    </a:lnTo>
                    <a:lnTo>
                      <a:pt x="288" y="4819"/>
                    </a:lnTo>
                    <a:close/>
                    <a:moveTo>
                      <a:pt x="6428" y="286"/>
                    </a:moveTo>
                    <a:lnTo>
                      <a:pt x="6428" y="1606"/>
                    </a:lnTo>
                    <a:lnTo>
                      <a:pt x="288" y="1606"/>
                    </a:lnTo>
                    <a:lnTo>
                      <a:pt x="288" y="286"/>
                    </a:lnTo>
                    <a:lnTo>
                      <a:pt x="6428" y="286"/>
                    </a:lnTo>
                    <a:close/>
                    <a:moveTo>
                      <a:pt x="490" y="6427"/>
                    </a:moveTo>
                    <a:lnTo>
                      <a:pt x="1810" y="5107"/>
                    </a:lnTo>
                    <a:lnTo>
                      <a:pt x="6428" y="5107"/>
                    </a:lnTo>
                    <a:lnTo>
                      <a:pt x="6428" y="6427"/>
                    </a:lnTo>
                    <a:lnTo>
                      <a:pt x="490" y="6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81" name="Rectangle 161"/>
              <p:cNvSpPr>
                <a:spLocks noChangeArrowheads="1"/>
              </p:cNvSpPr>
              <p:nvPr/>
            </p:nvSpPr>
            <p:spPr bwMode="auto">
              <a:xfrm>
                <a:off x="6944" y="3212"/>
                <a:ext cx="288"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82" name="Rectangle 162"/>
              <p:cNvSpPr>
                <a:spLocks noChangeArrowheads="1"/>
              </p:cNvSpPr>
              <p:nvPr/>
            </p:nvSpPr>
            <p:spPr bwMode="auto">
              <a:xfrm>
                <a:off x="4046" y="3212"/>
                <a:ext cx="290"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83" name="Rectangle 163"/>
              <p:cNvSpPr>
                <a:spLocks noChangeArrowheads="1"/>
              </p:cNvSpPr>
              <p:nvPr/>
            </p:nvSpPr>
            <p:spPr bwMode="auto">
              <a:xfrm>
                <a:off x="3468" y="3212"/>
                <a:ext cx="288"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84" name="Rectangle 164"/>
              <p:cNvSpPr>
                <a:spLocks noChangeArrowheads="1"/>
              </p:cNvSpPr>
              <p:nvPr/>
            </p:nvSpPr>
            <p:spPr bwMode="auto">
              <a:xfrm>
                <a:off x="2888" y="3212"/>
                <a:ext cx="290"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85" name="Rectangle 165"/>
              <p:cNvSpPr>
                <a:spLocks noChangeArrowheads="1"/>
              </p:cNvSpPr>
              <p:nvPr/>
            </p:nvSpPr>
            <p:spPr bwMode="auto">
              <a:xfrm>
                <a:off x="1730" y="3212"/>
                <a:ext cx="288"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86" name="Rectangle 166"/>
              <p:cNvSpPr>
                <a:spLocks noChangeArrowheads="1"/>
              </p:cNvSpPr>
              <p:nvPr/>
            </p:nvSpPr>
            <p:spPr bwMode="auto">
              <a:xfrm>
                <a:off x="2308" y="3212"/>
                <a:ext cx="290"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grpSp>
        <p:cxnSp>
          <p:nvCxnSpPr>
            <p:cNvPr id="112" name="Straight Arrow Connector 111">
              <a:extLst>
                <a:ext uri="{FF2B5EF4-FFF2-40B4-BE49-F238E27FC236}">
                  <a16:creationId xmlns:a16="http://schemas.microsoft.com/office/drawing/2014/main" id="{A9720888-A8B7-4E4C-9D05-28604B8AD248}"/>
                </a:ext>
              </a:extLst>
            </p:cNvPr>
            <p:cNvCxnSpPr/>
            <p:nvPr/>
          </p:nvCxnSpPr>
          <p:spPr>
            <a:xfrm>
              <a:off x="4543269" y="2439930"/>
              <a:ext cx="785427" cy="0"/>
            </a:xfrm>
            <a:prstGeom prst="straightConnector1">
              <a:avLst/>
            </a:prstGeom>
            <a:noFill/>
            <a:ln w="47625" cap="rnd">
              <a:solidFill>
                <a:schemeClr val="tx2">
                  <a:lumMod val="60000"/>
                  <a:lumOff val="40000"/>
                </a:schemeClr>
              </a:solidFill>
              <a:prstDash val="sysDot"/>
              <a:bevel/>
              <a:headEnd type="none" w="med" len="med"/>
              <a:tailEnd type="triangle" w="med" len="med"/>
            </a:ln>
          </p:spPr>
        </p:cxnSp>
        <p:cxnSp>
          <p:nvCxnSpPr>
            <p:cNvPr id="132" name="Straight Connector 131">
              <a:extLst>
                <a:ext uri="{FF2B5EF4-FFF2-40B4-BE49-F238E27FC236}">
                  <a16:creationId xmlns:a16="http://schemas.microsoft.com/office/drawing/2014/main" id="{7E1D7AB4-EABE-4842-83E1-CDEE746C642C}"/>
                </a:ext>
              </a:extLst>
            </p:cNvPr>
            <p:cNvCxnSpPr>
              <a:cxnSpLocks/>
            </p:cNvCxnSpPr>
            <p:nvPr/>
          </p:nvCxnSpPr>
          <p:spPr>
            <a:xfrm flipV="1">
              <a:off x="5294535" y="3511933"/>
              <a:ext cx="1908000" cy="9391"/>
            </a:xfrm>
            <a:prstGeom prst="line">
              <a:avLst/>
            </a:prstGeom>
            <a:ln w="1270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sp>
        <p:nvSpPr>
          <p:cNvPr id="134" name="Google Shape;116;p3">
            <a:extLst>
              <a:ext uri="{FF2B5EF4-FFF2-40B4-BE49-F238E27FC236}">
                <a16:creationId xmlns:a16="http://schemas.microsoft.com/office/drawing/2014/main" id="{4E24A846-75E8-4F82-8592-978276B07A8B}"/>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Παράδειγμα Δράσης </a:t>
            </a:r>
            <a:r>
              <a:rPr lang="el-GR" sz="1400" dirty="0">
                <a:solidFill>
                  <a:srgbClr val="FFFFFF"/>
                </a:solidFill>
                <a:latin typeface="Calibri"/>
                <a:ea typeface="Calibri"/>
                <a:cs typeface="Calibri"/>
                <a:sym typeface="Calibri"/>
              </a:rPr>
              <a:t>(αρ.3106)</a:t>
            </a:r>
            <a:r>
              <a:rPr lang="el-GR" dirty="0">
                <a:solidFill>
                  <a:srgbClr val="FFFFFF"/>
                </a:solidFill>
                <a:latin typeface="Calibri"/>
                <a:ea typeface="Calibri"/>
                <a:cs typeface="Calibri"/>
                <a:sym typeface="Calibri"/>
              </a:rPr>
              <a:t> / 3</a:t>
            </a:r>
            <a:r>
              <a:rPr lang="el-GR" baseline="30000" dirty="0">
                <a:solidFill>
                  <a:srgbClr val="FFFFFF"/>
                </a:solidFill>
                <a:latin typeface="Calibri"/>
                <a:ea typeface="Calibri"/>
                <a:cs typeface="Calibri"/>
                <a:sym typeface="Calibri"/>
              </a:rPr>
              <a:t>ος</a:t>
            </a:r>
            <a:r>
              <a:rPr lang="el-GR" dirty="0">
                <a:solidFill>
                  <a:srgbClr val="FFFFFF"/>
                </a:solidFill>
                <a:latin typeface="Calibri"/>
                <a:ea typeface="Calibri"/>
                <a:cs typeface="Calibri"/>
                <a:sym typeface="Calibri"/>
              </a:rPr>
              <a:t> Στρατηγικός Άξονας - </a:t>
            </a:r>
            <a:r>
              <a:rPr lang="en-US" b="1" dirty="0">
                <a:solidFill>
                  <a:srgbClr val="FFFFFF"/>
                </a:solidFill>
                <a:latin typeface="Calibri"/>
                <a:ea typeface="Calibri"/>
                <a:cs typeface="Calibri"/>
                <a:sym typeface="Calibri"/>
              </a:rPr>
              <a:t>Connectivity Forum, </a:t>
            </a:r>
            <a:r>
              <a:rPr lang="el-GR" b="1" dirty="0">
                <a:solidFill>
                  <a:srgbClr val="FFFFFF"/>
                </a:solidFill>
                <a:latin typeface="Calibri"/>
                <a:ea typeface="Calibri"/>
                <a:cs typeface="Calibri"/>
                <a:sym typeface="Calibri"/>
              </a:rPr>
              <a:t>Θεσσαλονίκη, 7.7.2022</a:t>
            </a:r>
          </a:p>
        </p:txBody>
      </p:sp>
      <p:grpSp>
        <p:nvGrpSpPr>
          <p:cNvPr id="38" name="Ομάδα 37">
            <a:extLst>
              <a:ext uri="{FF2B5EF4-FFF2-40B4-BE49-F238E27FC236}">
                <a16:creationId xmlns:a16="http://schemas.microsoft.com/office/drawing/2014/main" id="{F12DE83C-3E21-4A3F-AC57-B6608626B1E1}"/>
              </a:ext>
            </a:extLst>
          </p:cNvPr>
          <p:cNvGrpSpPr/>
          <p:nvPr/>
        </p:nvGrpSpPr>
        <p:grpSpPr>
          <a:xfrm>
            <a:off x="9049734" y="1669937"/>
            <a:ext cx="2890922" cy="4027571"/>
            <a:chOff x="9049734" y="1669937"/>
            <a:chExt cx="2890922" cy="4027571"/>
          </a:xfrm>
        </p:grpSpPr>
        <p:sp>
          <p:nvSpPr>
            <p:cNvPr id="68" name="Frame 67"/>
            <p:cNvSpPr/>
            <p:nvPr/>
          </p:nvSpPr>
          <p:spPr>
            <a:xfrm>
              <a:off x="9835161" y="1669937"/>
              <a:ext cx="1467805" cy="1467806"/>
            </a:xfrm>
            <a:prstGeom prst="frame">
              <a:avLst>
                <a:gd name="adj1" fmla="val 14698"/>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solidFill>
                  <a:schemeClr val="tx1"/>
                </a:solidFill>
              </a:endParaRPr>
            </a:p>
          </p:txBody>
        </p:sp>
        <p:grpSp>
          <p:nvGrpSpPr>
            <p:cNvPr id="31" name="Ομάδα 30">
              <a:extLst>
                <a:ext uri="{FF2B5EF4-FFF2-40B4-BE49-F238E27FC236}">
                  <a16:creationId xmlns:a16="http://schemas.microsoft.com/office/drawing/2014/main" id="{06AE918F-A01F-4DEA-910A-84BD324CC510}"/>
                </a:ext>
              </a:extLst>
            </p:cNvPr>
            <p:cNvGrpSpPr/>
            <p:nvPr/>
          </p:nvGrpSpPr>
          <p:grpSpPr>
            <a:xfrm>
              <a:off x="9049734" y="1974136"/>
              <a:ext cx="2890922" cy="3723372"/>
              <a:chOff x="9049734" y="1974136"/>
              <a:chExt cx="2890922" cy="3723372"/>
            </a:xfrm>
          </p:grpSpPr>
          <p:sp>
            <p:nvSpPr>
              <p:cNvPr id="46" name="Oval 45"/>
              <p:cNvSpPr/>
              <p:nvPr/>
            </p:nvSpPr>
            <p:spPr bwMode="ltGray">
              <a:xfrm>
                <a:off x="10141294" y="1974136"/>
                <a:ext cx="863810" cy="86381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Georgia" pitchFamily="18" charset="0"/>
                </a:endParaRPr>
              </a:p>
            </p:txBody>
          </p:sp>
          <p:sp>
            <p:nvSpPr>
              <p:cNvPr id="54" name="Rectangle 10"/>
              <p:cNvSpPr>
                <a:spLocks noChangeArrowheads="1"/>
              </p:cNvSpPr>
              <p:nvPr/>
            </p:nvSpPr>
            <p:spPr bwMode="auto">
              <a:xfrm>
                <a:off x="9609161" y="3230166"/>
                <a:ext cx="2331495" cy="246734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749" eaLnBrk="0" hangingPunct="0">
                  <a:spcAft>
                    <a:spcPts val="171"/>
                  </a:spcAft>
                  <a:defRPr/>
                </a:pPr>
                <a:r>
                  <a:rPr lang="el-GR" sz="1400" b="1" kern="0" dirty="0">
                    <a:solidFill>
                      <a:schemeClr val="tx2"/>
                    </a:solidFill>
                    <a:cs typeface="Arial" charset="0"/>
                  </a:rPr>
                  <a:t>ΜΑΚΡΟ</a:t>
                </a:r>
                <a:r>
                  <a:rPr lang="en-US" sz="1400" b="1" kern="0" dirty="0">
                    <a:solidFill>
                      <a:schemeClr val="tx2"/>
                    </a:solidFill>
                    <a:cs typeface="Arial" charset="0"/>
                  </a:rPr>
                  <a:t>X</a:t>
                </a:r>
                <a:r>
                  <a:rPr lang="el-GR" sz="1400" b="1" kern="0" dirty="0">
                    <a:solidFill>
                      <a:schemeClr val="tx2"/>
                    </a:solidFill>
                    <a:cs typeface="Arial" charset="0"/>
                  </a:rPr>
                  <a:t>ΡΟΝΙΟΣ ΑΝΤΙΚΤΥΠΟΣ</a:t>
                </a:r>
                <a:endParaRPr lang="en-GB" sz="1400" b="1" kern="0" dirty="0">
                  <a:solidFill>
                    <a:schemeClr val="tx2"/>
                  </a:solidFill>
                  <a:cs typeface="Arial" charset="0"/>
                </a:endParaRPr>
              </a:p>
              <a:p>
                <a:pPr defTabSz="682749" eaLnBrk="0" hangingPunct="0">
                  <a:spcAft>
                    <a:spcPts val="171"/>
                  </a:spcAft>
                  <a:defRPr/>
                </a:pPr>
                <a:endParaRPr lang="el-GR" sz="1200" kern="0" dirty="0">
                  <a:cs typeface="Arial" charset="0"/>
                </a:endParaRPr>
              </a:p>
              <a:p>
                <a:pPr marL="171450" indent="-171450" defTabSz="682749" eaLnBrk="0" hangingPunct="0">
                  <a:spcAft>
                    <a:spcPts val="171"/>
                  </a:spcAft>
                  <a:buFont typeface="Arial" panose="020B0604020202020204" pitchFamily="34" charset="0"/>
                  <a:buChar char="•"/>
                  <a:defRPr/>
                </a:pPr>
                <a:r>
                  <a:rPr lang="el-GR" sz="1400" kern="0" dirty="0">
                    <a:cs typeface="Arial" charset="0"/>
                  </a:rPr>
                  <a:t>Αύξηση κύκλου εργασιών ελληνικών εξαγωγικών  επιχειρήσεων</a:t>
                </a:r>
              </a:p>
              <a:p>
                <a:pPr marL="171450" indent="-171450" defTabSz="682749" eaLnBrk="0" hangingPunct="0">
                  <a:spcAft>
                    <a:spcPts val="171"/>
                  </a:spcAft>
                  <a:buFont typeface="Arial" panose="020B0604020202020204" pitchFamily="34" charset="0"/>
                  <a:buChar char="•"/>
                  <a:defRPr/>
                </a:pPr>
                <a:r>
                  <a:rPr lang="el-GR" sz="1400" kern="0" dirty="0">
                    <a:cs typeface="Arial" charset="0"/>
                  </a:rPr>
                  <a:t>Ενίσχυση της θέσης της Ελλάδας στα Δυτικά Βαλκάνια</a:t>
                </a:r>
              </a:p>
              <a:p>
                <a:pPr marL="171450" indent="-171450" defTabSz="682749" eaLnBrk="0" hangingPunct="0">
                  <a:spcAft>
                    <a:spcPts val="171"/>
                  </a:spcAft>
                  <a:buFont typeface="Arial" panose="020B0604020202020204" pitchFamily="34" charset="0"/>
                  <a:buChar char="•"/>
                  <a:defRPr/>
                </a:pPr>
                <a:r>
                  <a:rPr lang="el-GR" sz="1400" b="1" kern="0" dirty="0">
                    <a:cs typeface="Arial" charset="0"/>
                  </a:rPr>
                  <a:t>Ενίσχυση της Εξωστρέφειας της ελληνικής οικονομίας</a:t>
                </a:r>
              </a:p>
              <a:p>
                <a:pPr defTabSz="682749" eaLnBrk="0" hangingPunct="0">
                  <a:spcAft>
                    <a:spcPts val="171"/>
                  </a:spcAft>
                  <a:defRPr/>
                </a:pPr>
                <a:r>
                  <a:rPr lang="el-GR" sz="1400" b="1" kern="0" dirty="0">
                    <a:cs typeface="Arial" charset="0"/>
                  </a:rPr>
                  <a:t>     (Στρατηγικός Άξονας 3)</a:t>
                </a:r>
              </a:p>
            </p:txBody>
          </p:sp>
          <p:cxnSp>
            <p:nvCxnSpPr>
              <p:cNvPr id="114" name="Straight Arrow Connector 113">
                <a:extLst>
                  <a:ext uri="{FF2B5EF4-FFF2-40B4-BE49-F238E27FC236}">
                    <a16:creationId xmlns:a16="http://schemas.microsoft.com/office/drawing/2014/main" id="{7D6E3391-3F6D-4A80-8D53-34C1DE518783}"/>
                  </a:ext>
                </a:extLst>
              </p:cNvPr>
              <p:cNvCxnSpPr/>
              <p:nvPr/>
            </p:nvCxnSpPr>
            <p:spPr>
              <a:xfrm>
                <a:off x="9049734" y="2468881"/>
                <a:ext cx="785427" cy="0"/>
              </a:xfrm>
              <a:prstGeom prst="straightConnector1">
                <a:avLst/>
              </a:prstGeom>
              <a:noFill/>
              <a:ln w="47625" cap="rnd">
                <a:solidFill>
                  <a:schemeClr val="tx2">
                    <a:lumMod val="60000"/>
                    <a:lumOff val="40000"/>
                  </a:schemeClr>
                </a:solidFill>
                <a:prstDash val="sysDot"/>
                <a:bevel/>
                <a:headEnd type="none" w="med" len="med"/>
                <a:tailEnd type="triangle" w="med" len="med"/>
              </a:ln>
            </p:spPr>
          </p:cxnSp>
          <p:sp>
            <p:nvSpPr>
              <p:cNvPr id="130" name="Freeform 133">
                <a:extLst>
                  <a:ext uri="{FF2B5EF4-FFF2-40B4-BE49-F238E27FC236}">
                    <a16:creationId xmlns:a16="http://schemas.microsoft.com/office/drawing/2014/main" id="{D2DF9881-111E-4DDB-A421-157F90CF0AE1}"/>
                  </a:ext>
                </a:extLst>
              </p:cNvPr>
              <p:cNvSpPr>
                <a:spLocks noChangeAspect="1" noEditPoints="1"/>
              </p:cNvSpPr>
              <p:nvPr/>
            </p:nvSpPr>
            <p:spPr bwMode="auto">
              <a:xfrm>
                <a:off x="10245981" y="2076697"/>
                <a:ext cx="646164" cy="648000"/>
              </a:xfrm>
              <a:custGeom>
                <a:avLst/>
                <a:gdLst>
                  <a:gd name="T0" fmla="*/ 96 w 576"/>
                  <a:gd name="T1" fmla="*/ 191 h 576"/>
                  <a:gd name="T2" fmla="*/ 72 w 576"/>
                  <a:gd name="T3" fmla="*/ 216 h 576"/>
                  <a:gd name="T4" fmla="*/ 168 w 576"/>
                  <a:gd name="T5" fmla="*/ 96 h 576"/>
                  <a:gd name="T6" fmla="*/ 192 w 576"/>
                  <a:gd name="T7" fmla="*/ 216 h 576"/>
                  <a:gd name="T8" fmla="*/ 168 w 576"/>
                  <a:gd name="T9" fmla="*/ 96 h 576"/>
                  <a:gd name="T10" fmla="*/ 288 w 576"/>
                  <a:gd name="T11" fmla="*/ 144 h 576"/>
                  <a:gd name="T12" fmla="*/ 264 w 576"/>
                  <a:gd name="T13" fmla="*/ 216 h 576"/>
                  <a:gd name="T14" fmla="*/ 119 w 576"/>
                  <a:gd name="T15" fmla="*/ 240 h 576"/>
                  <a:gd name="T16" fmla="*/ 215 w 576"/>
                  <a:gd name="T17" fmla="*/ 240 h 576"/>
                  <a:gd name="T18" fmla="*/ 311 w 576"/>
                  <a:gd name="T19" fmla="*/ 240 h 576"/>
                  <a:gd name="T20" fmla="*/ 360 w 576"/>
                  <a:gd name="T21" fmla="*/ 216 h 576"/>
                  <a:gd name="T22" fmla="*/ 311 w 576"/>
                  <a:gd name="T23" fmla="*/ 119 h 576"/>
                  <a:gd name="T24" fmla="*/ 240 w 576"/>
                  <a:gd name="T25" fmla="*/ 216 h 576"/>
                  <a:gd name="T26" fmla="*/ 215 w 576"/>
                  <a:gd name="T27" fmla="*/ 72 h 576"/>
                  <a:gd name="T28" fmla="*/ 143 w 576"/>
                  <a:gd name="T29" fmla="*/ 216 h 576"/>
                  <a:gd name="T30" fmla="*/ 119 w 576"/>
                  <a:gd name="T31" fmla="*/ 168 h 576"/>
                  <a:gd name="T32" fmla="*/ 47 w 576"/>
                  <a:gd name="T33" fmla="*/ 216 h 576"/>
                  <a:gd name="T34" fmla="*/ 0 w 576"/>
                  <a:gd name="T35" fmla="*/ 240 h 576"/>
                  <a:gd name="T36" fmla="*/ 119 w 576"/>
                  <a:gd name="T37" fmla="*/ 240 h 576"/>
                  <a:gd name="T38" fmla="*/ 313 w 576"/>
                  <a:gd name="T39" fmla="*/ 312 h 576"/>
                  <a:gd name="T40" fmla="*/ 431 w 576"/>
                  <a:gd name="T41" fmla="*/ 312 h 576"/>
                  <a:gd name="T42" fmla="*/ 431 w 576"/>
                  <a:gd name="T43" fmla="*/ 431 h 576"/>
                  <a:gd name="T44" fmla="*/ 322 w 576"/>
                  <a:gd name="T45" fmla="*/ 439 h 576"/>
                  <a:gd name="T46" fmla="*/ 384 w 576"/>
                  <a:gd name="T47" fmla="*/ 408 h 576"/>
                  <a:gd name="T48" fmla="*/ 408 w 576"/>
                  <a:gd name="T49" fmla="*/ 336 h 576"/>
                  <a:gd name="T50" fmla="*/ 336 w 576"/>
                  <a:gd name="T51" fmla="*/ 360 h 576"/>
                  <a:gd name="T52" fmla="*/ 305 w 576"/>
                  <a:gd name="T53" fmla="*/ 422 h 576"/>
                  <a:gd name="T54" fmla="*/ 0 w 576"/>
                  <a:gd name="T55" fmla="*/ 0 h 576"/>
                  <a:gd name="T56" fmla="*/ 24 w 576"/>
                  <a:gd name="T57" fmla="*/ 191 h 576"/>
                  <a:gd name="T58" fmla="*/ 552 w 576"/>
                  <a:gd name="T59" fmla="*/ 24 h 576"/>
                  <a:gd name="T60" fmla="*/ 88 w 576"/>
                  <a:gd name="T61" fmla="*/ 551 h 576"/>
                  <a:gd name="T62" fmla="*/ 264 w 576"/>
                  <a:gd name="T63" fmla="*/ 496 h 576"/>
                  <a:gd name="T64" fmla="*/ 372 w 576"/>
                  <a:gd name="T65" fmla="*/ 479 h 576"/>
                  <a:gd name="T66" fmla="*/ 507 w 576"/>
                  <a:gd name="T67" fmla="*/ 524 h 576"/>
                  <a:gd name="T68" fmla="*/ 456 w 576"/>
                  <a:gd name="T69" fmla="*/ 439 h 576"/>
                  <a:gd name="T70" fmla="*/ 295 w 576"/>
                  <a:gd name="T71" fmla="*/ 295 h 576"/>
                  <a:gd name="T72" fmla="*/ 264 w 576"/>
                  <a:gd name="T73" fmla="*/ 462 h 576"/>
                  <a:gd name="T74" fmla="*/ 55 w 576"/>
                  <a:gd name="T75" fmla="*/ 551 h 576"/>
                  <a:gd name="T76" fmla="*/ 24 w 576"/>
                  <a:gd name="T77" fmla="*/ 264 h 576"/>
                  <a:gd name="T78" fmla="*/ 0 w 576"/>
                  <a:gd name="T79" fmla="*/ 576 h 576"/>
                  <a:gd name="T80" fmla="*/ 576 w 576"/>
                  <a:gd name="T81" fmla="*/ 0 h 576"/>
                  <a:gd name="T82" fmla="*/ 336 w 576"/>
                  <a:gd name="T83" fmla="*/ 96 h 576"/>
                  <a:gd name="T84" fmla="*/ 456 w 576"/>
                  <a:gd name="T85" fmla="*/ 72 h 576"/>
                  <a:gd name="T86" fmla="*/ 336 w 576"/>
                  <a:gd name="T87" fmla="*/ 96 h 576"/>
                  <a:gd name="T88" fmla="*/ 503 w 576"/>
                  <a:gd name="T89" fmla="*/ 96 h 576"/>
                  <a:gd name="T90" fmla="*/ 480 w 576"/>
                  <a:gd name="T91" fmla="*/ 72 h 576"/>
                  <a:gd name="T92" fmla="*/ 431 w 576"/>
                  <a:gd name="T93" fmla="*/ 144 h 576"/>
                  <a:gd name="T94" fmla="*/ 503 w 576"/>
                  <a:gd name="T95" fmla="*/ 119 h 576"/>
                  <a:gd name="T96" fmla="*/ 431 w 576"/>
                  <a:gd name="T97" fmla="*/ 144 h 576"/>
                  <a:gd name="T98" fmla="*/ 407 w 576"/>
                  <a:gd name="T99" fmla="*/ 144 h 576"/>
                  <a:gd name="T100" fmla="*/ 360 w 576"/>
                  <a:gd name="T101" fmla="*/ 119 h 576"/>
                  <a:gd name="T102" fmla="*/ 119 w 576"/>
                  <a:gd name="T103" fmla="*/ 312 h 576"/>
                  <a:gd name="T104" fmla="*/ 240 w 576"/>
                  <a:gd name="T105" fmla="*/ 287 h 576"/>
                  <a:gd name="T106" fmla="*/ 119 w 576"/>
                  <a:gd name="T107" fmla="*/ 312 h 576"/>
                  <a:gd name="T108" fmla="*/ 96 w 576"/>
                  <a:gd name="T109" fmla="*/ 312 h 576"/>
                  <a:gd name="T110" fmla="*/ 72 w 576"/>
                  <a:gd name="T111" fmla="*/ 287 h 576"/>
                  <a:gd name="T112" fmla="*/ 72 w 576"/>
                  <a:gd name="T113" fmla="*/ 359 h 576"/>
                  <a:gd name="T114" fmla="*/ 143 w 576"/>
                  <a:gd name="T115" fmla="*/ 336 h 576"/>
                  <a:gd name="T116" fmla="*/ 72 w 576"/>
                  <a:gd name="T117" fmla="*/ 359 h 576"/>
                  <a:gd name="T118" fmla="*/ 215 w 576"/>
                  <a:gd name="T119" fmla="*/ 359 h 576"/>
                  <a:gd name="T120" fmla="*/ 168 w 576"/>
                  <a:gd name="T121" fmla="*/ 33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6" h="576">
                    <a:moveTo>
                      <a:pt x="72" y="191"/>
                    </a:moveTo>
                    <a:cubicBezTo>
                      <a:pt x="96" y="191"/>
                      <a:pt x="96" y="191"/>
                      <a:pt x="96" y="191"/>
                    </a:cubicBezTo>
                    <a:cubicBezTo>
                      <a:pt x="96" y="216"/>
                      <a:pt x="96" y="216"/>
                      <a:pt x="96" y="216"/>
                    </a:cubicBezTo>
                    <a:cubicBezTo>
                      <a:pt x="72" y="216"/>
                      <a:pt x="72" y="216"/>
                      <a:pt x="72" y="216"/>
                    </a:cubicBezTo>
                    <a:lnTo>
                      <a:pt x="72" y="191"/>
                    </a:lnTo>
                    <a:close/>
                    <a:moveTo>
                      <a:pt x="168" y="96"/>
                    </a:moveTo>
                    <a:cubicBezTo>
                      <a:pt x="192" y="96"/>
                      <a:pt x="192" y="96"/>
                      <a:pt x="192" y="96"/>
                    </a:cubicBezTo>
                    <a:cubicBezTo>
                      <a:pt x="192" y="216"/>
                      <a:pt x="192" y="216"/>
                      <a:pt x="192" y="216"/>
                    </a:cubicBezTo>
                    <a:cubicBezTo>
                      <a:pt x="168" y="216"/>
                      <a:pt x="168" y="216"/>
                      <a:pt x="168" y="216"/>
                    </a:cubicBezTo>
                    <a:lnTo>
                      <a:pt x="168" y="96"/>
                    </a:lnTo>
                    <a:close/>
                    <a:moveTo>
                      <a:pt x="264" y="144"/>
                    </a:moveTo>
                    <a:cubicBezTo>
                      <a:pt x="288" y="144"/>
                      <a:pt x="288" y="144"/>
                      <a:pt x="288" y="144"/>
                    </a:cubicBezTo>
                    <a:cubicBezTo>
                      <a:pt x="288" y="216"/>
                      <a:pt x="288" y="216"/>
                      <a:pt x="288" y="216"/>
                    </a:cubicBezTo>
                    <a:cubicBezTo>
                      <a:pt x="264" y="216"/>
                      <a:pt x="264" y="216"/>
                      <a:pt x="264" y="216"/>
                    </a:cubicBezTo>
                    <a:lnTo>
                      <a:pt x="264" y="144"/>
                    </a:lnTo>
                    <a:close/>
                    <a:moveTo>
                      <a:pt x="119" y="240"/>
                    </a:moveTo>
                    <a:cubicBezTo>
                      <a:pt x="143" y="240"/>
                      <a:pt x="143" y="240"/>
                      <a:pt x="143" y="240"/>
                    </a:cubicBezTo>
                    <a:cubicBezTo>
                      <a:pt x="215" y="240"/>
                      <a:pt x="215" y="240"/>
                      <a:pt x="215" y="240"/>
                    </a:cubicBezTo>
                    <a:cubicBezTo>
                      <a:pt x="240" y="240"/>
                      <a:pt x="240" y="240"/>
                      <a:pt x="240" y="240"/>
                    </a:cubicBezTo>
                    <a:cubicBezTo>
                      <a:pt x="311" y="240"/>
                      <a:pt x="311" y="240"/>
                      <a:pt x="311" y="240"/>
                    </a:cubicBezTo>
                    <a:cubicBezTo>
                      <a:pt x="360" y="240"/>
                      <a:pt x="360" y="240"/>
                      <a:pt x="360" y="240"/>
                    </a:cubicBezTo>
                    <a:cubicBezTo>
                      <a:pt x="360" y="216"/>
                      <a:pt x="360" y="216"/>
                      <a:pt x="360" y="216"/>
                    </a:cubicBezTo>
                    <a:cubicBezTo>
                      <a:pt x="311" y="216"/>
                      <a:pt x="311" y="216"/>
                      <a:pt x="311" y="216"/>
                    </a:cubicBezTo>
                    <a:cubicBezTo>
                      <a:pt x="311" y="119"/>
                      <a:pt x="311" y="119"/>
                      <a:pt x="311" y="119"/>
                    </a:cubicBezTo>
                    <a:cubicBezTo>
                      <a:pt x="240" y="119"/>
                      <a:pt x="240" y="119"/>
                      <a:pt x="240" y="119"/>
                    </a:cubicBezTo>
                    <a:cubicBezTo>
                      <a:pt x="240" y="216"/>
                      <a:pt x="240" y="216"/>
                      <a:pt x="240" y="216"/>
                    </a:cubicBezTo>
                    <a:cubicBezTo>
                      <a:pt x="215" y="216"/>
                      <a:pt x="215" y="216"/>
                      <a:pt x="215" y="216"/>
                    </a:cubicBezTo>
                    <a:cubicBezTo>
                      <a:pt x="215" y="72"/>
                      <a:pt x="215" y="72"/>
                      <a:pt x="215" y="72"/>
                    </a:cubicBezTo>
                    <a:cubicBezTo>
                      <a:pt x="143" y="72"/>
                      <a:pt x="143" y="72"/>
                      <a:pt x="143" y="72"/>
                    </a:cubicBezTo>
                    <a:cubicBezTo>
                      <a:pt x="143" y="216"/>
                      <a:pt x="143" y="216"/>
                      <a:pt x="143" y="216"/>
                    </a:cubicBezTo>
                    <a:cubicBezTo>
                      <a:pt x="119" y="216"/>
                      <a:pt x="119" y="216"/>
                      <a:pt x="119" y="216"/>
                    </a:cubicBezTo>
                    <a:cubicBezTo>
                      <a:pt x="119" y="168"/>
                      <a:pt x="119" y="168"/>
                      <a:pt x="119" y="168"/>
                    </a:cubicBezTo>
                    <a:cubicBezTo>
                      <a:pt x="47" y="168"/>
                      <a:pt x="47" y="168"/>
                      <a:pt x="47" y="168"/>
                    </a:cubicBezTo>
                    <a:cubicBezTo>
                      <a:pt x="47" y="216"/>
                      <a:pt x="47" y="216"/>
                      <a:pt x="47" y="216"/>
                    </a:cubicBezTo>
                    <a:cubicBezTo>
                      <a:pt x="0" y="216"/>
                      <a:pt x="0" y="216"/>
                      <a:pt x="0" y="216"/>
                    </a:cubicBezTo>
                    <a:cubicBezTo>
                      <a:pt x="0" y="240"/>
                      <a:pt x="0" y="240"/>
                      <a:pt x="0" y="240"/>
                    </a:cubicBezTo>
                    <a:cubicBezTo>
                      <a:pt x="47" y="240"/>
                      <a:pt x="47" y="240"/>
                      <a:pt x="47" y="240"/>
                    </a:cubicBezTo>
                    <a:lnTo>
                      <a:pt x="119" y="240"/>
                    </a:lnTo>
                    <a:close/>
                    <a:moveTo>
                      <a:pt x="288" y="372"/>
                    </a:moveTo>
                    <a:cubicBezTo>
                      <a:pt x="288" y="349"/>
                      <a:pt x="296" y="328"/>
                      <a:pt x="313" y="312"/>
                    </a:cubicBezTo>
                    <a:cubicBezTo>
                      <a:pt x="329" y="296"/>
                      <a:pt x="350" y="288"/>
                      <a:pt x="372" y="288"/>
                    </a:cubicBezTo>
                    <a:cubicBezTo>
                      <a:pt x="393" y="288"/>
                      <a:pt x="415" y="296"/>
                      <a:pt x="431" y="312"/>
                    </a:cubicBezTo>
                    <a:cubicBezTo>
                      <a:pt x="447" y="328"/>
                      <a:pt x="456" y="349"/>
                      <a:pt x="456" y="372"/>
                    </a:cubicBezTo>
                    <a:cubicBezTo>
                      <a:pt x="456" y="394"/>
                      <a:pt x="447" y="415"/>
                      <a:pt x="431" y="431"/>
                    </a:cubicBezTo>
                    <a:cubicBezTo>
                      <a:pt x="416" y="447"/>
                      <a:pt x="394" y="455"/>
                      <a:pt x="372" y="455"/>
                    </a:cubicBezTo>
                    <a:cubicBezTo>
                      <a:pt x="353" y="455"/>
                      <a:pt x="336" y="449"/>
                      <a:pt x="322" y="439"/>
                    </a:cubicBezTo>
                    <a:cubicBezTo>
                      <a:pt x="384" y="377"/>
                      <a:pt x="384" y="377"/>
                      <a:pt x="384" y="377"/>
                    </a:cubicBezTo>
                    <a:cubicBezTo>
                      <a:pt x="384" y="408"/>
                      <a:pt x="384" y="408"/>
                      <a:pt x="384" y="408"/>
                    </a:cubicBezTo>
                    <a:cubicBezTo>
                      <a:pt x="408" y="408"/>
                      <a:pt x="408" y="408"/>
                      <a:pt x="408" y="408"/>
                    </a:cubicBezTo>
                    <a:cubicBezTo>
                      <a:pt x="408" y="336"/>
                      <a:pt x="408" y="336"/>
                      <a:pt x="408" y="336"/>
                    </a:cubicBezTo>
                    <a:cubicBezTo>
                      <a:pt x="336" y="336"/>
                      <a:pt x="336" y="336"/>
                      <a:pt x="336" y="336"/>
                    </a:cubicBezTo>
                    <a:cubicBezTo>
                      <a:pt x="336" y="360"/>
                      <a:pt x="336" y="360"/>
                      <a:pt x="336" y="360"/>
                    </a:cubicBezTo>
                    <a:cubicBezTo>
                      <a:pt x="367" y="360"/>
                      <a:pt x="367" y="360"/>
                      <a:pt x="367" y="360"/>
                    </a:cubicBezTo>
                    <a:cubicBezTo>
                      <a:pt x="305" y="422"/>
                      <a:pt x="305" y="422"/>
                      <a:pt x="305" y="422"/>
                    </a:cubicBezTo>
                    <a:cubicBezTo>
                      <a:pt x="294" y="407"/>
                      <a:pt x="288" y="390"/>
                      <a:pt x="288" y="372"/>
                    </a:cubicBezTo>
                    <a:close/>
                    <a:moveTo>
                      <a:pt x="0" y="0"/>
                    </a:moveTo>
                    <a:cubicBezTo>
                      <a:pt x="0" y="191"/>
                      <a:pt x="0" y="191"/>
                      <a:pt x="0" y="191"/>
                    </a:cubicBezTo>
                    <a:cubicBezTo>
                      <a:pt x="24" y="191"/>
                      <a:pt x="24" y="191"/>
                      <a:pt x="24" y="191"/>
                    </a:cubicBezTo>
                    <a:cubicBezTo>
                      <a:pt x="24" y="24"/>
                      <a:pt x="24" y="24"/>
                      <a:pt x="24" y="24"/>
                    </a:cubicBezTo>
                    <a:cubicBezTo>
                      <a:pt x="552" y="24"/>
                      <a:pt x="552" y="24"/>
                      <a:pt x="552" y="24"/>
                    </a:cubicBezTo>
                    <a:cubicBezTo>
                      <a:pt x="552" y="551"/>
                      <a:pt x="552" y="551"/>
                      <a:pt x="552" y="551"/>
                    </a:cubicBezTo>
                    <a:cubicBezTo>
                      <a:pt x="88" y="551"/>
                      <a:pt x="88" y="551"/>
                      <a:pt x="88" y="551"/>
                    </a:cubicBezTo>
                    <a:cubicBezTo>
                      <a:pt x="203" y="436"/>
                      <a:pt x="203" y="436"/>
                      <a:pt x="203" y="436"/>
                    </a:cubicBezTo>
                    <a:cubicBezTo>
                      <a:pt x="264" y="496"/>
                      <a:pt x="264" y="496"/>
                      <a:pt x="264" y="496"/>
                    </a:cubicBezTo>
                    <a:cubicBezTo>
                      <a:pt x="305" y="455"/>
                      <a:pt x="305" y="455"/>
                      <a:pt x="305" y="455"/>
                    </a:cubicBezTo>
                    <a:cubicBezTo>
                      <a:pt x="325" y="471"/>
                      <a:pt x="348" y="479"/>
                      <a:pt x="372" y="479"/>
                    </a:cubicBezTo>
                    <a:cubicBezTo>
                      <a:pt x="396" y="479"/>
                      <a:pt x="419" y="471"/>
                      <a:pt x="439" y="455"/>
                    </a:cubicBezTo>
                    <a:cubicBezTo>
                      <a:pt x="507" y="524"/>
                      <a:pt x="507" y="524"/>
                      <a:pt x="507" y="524"/>
                    </a:cubicBezTo>
                    <a:cubicBezTo>
                      <a:pt x="524" y="507"/>
                      <a:pt x="524" y="507"/>
                      <a:pt x="524" y="507"/>
                    </a:cubicBezTo>
                    <a:cubicBezTo>
                      <a:pt x="456" y="439"/>
                      <a:pt x="456" y="439"/>
                      <a:pt x="456" y="439"/>
                    </a:cubicBezTo>
                    <a:cubicBezTo>
                      <a:pt x="490" y="396"/>
                      <a:pt x="487" y="334"/>
                      <a:pt x="448" y="295"/>
                    </a:cubicBezTo>
                    <a:cubicBezTo>
                      <a:pt x="406" y="253"/>
                      <a:pt x="337" y="253"/>
                      <a:pt x="295" y="295"/>
                    </a:cubicBezTo>
                    <a:cubicBezTo>
                      <a:pt x="256" y="334"/>
                      <a:pt x="254" y="396"/>
                      <a:pt x="288" y="439"/>
                    </a:cubicBezTo>
                    <a:cubicBezTo>
                      <a:pt x="264" y="462"/>
                      <a:pt x="264" y="462"/>
                      <a:pt x="264" y="462"/>
                    </a:cubicBezTo>
                    <a:cubicBezTo>
                      <a:pt x="203" y="403"/>
                      <a:pt x="203" y="403"/>
                      <a:pt x="203" y="403"/>
                    </a:cubicBezTo>
                    <a:cubicBezTo>
                      <a:pt x="55" y="551"/>
                      <a:pt x="55" y="551"/>
                      <a:pt x="55" y="551"/>
                    </a:cubicBezTo>
                    <a:cubicBezTo>
                      <a:pt x="24" y="551"/>
                      <a:pt x="24" y="551"/>
                      <a:pt x="24" y="551"/>
                    </a:cubicBezTo>
                    <a:cubicBezTo>
                      <a:pt x="24" y="264"/>
                      <a:pt x="24" y="264"/>
                      <a:pt x="24" y="264"/>
                    </a:cubicBezTo>
                    <a:cubicBezTo>
                      <a:pt x="0" y="264"/>
                      <a:pt x="0" y="264"/>
                      <a:pt x="0" y="264"/>
                    </a:cubicBezTo>
                    <a:cubicBezTo>
                      <a:pt x="0" y="576"/>
                      <a:pt x="0" y="576"/>
                      <a:pt x="0" y="576"/>
                    </a:cubicBezTo>
                    <a:cubicBezTo>
                      <a:pt x="576" y="576"/>
                      <a:pt x="576" y="576"/>
                      <a:pt x="576" y="576"/>
                    </a:cubicBezTo>
                    <a:cubicBezTo>
                      <a:pt x="576" y="0"/>
                      <a:pt x="576" y="0"/>
                      <a:pt x="576" y="0"/>
                    </a:cubicBezTo>
                    <a:lnTo>
                      <a:pt x="0" y="0"/>
                    </a:lnTo>
                    <a:close/>
                    <a:moveTo>
                      <a:pt x="336" y="96"/>
                    </a:moveTo>
                    <a:cubicBezTo>
                      <a:pt x="456" y="96"/>
                      <a:pt x="456" y="96"/>
                      <a:pt x="456" y="96"/>
                    </a:cubicBezTo>
                    <a:cubicBezTo>
                      <a:pt x="456" y="72"/>
                      <a:pt x="456" y="72"/>
                      <a:pt x="456" y="72"/>
                    </a:cubicBezTo>
                    <a:cubicBezTo>
                      <a:pt x="336" y="72"/>
                      <a:pt x="336" y="72"/>
                      <a:pt x="336" y="72"/>
                    </a:cubicBezTo>
                    <a:lnTo>
                      <a:pt x="336" y="96"/>
                    </a:lnTo>
                    <a:close/>
                    <a:moveTo>
                      <a:pt x="480" y="96"/>
                    </a:moveTo>
                    <a:cubicBezTo>
                      <a:pt x="503" y="96"/>
                      <a:pt x="503" y="96"/>
                      <a:pt x="503" y="96"/>
                    </a:cubicBezTo>
                    <a:cubicBezTo>
                      <a:pt x="503" y="72"/>
                      <a:pt x="503" y="72"/>
                      <a:pt x="503" y="72"/>
                    </a:cubicBezTo>
                    <a:cubicBezTo>
                      <a:pt x="480" y="72"/>
                      <a:pt x="480" y="72"/>
                      <a:pt x="480" y="72"/>
                    </a:cubicBezTo>
                    <a:lnTo>
                      <a:pt x="480" y="96"/>
                    </a:lnTo>
                    <a:close/>
                    <a:moveTo>
                      <a:pt x="431" y="144"/>
                    </a:moveTo>
                    <a:cubicBezTo>
                      <a:pt x="503" y="144"/>
                      <a:pt x="503" y="144"/>
                      <a:pt x="503" y="144"/>
                    </a:cubicBezTo>
                    <a:cubicBezTo>
                      <a:pt x="503" y="119"/>
                      <a:pt x="503" y="119"/>
                      <a:pt x="503" y="119"/>
                    </a:cubicBezTo>
                    <a:cubicBezTo>
                      <a:pt x="431" y="119"/>
                      <a:pt x="431" y="119"/>
                      <a:pt x="431" y="119"/>
                    </a:cubicBezTo>
                    <a:lnTo>
                      <a:pt x="431" y="144"/>
                    </a:lnTo>
                    <a:close/>
                    <a:moveTo>
                      <a:pt x="360" y="144"/>
                    </a:moveTo>
                    <a:cubicBezTo>
                      <a:pt x="407" y="144"/>
                      <a:pt x="407" y="144"/>
                      <a:pt x="407" y="144"/>
                    </a:cubicBezTo>
                    <a:cubicBezTo>
                      <a:pt x="407" y="119"/>
                      <a:pt x="407" y="119"/>
                      <a:pt x="407" y="119"/>
                    </a:cubicBezTo>
                    <a:cubicBezTo>
                      <a:pt x="360" y="119"/>
                      <a:pt x="360" y="119"/>
                      <a:pt x="360" y="119"/>
                    </a:cubicBezTo>
                    <a:lnTo>
                      <a:pt x="360" y="144"/>
                    </a:lnTo>
                    <a:close/>
                    <a:moveTo>
                      <a:pt x="119" y="312"/>
                    </a:moveTo>
                    <a:cubicBezTo>
                      <a:pt x="240" y="312"/>
                      <a:pt x="240" y="312"/>
                      <a:pt x="240" y="312"/>
                    </a:cubicBezTo>
                    <a:cubicBezTo>
                      <a:pt x="240" y="287"/>
                      <a:pt x="240" y="287"/>
                      <a:pt x="240" y="287"/>
                    </a:cubicBezTo>
                    <a:cubicBezTo>
                      <a:pt x="119" y="287"/>
                      <a:pt x="119" y="287"/>
                      <a:pt x="119" y="287"/>
                    </a:cubicBezTo>
                    <a:lnTo>
                      <a:pt x="119" y="312"/>
                    </a:lnTo>
                    <a:close/>
                    <a:moveTo>
                      <a:pt x="72" y="312"/>
                    </a:moveTo>
                    <a:cubicBezTo>
                      <a:pt x="96" y="312"/>
                      <a:pt x="96" y="312"/>
                      <a:pt x="96" y="312"/>
                    </a:cubicBezTo>
                    <a:cubicBezTo>
                      <a:pt x="96" y="287"/>
                      <a:pt x="96" y="287"/>
                      <a:pt x="96" y="287"/>
                    </a:cubicBezTo>
                    <a:cubicBezTo>
                      <a:pt x="72" y="287"/>
                      <a:pt x="72" y="287"/>
                      <a:pt x="72" y="287"/>
                    </a:cubicBezTo>
                    <a:lnTo>
                      <a:pt x="72" y="312"/>
                    </a:lnTo>
                    <a:close/>
                    <a:moveTo>
                      <a:pt x="72" y="359"/>
                    </a:moveTo>
                    <a:cubicBezTo>
                      <a:pt x="143" y="359"/>
                      <a:pt x="143" y="359"/>
                      <a:pt x="143" y="359"/>
                    </a:cubicBezTo>
                    <a:cubicBezTo>
                      <a:pt x="143" y="336"/>
                      <a:pt x="143" y="336"/>
                      <a:pt x="143" y="336"/>
                    </a:cubicBezTo>
                    <a:cubicBezTo>
                      <a:pt x="72" y="336"/>
                      <a:pt x="72" y="336"/>
                      <a:pt x="72" y="336"/>
                    </a:cubicBezTo>
                    <a:lnTo>
                      <a:pt x="72" y="359"/>
                    </a:lnTo>
                    <a:close/>
                    <a:moveTo>
                      <a:pt x="168" y="359"/>
                    </a:moveTo>
                    <a:cubicBezTo>
                      <a:pt x="215" y="359"/>
                      <a:pt x="215" y="359"/>
                      <a:pt x="215" y="359"/>
                    </a:cubicBezTo>
                    <a:cubicBezTo>
                      <a:pt x="215" y="336"/>
                      <a:pt x="215" y="336"/>
                      <a:pt x="215" y="336"/>
                    </a:cubicBezTo>
                    <a:cubicBezTo>
                      <a:pt x="168" y="336"/>
                      <a:pt x="168" y="336"/>
                      <a:pt x="168" y="336"/>
                    </a:cubicBezTo>
                    <a:lnTo>
                      <a:pt x="168" y="3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cxnSp>
            <p:nvCxnSpPr>
              <p:cNvPr id="69" name="Straight Connector 68">
                <a:extLst>
                  <a:ext uri="{FF2B5EF4-FFF2-40B4-BE49-F238E27FC236}">
                    <a16:creationId xmlns:a16="http://schemas.microsoft.com/office/drawing/2014/main" id="{465CA107-A8E3-48B7-B662-9C9439E7EB4F}"/>
                  </a:ext>
                </a:extLst>
              </p:cNvPr>
              <p:cNvCxnSpPr>
                <a:cxnSpLocks/>
              </p:cNvCxnSpPr>
              <p:nvPr/>
            </p:nvCxnSpPr>
            <p:spPr>
              <a:xfrm flipV="1">
                <a:off x="9835161" y="3511933"/>
                <a:ext cx="1908000" cy="9391"/>
              </a:xfrm>
              <a:prstGeom prst="line">
                <a:avLst/>
              </a:prstGeom>
              <a:ln w="12700">
                <a:solidFill>
                  <a:srgbClr val="013476"/>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31" name="Group 130">
            <a:extLst>
              <a:ext uri="{FF2B5EF4-FFF2-40B4-BE49-F238E27FC236}">
                <a16:creationId xmlns:a16="http://schemas.microsoft.com/office/drawing/2014/main" id="{B91D4F41-9EA0-4B76-8077-842A73486BE0}"/>
              </a:ext>
            </a:extLst>
          </p:cNvPr>
          <p:cNvGrpSpPr/>
          <p:nvPr/>
        </p:nvGrpSpPr>
        <p:grpSpPr>
          <a:xfrm>
            <a:off x="9144168" y="1082123"/>
            <a:ext cx="2447734" cy="360000"/>
            <a:chOff x="9144168" y="1082123"/>
            <a:chExt cx="2447734" cy="360000"/>
          </a:xfrm>
        </p:grpSpPr>
        <p:sp>
          <p:nvSpPr>
            <p:cNvPr id="135" name="Rectangle 134">
              <a:extLst>
                <a:ext uri="{FF2B5EF4-FFF2-40B4-BE49-F238E27FC236}">
                  <a16:creationId xmlns:a16="http://schemas.microsoft.com/office/drawing/2014/main" id="{49E6CB16-6903-4F10-84A3-5C3D0B6AC7A3}"/>
                </a:ext>
              </a:extLst>
            </p:cNvPr>
            <p:cNvSpPr/>
            <p:nvPr/>
          </p:nvSpPr>
          <p:spPr>
            <a:xfrm>
              <a:off x="950682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136" name="Rectangle 135">
              <a:extLst>
                <a:ext uri="{FF2B5EF4-FFF2-40B4-BE49-F238E27FC236}">
                  <a16:creationId xmlns:a16="http://schemas.microsoft.com/office/drawing/2014/main" id="{003CA9EE-DEF0-4F19-8299-24F70CE3D794}"/>
                </a:ext>
              </a:extLst>
            </p:cNvPr>
            <p:cNvSpPr/>
            <p:nvPr/>
          </p:nvSpPr>
          <p:spPr>
            <a:xfrm>
              <a:off x="9935242"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137" name="Rectangle 136">
              <a:extLst>
                <a:ext uri="{FF2B5EF4-FFF2-40B4-BE49-F238E27FC236}">
                  <a16:creationId xmlns:a16="http://schemas.microsoft.com/office/drawing/2014/main" id="{D0007292-A492-4CAC-99E6-91F77DD2597E}"/>
                </a:ext>
              </a:extLst>
            </p:cNvPr>
            <p:cNvSpPr/>
            <p:nvPr/>
          </p:nvSpPr>
          <p:spPr>
            <a:xfrm>
              <a:off x="10369540" y="1082123"/>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138" name="Rectangle 137">
              <a:extLst>
                <a:ext uri="{FF2B5EF4-FFF2-40B4-BE49-F238E27FC236}">
                  <a16:creationId xmlns:a16="http://schemas.microsoft.com/office/drawing/2014/main" id="{A19A4E64-F579-4CBA-BA61-29240F88348E}"/>
                </a:ext>
              </a:extLst>
            </p:cNvPr>
            <p:cNvSpPr/>
            <p:nvPr/>
          </p:nvSpPr>
          <p:spPr>
            <a:xfrm>
              <a:off x="10797248"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139" name="Rectangle 138">
              <a:extLst>
                <a:ext uri="{FF2B5EF4-FFF2-40B4-BE49-F238E27FC236}">
                  <a16:creationId xmlns:a16="http://schemas.microsoft.com/office/drawing/2014/main" id="{C97D3201-EBB8-4699-AC0E-4040B6F9020E}"/>
                </a:ext>
              </a:extLst>
            </p:cNvPr>
            <p:cNvSpPr/>
            <p:nvPr/>
          </p:nvSpPr>
          <p:spPr>
            <a:xfrm>
              <a:off x="1123190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140" name="Group 51">
              <a:extLst>
                <a:ext uri="{FF2B5EF4-FFF2-40B4-BE49-F238E27FC236}">
                  <a16:creationId xmlns:a16="http://schemas.microsoft.com/office/drawing/2014/main" id="{D7DBE735-B9C0-41B9-B772-1EB059CAC3E8}"/>
                </a:ext>
              </a:extLst>
            </p:cNvPr>
            <p:cNvGrpSpPr/>
            <p:nvPr/>
          </p:nvGrpSpPr>
          <p:grpSpPr>
            <a:xfrm>
              <a:off x="9144168" y="1097414"/>
              <a:ext cx="288000" cy="288000"/>
              <a:chOff x="1024834" y="3136678"/>
              <a:chExt cx="1791641" cy="1794690"/>
            </a:xfrm>
            <a:solidFill>
              <a:srgbClr val="013476"/>
            </a:solidFill>
          </p:grpSpPr>
          <p:sp>
            <p:nvSpPr>
              <p:cNvPr id="141" name="Rectangle 228">
                <a:extLst>
                  <a:ext uri="{FF2B5EF4-FFF2-40B4-BE49-F238E27FC236}">
                    <a16:creationId xmlns:a16="http://schemas.microsoft.com/office/drawing/2014/main" id="{F7EDD2CB-78ED-47AF-99B3-2744FC56C090}"/>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142" name="Group 53">
                <a:extLst>
                  <a:ext uri="{FF2B5EF4-FFF2-40B4-BE49-F238E27FC236}">
                    <a16:creationId xmlns:a16="http://schemas.microsoft.com/office/drawing/2014/main" id="{F0294842-D6FB-40E8-B334-D6CB539F4A7F}"/>
                  </a:ext>
                </a:extLst>
              </p:cNvPr>
              <p:cNvGrpSpPr/>
              <p:nvPr/>
            </p:nvGrpSpPr>
            <p:grpSpPr>
              <a:xfrm>
                <a:off x="1024834" y="3136678"/>
                <a:ext cx="1791641" cy="1794690"/>
                <a:chOff x="1024834" y="3136678"/>
                <a:chExt cx="1791641" cy="1794690"/>
              </a:xfrm>
              <a:grpFill/>
            </p:grpSpPr>
            <p:sp>
              <p:nvSpPr>
                <p:cNvPr id="143" name="Rectangle 218">
                  <a:extLst>
                    <a:ext uri="{FF2B5EF4-FFF2-40B4-BE49-F238E27FC236}">
                      <a16:creationId xmlns:a16="http://schemas.microsoft.com/office/drawing/2014/main" id="{D4063B97-A328-4961-AB34-94AD95D77D02}"/>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144" name="Group 55">
                  <a:extLst>
                    <a:ext uri="{FF2B5EF4-FFF2-40B4-BE49-F238E27FC236}">
                      <a16:creationId xmlns:a16="http://schemas.microsoft.com/office/drawing/2014/main" id="{02BD8A77-24DD-43B4-BFDE-309AC13C6F4C}"/>
                    </a:ext>
                  </a:extLst>
                </p:cNvPr>
                <p:cNvGrpSpPr/>
                <p:nvPr/>
              </p:nvGrpSpPr>
              <p:grpSpPr>
                <a:xfrm>
                  <a:off x="1024834" y="3136678"/>
                  <a:ext cx="1791641" cy="1695618"/>
                  <a:chOff x="5289671" y="2145561"/>
                  <a:chExt cx="255588" cy="241897"/>
                </a:xfrm>
                <a:grpFill/>
              </p:grpSpPr>
              <p:sp>
                <p:nvSpPr>
                  <p:cNvPr id="148" name="Freeform 227">
                    <a:extLst>
                      <a:ext uri="{FF2B5EF4-FFF2-40B4-BE49-F238E27FC236}">
                        <a16:creationId xmlns:a16="http://schemas.microsoft.com/office/drawing/2014/main" id="{D58456BB-DE1E-44A2-8132-5F1AA1FFD3A8}"/>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149" name="Rectangle 228">
                    <a:extLst>
                      <a:ext uri="{FF2B5EF4-FFF2-40B4-BE49-F238E27FC236}">
                        <a16:creationId xmlns:a16="http://schemas.microsoft.com/office/drawing/2014/main" id="{322A474A-EFA2-4B0F-AA69-77218E629917}"/>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50" name="Rectangle 229">
                    <a:extLst>
                      <a:ext uri="{FF2B5EF4-FFF2-40B4-BE49-F238E27FC236}">
                        <a16:creationId xmlns:a16="http://schemas.microsoft.com/office/drawing/2014/main" id="{E715F726-FC58-444E-8E35-396EF4799971}"/>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145" name="Rectangle 144">
                  <a:extLst>
                    <a:ext uri="{FF2B5EF4-FFF2-40B4-BE49-F238E27FC236}">
                      <a16:creationId xmlns:a16="http://schemas.microsoft.com/office/drawing/2014/main" id="{4A5F9151-E1A4-4220-9B49-7B5FA6FB5D5A}"/>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46" name="Rectangle 145">
                  <a:extLst>
                    <a:ext uri="{FF2B5EF4-FFF2-40B4-BE49-F238E27FC236}">
                      <a16:creationId xmlns:a16="http://schemas.microsoft.com/office/drawing/2014/main" id="{61C5BB7C-A0F7-4645-816A-856962E5F442}"/>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147" name="Rectangle 146">
                  <a:extLst>
                    <a:ext uri="{FF2B5EF4-FFF2-40B4-BE49-F238E27FC236}">
                      <a16:creationId xmlns:a16="http://schemas.microsoft.com/office/drawing/2014/main" id="{34CDF762-44BF-4A1A-9AAF-3347F33B3158}"/>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grpSp>
        <p:nvGrpSpPr>
          <p:cNvPr id="37" name="Ομάδα 36">
            <a:extLst>
              <a:ext uri="{FF2B5EF4-FFF2-40B4-BE49-F238E27FC236}">
                <a16:creationId xmlns:a16="http://schemas.microsoft.com/office/drawing/2014/main" id="{ED703D82-657E-41F6-9509-8231488D71A4}"/>
              </a:ext>
            </a:extLst>
          </p:cNvPr>
          <p:cNvGrpSpPr/>
          <p:nvPr/>
        </p:nvGrpSpPr>
        <p:grpSpPr>
          <a:xfrm>
            <a:off x="340343" y="2439930"/>
            <a:ext cx="11600316" cy="4213750"/>
            <a:chOff x="340343" y="2439930"/>
            <a:chExt cx="11600316" cy="4213750"/>
          </a:xfrm>
        </p:grpSpPr>
        <p:cxnSp>
          <p:nvCxnSpPr>
            <p:cNvPr id="103" name="Straight Arrow Connector 113">
              <a:extLst>
                <a:ext uri="{FF2B5EF4-FFF2-40B4-BE49-F238E27FC236}">
                  <a16:creationId xmlns:a16="http://schemas.microsoft.com/office/drawing/2014/main" id="{E6584508-8D38-419C-967A-E3AC2909B115}"/>
                </a:ext>
              </a:extLst>
            </p:cNvPr>
            <p:cNvCxnSpPr>
              <a:cxnSpLocks/>
            </p:cNvCxnSpPr>
            <p:nvPr/>
          </p:nvCxnSpPr>
          <p:spPr>
            <a:xfrm flipH="1">
              <a:off x="340343" y="6653680"/>
              <a:ext cx="11510407" cy="0"/>
            </a:xfrm>
            <a:prstGeom prst="straightConnector1">
              <a:avLst/>
            </a:prstGeom>
            <a:noFill/>
            <a:ln w="31750" cap="rnd">
              <a:solidFill>
                <a:schemeClr val="tx2">
                  <a:lumMod val="60000"/>
                  <a:lumOff val="40000"/>
                </a:schemeClr>
              </a:solidFill>
              <a:prstDash val="sysDot"/>
              <a:bevel/>
              <a:headEnd type="none" w="med" len="med"/>
              <a:tailEnd type="triangle" w="med" len="med"/>
            </a:ln>
          </p:spPr>
        </p:cxnSp>
        <p:cxnSp>
          <p:nvCxnSpPr>
            <p:cNvPr id="104" name="Straight Arrow Connector 113">
              <a:extLst>
                <a:ext uri="{FF2B5EF4-FFF2-40B4-BE49-F238E27FC236}">
                  <a16:creationId xmlns:a16="http://schemas.microsoft.com/office/drawing/2014/main" id="{2EF38912-2ECF-44A2-9BB7-78EF4EBDD745}"/>
                </a:ext>
              </a:extLst>
            </p:cNvPr>
            <p:cNvCxnSpPr>
              <a:cxnSpLocks/>
            </p:cNvCxnSpPr>
            <p:nvPr/>
          </p:nvCxnSpPr>
          <p:spPr>
            <a:xfrm>
              <a:off x="11940659" y="2496059"/>
              <a:ext cx="0" cy="4157621"/>
            </a:xfrm>
            <a:prstGeom prst="straightConnector1">
              <a:avLst/>
            </a:prstGeom>
            <a:noFill/>
            <a:ln w="31750" cap="rnd">
              <a:solidFill>
                <a:schemeClr val="tx2">
                  <a:lumMod val="60000"/>
                  <a:lumOff val="40000"/>
                </a:schemeClr>
              </a:solidFill>
              <a:prstDash val="sysDot"/>
              <a:bevel/>
              <a:headEnd type="none" w="med" len="med"/>
              <a:tailEnd type="triangle" w="med" len="med"/>
            </a:ln>
          </p:spPr>
        </p:cxnSp>
        <p:cxnSp>
          <p:nvCxnSpPr>
            <p:cNvPr id="105" name="Straight Arrow Connector 113">
              <a:extLst>
                <a:ext uri="{FF2B5EF4-FFF2-40B4-BE49-F238E27FC236}">
                  <a16:creationId xmlns:a16="http://schemas.microsoft.com/office/drawing/2014/main" id="{5DC5E166-EF7B-4283-9960-28B3BB84AAC1}"/>
                </a:ext>
              </a:extLst>
            </p:cNvPr>
            <p:cNvCxnSpPr>
              <a:cxnSpLocks/>
            </p:cNvCxnSpPr>
            <p:nvPr/>
          </p:nvCxnSpPr>
          <p:spPr>
            <a:xfrm flipV="1">
              <a:off x="402127" y="2439930"/>
              <a:ext cx="0" cy="4078777"/>
            </a:xfrm>
            <a:prstGeom prst="straightConnector1">
              <a:avLst/>
            </a:prstGeom>
            <a:noFill/>
            <a:ln w="31750" cap="rnd">
              <a:solidFill>
                <a:schemeClr val="tx2">
                  <a:lumMod val="60000"/>
                  <a:lumOff val="40000"/>
                </a:schemeClr>
              </a:solidFill>
              <a:prstDash val="sysDot"/>
              <a:bevel/>
              <a:headEnd type="none" w="med" len="med"/>
              <a:tailEnd type="triangle" w="med" len="med"/>
            </a:ln>
          </p:spPr>
        </p:cxnSp>
        <p:cxnSp>
          <p:nvCxnSpPr>
            <p:cNvPr id="108" name="Straight Arrow Connector 113">
              <a:extLst>
                <a:ext uri="{FF2B5EF4-FFF2-40B4-BE49-F238E27FC236}">
                  <a16:creationId xmlns:a16="http://schemas.microsoft.com/office/drawing/2014/main" id="{9CAFEC4A-9272-46F7-83F7-0645A47D270F}"/>
                </a:ext>
              </a:extLst>
            </p:cNvPr>
            <p:cNvCxnSpPr>
              <a:cxnSpLocks/>
            </p:cNvCxnSpPr>
            <p:nvPr/>
          </p:nvCxnSpPr>
          <p:spPr>
            <a:xfrm>
              <a:off x="11302966" y="2472997"/>
              <a:ext cx="587541" cy="0"/>
            </a:xfrm>
            <a:prstGeom prst="straightConnector1">
              <a:avLst/>
            </a:prstGeom>
            <a:noFill/>
            <a:ln w="31750" cap="rnd">
              <a:solidFill>
                <a:schemeClr val="tx2">
                  <a:lumMod val="60000"/>
                  <a:lumOff val="40000"/>
                </a:schemeClr>
              </a:solidFill>
              <a:prstDash val="sysDot"/>
              <a:bevel/>
              <a:headEnd type="none" w="med" len="med"/>
              <a:tailEnd type="triangle" w="med" len="med"/>
            </a:ln>
          </p:spPr>
        </p:cxnSp>
        <p:cxnSp>
          <p:nvCxnSpPr>
            <p:cNvPr id="109" name="Straight Arrow Connector 113">
              <a:extLst>
                <a:ext uri="{FF2B5EF4-FFF2-40B4-BE49-F238E27FC236}">
                  <a16:creationId xmlns:a16="http://schemas.microsoft.com/office/drawing/2014/main" id="{D15C3C58-1F4D-43EB-84B1-7CC88E519389}"/>
                </a:ext>
              </a:extLst>
            </p:cNvPr>
            <p:cNvCxnSpPr>
              <a:cxnSpLocks/>
            </p:cNvCxnSpPr>
            <p:nvPr/>
          </p:nvCxnSpPr>
          <p:spPr>
            <a:xfrm>
              <a:off x="491024" y="2475224"/>
              <a:ext cx="313220" cy="0"/>
            </a:xfrm>
            <a:prstGeom prst="straightConnector1">
              <a:avLst/>
            </a:prstGeom>
            <a:noFill/>
            <a:ln w="31750" cap="rnd">
              <a:solidFill>
                <a:schemeClr val="tx2">
                  <a:lumMod val="60000"/>
                  <a:lumOff val="40000"/>
                </a:schemeClr>
              </a:solidFill>
              <a:prstDash val="sysDot"/>
              <a:bevel/>
              <a:headEnd type="none" w="med" len="med"/>
              <a:tailEnd type="triangle" w="med" len="med"/>
            </a:ln>
          </p:spPr>
        </p:cxnSp>
      </p:grpSp>
      <p:grpSp>
        <p:nvGrpSpPr>
          <p:cNvPr id="35" name="Ομάδα 34">
            <a:extLst>
              <a:ext uri="{FF2B5EF4-FFF2-40B4-BE49-F238E27FC236}">
                <a16:creationId xmlns:a16="http://schemas.microsoft.com/office/drawing/2014/main" id="{F665A3DC-2980-4DA0-AC9E-19E948D9F96F}"/>
              </a:ext>
            </a:extLst>
          </p:cNvPr>
          <p:cNvGrpSpPr/>
          <p:nvPr/>
        </p:nvGrpSpPr>
        <p:grpSpPr>
          <a:xfrm>
            <a:off x="6796502" y="1669937"/>
            <a:ext cx="2816128" cy="3945497"/>
            <a:chOff x="6796502" y="1669937"/>
            <a:chExt cx="2816128" cy="3945497"/>
          </a:xfrm>
        </p:grpSpPr>
        <p:grpSp>
          <p:nvGrpSpPr>
            <p:cNvPr id="30" name="Ομάδα 29">
              <a:extLst>
                <a:ext uri="{FF2B5EF4-FFF2-40B4-BE49-F238E27FC236}">
                  <a16:creationId xmlns:a16="http://schemas.microsoft.com/office/drawing/2014/main" id="{14F637D0-FBF9-46D4-A79B-0D1BB26F9801}"/>
                </a:ext>
              </a:extLst>
            </p:cNvPr>
            <p:cNvGrpSpPr/>
            <p:nvPr/>
          </p:nvGrpSpPr>
          <p:grpSpPr>
            <a:xfrm>
              <a:off x="6796502" y="1669937"/>
              <a:ext cx="2816128" cy="3945497"/>
              <a:chOff x="6796502" y="1669937"/>
              <a:chExt cx="2816128" cy="3945497"/>
            </a:xfrm>
          </p:grpSpPr>
          <p:sp>
            <p:nvSpPr>
              <p:cNvPr id="42" name="Oval 41"/>
              <p:cNvSpPr/>
              <p:nvPr/>
            </p:nvSpPr>
            <p:spPr bwMode="ltGray">
              <a:xfrm>
                <a:off x="7884382" y="1974136"/>
                <a:ext cx="863810" cy="863810"/>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Georgia" pitchFamily="18" charset="0"/>
                </a:endParaRPr>
              </a:p>
            </p:txBody>
          </p:sp>
          <p:sp>
            <p:nvSpPr>
              <p:cNvPr id="53" name="Rectangle 10"/>
              <p:cNvSpPr>
                <a:spLocks noChangeArrowheads="1"/>
              </p:cNvSpPr>
              <p:nvPr/>
            </p:nvSpPr>
            <p:spPr bwMode="auto">
              <a:xfrm>
                <a:off x="7545456" y="3230166"/>
                <a:ext cx="2067174" cy="238526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749" eaLnBrk="0" hangingPunct="0">
                  <a:spcAft>
                    <a:spcPts val="171"/>
                  </a:spcAft>
                  <a:defRPr/>
                </a:pPr>
                <a:r>
                  <a:rPr lang="el-GR" sz="1400" b="1" kern="0" dirty="0">
                    <a:solidFill>
                      <a:schemeClr val="accent3"/>
                    </a:solidFill>
                    <a:cs typeface="Arial" charset="0"/>
                  </a:rPr>
                  <a:t>ΕΜΜΕΣΑ ΑΠΟΤΕΛΕΣΜΑΤΑ</a:t>
                </a:r>
              </a:p>
              <a:p>
                <a:pPr defTabSz="682749" eaLnBrk="0" hangingPunct="0">
                  <a:spcAft>
                    <a:spcPts val="171"/>
                  </a:spcAft>
                  <a:defRPr/>
                </a:pPr>
                <a:endParaRPr lang="el-GR" sz="1200" b="1" kern="0" dirty="0">
                  <a:solidFill>
                    <a:schemeClr val="accent3"/>
                  </a:solidFill>
                  <a:cs typeface="Arial" charset="0"/>
                </a:endParaRPr>
              </a:p>
              <a:p>
                <a:pPr defTabSz="682749" eaLnBrk="0" hangingPunct="0">
                  <a:spcAft>
                    <a:spcPts val="171"/>
                  </a:spcAft>
                  <a:defRPr/>
                </a:pPr>
                <a:r>
                  <a:rPr lang="el-GR" sz="1200" b="1" kern="0" dirty="0">
                    <a:solidFill>
                      <a:schemeClr val="accent3"/>
                    </a:solidFill>
                    <a:cs typeface="Arial" charset="0"/>
                  </a:rPr>
                  <a:t>Επίτευξη Στόχου 3.7 </a:t>
                </a:r>
                <a:endParaRPr lang="en-GB" sz="1200" b="1" kern="0" dirty="0">
                  <a:solidFill>
                    <a:schemeClr val="accent3"/>
                  </a:solidFill>
                  <a:cs typeface="Arial" charset="0"/>
                </a:endParaRPr>
              </a:p>
              <a:p>
                <a:pPr marL="171450" indent="-171450" defTabSz="682749" eaLnBrk="0" hangingPunct="0">
                  <a:spcAft>
                    <a:spcPts val="171"/>
                  </a:spcAft>
                  <a:buFont typeface="Arial" panose="020B0604020202020204" pitchFamily="34" charset="0"/>
                  <a:buChar char="•"/>
                  <a:defRPr/>
                </a:pPr>
                <a:r>
                  <a:rPr lang="el-GR" sz="1400" kern="0" dirty="0">
                    <a:cs typeface="Arial" charset="0"/>
                  </a:rPr>
                  <a:t>Ενίσχυση της συνδεσιμότητας μέσω της ενεργής συμμετοχής στα διεθνή δίκτυα μεταφορών και ενδυνάμωση της θέσης της χώρας στις διεθνείς εφοδιαστικές αλυσίδες</a:t>
                </a:r>
              </a:p>
            </p:txBody>
          </p:sp>
          <p:sp>
            <p:nvSpPr>
              <p:cNvPr id="64" name="Frame 63"/>
              <p:cNvSpPr/>
              <p:nvPr/>
            </p:nvSpPr>
            <p:spPr>
              <a:xfrm>
                <a:off x="7581929" y="1669937"/>
                <a:ext cx="1467805" cy="1467806"/>
              </a:xfrm>
              <a:prstGeom prst="frame">
                <a:avLst>
                  <a:gd name="adj1" fmla="val 14698"/>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solidFill>
                    <a:schemeClr val="tx1"/>
                  </a:solidFill>
                </a:endParaRPr>
              </a:p>
            </p:txBody>
          </p:sp>
          <p:cxnSp>
            <p:nvCxnSpPr>
              <p:cNvPr id="113" name="Straight Arrow Connector 112">
                <a:extLst>
                  <a:ext uri="{FF2B5EF4-FFF2-40B4-BE49-F238E27FC236}">
                    <a16:creationId xmlns:a16="http://schemas.microsoft.com/office/drawing/2014/main" id="{75C3D94F-3C56-4F54-8D29-86E36D01EFDE}"/>
                  </a:ext>
                </a:extLst>
              </p:cNvPr>
              <p:cNvCxnSpPr/>
              <p:nvPr/>
            </p:nvCxnSpPr>
            <p:spPr>
              <a:xfrm>
                <a:off x="6796502" y="2459129"/>
                <a:ext cx="785427" cy="0"/>
              </a:xfrm>
              <a:prstGeom prst="straightConnector1">
                <a:avLst/>
              </a:prstGeom>
              <a:noFill/>
              <a:ln w="47625" cap="rnd">
                <a:solidFill>
                  <a:schemeClr val="tx2">
                    <a:lumMod val="60000"/>
                    <a:lumOff val="40000"/>
                  </a:schemeClr>
                </a:solidFill>
                <a:prstDash val="sysDot"/>
                <a:bevel/>
                <a:headEnd type="none" w="med" len="med"/>
                <a:tailEnd type="triangle" w="med" len="med"/>
              </a:ln>
            </p:spPr>
          </p:cxnSp>
          <p:cxnSp>
            <p:nvCxnSpPr>
              <p:cNvPr id="133" name="Straight Connector 132">
                <a:extLst>
                  <a:ext uri="{FF2B5EF4-FFF2-40B4-BE49-F238E27FC236}">
                    <a16:creationId xmlns:a16="http://schemas.microsoft.com/office/drawing/2014/main" id="{75198E61-6952-45D1-879C-A982AF3710A6}"/>
                  </a:ext>
                </a:extLst>
              </p:cNvPr>
              <p:cNvCxnSpPr>
                <a:cxnSpLocks/>
              </p:cNvCxnSpPr>
              <p:nvPr/>
            </p:nvCxnSpPr>
            <p:spPr>
              <a:xfrm flipV="1">
                <a:off x="7545456" y="3505347"/>
                <a:ext cx="1908000" cy="9391"/>
              </a:xfrm>
              <a:prstGeom prst="line">
                <a:avLst/>
              </a:prstGeom>
              <a:ln w="12700">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 169">
              <a:extLst>
                <a:ext uri="{FF2B5EF4-FFF2-40B4-BE49-F238E27FC236}">
                  <a16:creationId xmlns:a16="http://schemas.microsoft.com/office/drawing/2014/main" id="{C1A208A9-5B34-42CD-A716-A7DA9915D707}"/>
                </a:ext>
              </a:extLst>
            </p:cNvPr>
            <p:cNvGrpSpPr>
              <a:grpSpLocks noChangeAspect="1"/>
            </p:cNvGrpSpPr>
            <p:nvPr/>
          </p:nvGrpSpPr>
          <p:grpSpPr bwMode="auto">
            <a:xfrm>
              <a:off x="7984976" y="2064268"/>
              <a:ext cx="639448" cy="639352"/>
              <a:chOff x="986" y="0"/>
              <a:chExt cx="6682" cy="6681"/>
            </a:xfrm>
            <a:solidFill>
              <a:schemeClr val="bg1"/>
            </a:solidFill>
          </p:grpSpPr>
          <p:sp>
            <p:nvSpPr>
              <p:cNvPr id="153" name="Freeform 170">
                <a:extLst>
                  <a:ext uri="{FF2B5EF4-FFF2-40B4-BE49-F238E27FC236}">
                    <a16:creationId xmlns:a16="http://schemas.microsoft.com/office/drawing/2014/main" id="{B1C3F03B-1B17-4651-8BE5-8E501F43E7FF}"/>
                  </a:ext>
                </a:extLst>
              </p:cNvPr>
              <p:cNvSpPr>
                <a:spLocks noEditPoints="1"/>
              </p:cNvSpPr>
              <p:nvPr/>
            </p:nvSpPr>
            <p:spPr bwMode="auto">
              <a:xfrm>
                <a:off x="986" y="0"/>
                <a:ext cx="6682" cy="6681"/>
              </a:xfrm>
              <a:custGeom>
                <a:avLst/>
                <a:gdLst>
                  <a:gd name="T0" fmla="*/ 0 w 6682"/>
                  <a:gd name="T1" fmla="*/ 0 h 6681"/>
                  <a:gd name="T2" fmla="*/ 0 w 6682"/>
                  <a:gd name="T3" fmla="*/ 6681 h 6681"/>
                  <a:gd name="T4" fmla="*/ 6682 w 6682"/>
                  <a:gd name="T5" fmla="*/ 6681 h 6681"/>
                  <a:gd name="T6" fmla="*/ 6682 w 6682"/>
                  <a:gd name="T7" fmla="*/ 0 h 6681"/>
                  <a:gd name="T8" fmla="*/ 0 w 6682"/>
                  <a:gd name="T9" fmla="*/ 0 h 6681"/>
                  <a:gd name="T10" fmla="*/ 1774 w 6682"/>
                  <a:gd name="T11" fmla="*/ 286 h 6681"/>
                  <a:gd name="T12" fmla="*/ 1774 w 6682"/>
                  <a:gd name="T13" fmla="*/ 2846 h 6681"/>
                  <a:gd name="T14" fmla="*/ 286 w 6682"/>
                  <a:gd name="T15" fmla="*/ 2846 h 6681"/>
                  <a:gd name="T16" fmla="*/ 286 w 6682"/>
                  <a:gd name="T17" fmla="*/ 286 h 6681"/>
                  <a:gd name="T18" fmla="*/ 1774 w 6682"/>
                  <a:gd name="T19" fmla="*/ 286 h 6681"/>
                  <a:gd name="T20" fmla="*/ 286 w 6682"/>
                  <a:gd name="T21" fmla="*/ 4989 h 6681"/>
                  <a:gd name="T22" fmla="*/ 486 w 6682"/>
                  <a:gd name="T23" fmla="*/ 4989 h 6681"/>
                  <a:gd name="T24" fmla="*/ 486 w 6682"/>
                  <a:gd name="T25" fmla="*/ 4703 h 6681"/>
                  <a:gd name="T26" fmla="*/ 286 w 6682"/>
                  <a:gd name="T27" fmla="*/ 4703 h 6681"/>
                  <a:gd name="T28" fmla="*/ 286 w 6682"/>
                  <a:gd name="T29" fmla="*/ 3132 h 6681"/>
                  <a:gd name="T30" fmla="*/ 2060 w 6682"/>
                  <a:gd name="T31" fmla="*/ 3132 h 6681"/>
                  <a:gd name="T32" fmla="*/ 2060 w 6682"/>
                  <a:gd name="T33" fmla="*/ 286 h 6681"/>
                  <a:gd name="T34" fmla="*/ 6396 w 6682"/>
                  <a:gd name="T35" fmla="*/ 286 h 6681"/>
                  <a:gd name="T36" fmla="*/ 6396 w 6682"/>
                  <a:gd name="T37" fmla="*/ 3539 h 6681"/>
                  <a:gd name="T38" fmla="*/ 4724 w 6682"/>
                  <a:gd name="T39" fmla="*/ 3539 h 6681"/>
                  <a:gd name="T40" fmla="*/ 4724 w 6682"/>
                  <a:gd name="T41" fmla="*/ 6397 h 6681"/>
                  <a:gd name="T42" fmla="*/ 286 w 6682"/>
                  <a:gd name="T43" fmla="*/ 6397 h 6681"/>
                  <a:gd name="T44" fmla="*/ 286 w 6682"/>
                  <a:gd name="T45" fmla="*/ 4989 h 6681"/>
                  <a:gd name="T46" fmla="*/ 5008 w 6682"/>
                  <a:gd name="T47" fmla="*/ 6397 h 6681"/>
                  <a:gd name="T48" fmla="*/ 5008 w 6682"/>
                  <a:gd name="T49" fmla="*/ 3825 h 6681"/>
                  <a:gd name="T50" fmla="*/ 6396 w 6682"/>
                  <a:gd name="T51" fmla="*/ 3825 h 6681"/>
                  <a:gd name="T52" fmla="*/ 6396 w 6682"/>
                  <a:gd name="T53" fmla="*/ 6397 h 6681"/>
                  <a:gd name="T54" fmla="*/ 5008 w 6682"/>
                  <a:gd name="T55" fmla="*/ 6397 h 6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82" h="6681">
                    <a:moveTo>
                      <a:pt x="0" y="0"/>
                    </a:moveTo>
                    <a:lnTo>
                      <a:pt x="0" y="6681"/>
                    </a:lnTo>
                    <a:lnTo>
                      <a:pt x="6682" y="6681"/>
                    </a:lnTo>
                    <a:lnTo>
                      <a:pt x="6682" y="0"/>
                    </a:lnTo>
                    <a:lnTo>
                      <a:pt x="0" y="0"/>
                    </a:lnTo>
                    <a:close/>
                    <a:moveTo>
                      <a:pt x="1774" y="286"/>
                    </a:moveTo>
                    <a:lnTo>
                      <a:pt x="1774" y="2846"/>
                    </a:lnTo>
                    <a:lnTo>
                      <a:pt x="286" y="2846"/>
                    </a:lnTo>
                    <a:lnTo>
                      <a:pt x="286" y="286"/>
                    </a:lnTo>
                    <a:lnTo>
                      <a:pt x="1774" y="286"/>
                    </a:lnTo>
                    <a:close/>
                    <a:moveTo>
                      <a:pt x="286" y="4989"/>
                    </a:moveTo>
                    <a:lnTo>
                      <a:pt x="486" y="4989"/>
                    </a:lnTo>
                    <a:lnTo>
                      <a:pt x="486" y="4703"/>
                    </a:lnTo>
                    <a:lnTo>
                      <a:pt x="286" y="4703"/>
                    </a:lnTo>
                    <a:lnTo>
                      <a:pt x="286" y="3132"/>
                    </a:lnTo>
                    <a:lnTo>
                      <a:pt x="2060" y="3132"/>
                    </a:lnTo>
                    <a:lnTo>
                      <a:pt x="2060" y="286"/>
                    </a:lnTo>
                    <a:lnTo>
                      <a:pt x="6396" y="286"/>
                    </a:lnTo>
                    <a:lnTo>
                      <a:pt x="6396" y="3539"/>
                    </a:lnTo>
                    <a:lnTo>
                      <a:pt x="4724" y="3539"/>
                    </a:lnTo>
                    <a:lnTo>
                      <a:pt x="4724" y="6397"/>
                    </a:lnTo>
                    <a:lnTo>
                      <a:pt x="286" y="6397"/>
                    </a:lnTo>
                    <a:lnTo>
                      <a:pt x="286" y="4989"/>
                    </a:lnTo>
                    <a:close/>
                    <a:moveTo>
                      <a:pt x="5008" y="6397"/>
                    </a:moveTo>
                    <a:lnTo>
                      <a:pt x="5008" y="3825"/>
                    </a:lnTo>
                    <a:lnTo>
                      <a:pt x="6396" y="3825"/>
                    </a:lnTo>
                    <a:lnTo>
                      <a:pt x="6396" y="6397"/>
                    </a:lnTo>
                    <a:lnTo>
                      <a:pt x="5008" y="6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54" name="Rectangle 171">
                <a:extLst>
                  <a:ext uri="{FF2B5EF4-FFF2-40B4-BE49-F238E27FC236}">
                    <a16:creationId xmlns:a16="http://schemas.microsoft.com/office/drawing/2014/main" id="{E76545B6-D6E4-4C24-9D7F-E9661EF7B68F}"/>
                  </a:ext>
                </a:extLst>
              </p:cNvPr>
              <p:cNvSpPr>
                <a:spLocks noChangeArrowheads="1"/>
              </p:cNvSpPr>
              <p:nvPr/>
            </p:nvSpPr>
            <p:spPr bwMode="auto">
              <a:xfrm>
                <a:off x="2328" y="4703"/>
                <a:ext cx="284"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55" name="Rectangle 172">
                <a:extLst>
                  <a:ext uri="{FF2B5EF4-FFF2-40B4-BE49-F238E27FC236}">
                    <a16:creationId xmlns:a16="http://schemas.microsoft.com/office/drawing/2014/main" id="{7274971F-A46F-451E-BD33-6A2B652506CA}"/>
                  </a:ext>
                </a:extLst>
              </p:cNvPr>
              <p:cNvSpPr>
                <a:spLocks noChangeArrowheads="1"/>
              </p:cNvSpPr>
              <p:nvPr/>
            </p:nvSpPr>
            <p:spPr bwMode="auto">
              <a:xfrm>
                <a:off x="2898" y="4703"/>
                <a:ext cx="284"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56" name="Rectangle 173">
                <a:extLst>
                  <a:ext uri="{FF2B5EF4-FFF2-40B4-BE49-F238E27FC236}">
                    <a16:creationId xmlns:a16="http://schemas.microsoft.com/office/drawing/2014/main" id="{C0524C9B-0513-453D-961F-F2F4A9B26F20}"/>
                  </a:ext>
                </a:extLst>
              </p:cNvPr>
              <p:cNvSpPr>
                <a:spLocks noChangeArrowheads="1"/>
              </p:cNvSpPr>
              <p:nvPr/>
            </p:nvSpPr>
            <p:spPr bwMode="auto">
              <a:xfrm>
                <a:off x="3466" y="4703"/>
                <a:ext cx="286"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57" name="Rectangle 174">
                <a:extLst>
                  <a:ext uri="{FF2B5EF4-FFF2-40B4-BE49-F238E27FC236}">
                    <a16:creationId xmlns:a16="http://schemas.microsoft.com/office/drawing/2014/main" id="{E84FCC6A-0F8B-4082-8DD1-7F1D96211EF8}"/>
                  </a:ext>
                </a:extLst>
              </p:cNvPr>
              <p:cNvSpPr>
                <a:spLocks noChangeArrowheads="1"/>
              </p:cNvSpPr>
              <p:nvPr/>
            </p:nvSpPr>
            <p:spPr bwMode="auto">
              <a:xfrm>
                <a:off x="1758" y="4703"/>
                <a:ext cx="284"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58" name="Rectangle 175">
                <a:extLst>
                  <a:ext uri="{FF2B5EF4-FFF2-40B4-BE49-F238E27FC236}">
                    <a16:creationId xmlns:a16="http://schemas.microsoft.com/office/drawing/2014/main" id="{6E26F0AE-9D1A-47EF-986C-28177CC589F0}"/>
                  </a:ext>
                </a:extLst>
              </p:cNvPr>
              <p:cNvSpPr>
                <a:spLocks noChangeArrowheads="1"/>
              </p:cNvSpPr>
              <p:nvPr/>
            </p:nvSpPr>
            <p:spPr bwMode="auto">
              <a:xfrm>
                <a:off x="5586" y="1694"/>
                <a:ext cx="284"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59" name="Rectangle 176">
                <a:extLst>
                  <a:ext uri="{FF2B5EF4-FFF2-40B4-BE49-F238E27FC236}">
                    <a16:creationId xmlns:a16="http://schemas.microsoft.com/office/drawing/2014/main" id="{AD40217D-7CA0-42DC-B1BA-BB4F18813D8D}"/>
                  </a:ext>
                </a:extLst>
              </p:cNvPr>
              <p:cNvSpPr>
                <a:spLocks noChangeArrowheads="1"/>
              </p:cNvSpPr>
              <p:nvPr/>
            </p:nvSpPr>
            <p:spPr bwMode="auto">
              <a:xfrm>
                <a:off x="4216" y="2604"/>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60" name="Rectangle 177">
                <a:extLst>
                  <a:ext uri="{FF2B5EF4-FFF2-40B4-BE49-F238E27FC236}">
                    <a16:creationId xmlns:a16="http://schemas.microsoft.com/office/drawing/2014/main" id="{21444760-8FC8-405B-8B79-9DA9EE38D943}"/>
                  </a:ext>
                </a:extLst>
              </p:cNvPr>
              <p:cNvSpPr>
                <a:spLocks noChangeArrowheads="1"/>
              </p:cNvSpPr>
              <p:nvPr/>
            </p:nvSpPr>
            <p:spPr bwMode="auto">
              <a:xfrm>
                <a:off x="4216" y="2034"/>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61" name="Rectangle 178">
                <a:extLst>
                  <a:ext uri="{FF2B5EF4-FFF2-40B4-BE49-F238E27FC236}">
                    <a16:creationId xmlns:a16="http://schemas.microsoft.com/office/drawing/2014/main" id="{B29810C5-5020-4AA7-8434-9514F0CB4BD7}"/>
                  </a:ext>
                </a:extLst>
              </p:cNvPr>
              <p:cNvSpPr>
                <a:spLocks noChangeArrowheads="1"/>
              </p:cNvSpPr>
              <p:nvPr/>
            </p:nvSpPr>
            <p:spPr bwMode="auto">
              <a:xfrm>
                <a:off x="4446" y="1694"/>
                <a:ext cx="284"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62" name="Rectangle 179">
                <a:extLst>
                  <a:ext uri="{FF2B5EF4-FFF2-40B4-BE49-F238E27FC236}">
                    <a16:creationId xmlns:a16="http://schemas.microsoft.com/office/drawing/2014/main" id="{F78D46F2-5C30-432F-9557-16218FD66573}"/>
                  </a:ext>
                </a:extLst>
              </p:cNvPr>
              <p:cNvSpPr>
                <a:spLocks noChangeArrowheads="1"/>
              </p:cNvSpPr>
              <p:nvPr/>
            </p:nvSpPr>
            <p:spPr bwMode="auto">
              <a:xfrm>
                <a:off x="4036" y="4703"/>
                <a:ext cx="286"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63" name="Rectangle 180">
                <a:extLst>
                  <a:ext uri="{FF2B5EF4-FFF2-40B4-BE49-F238E27FC236}">
                    <a16:creationId xmlns:a16="http://schemas.microsoft.com/office/drawing/2014/main" id="{87556271-915C-4C34-89A2-1C966087DD1F}"/>
                  </a:ext>
                </a:extLst>
              </p:cNvPr>
              <p:cNvSpPr>
                <a:spLocks noChangeArrowheads="1"/>
              </p:cNvSpPr>
              <p:nvPr/>
            </p:nvSpPr>
            <p:spPr bwMode="auto">
              <a:xfrm>
                <a:off x="5016" y="1694"/>
                <a:ext cx="284"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64" name="Rectangle 181">
                <a:extLst>
                  <a:ext uri="{FF2B5EF4-FFF2-40B4-BE49-F238E27FC236}">
                    <a16:creationId xmlns:a16="http://schemas.microsoft.com/office/drawing/2014/main" id="{D71ACE16-8DAA-4A36-93CC-38F4146BEB80}"/>
                  </a:ext>
                </a:extLst>
              </p:cNvPr>
              <p:cNvSpPr>
                <a:spLocks noChangeArrowheads="1"/>
              </p:cNvSpPr>
              <p:nvPr/>
            </p:nvSpPr>
            <p:spPr bwMode="auto">
              <a:xfrm>
                <a:off x="4216" y="3745"/>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65" name="Rectangle 182">
                <a:extLst>
                  <a:ext uri="{FF2B5EF4-FFF2-40B4-BE49-F238E27FC236}">
                    <a16:creationId xmlns:a16="http://schemas.microsoft.com/office/drawing/2014/main" id="{DAD03B28-EBCF-4AA1-A545-9E6B38805EBA}"/>
                  </a:ext>
                </a:extLst>
              </p:cNvPr>
              <p:cNvSpPr>
                <a:spLocks noChangeArrowheads="1"/>
              </p:cNvSpPr>
              <p:nvPr/>
            </p:nvSpPr>
            <p:spPr bwMode="auto">
              <a:xfrm>
                <a:off x="4216" y="3174"/>
                <a:ext cx="286" cy="2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66" name="Rectangle 183">
                <a:extLst>
                  <a:ext uri="{FF2B5EF4-FFF2-40B4-BE49-F238E27FC236}">
                    <a16:creationId xmlns:a16="http://schemas.microsoft.com/office/drawing/2014/main" id="{6FFE2B22-B14C-47AC-8FC5-DD83751E5CB1}"/>
                  </a:ext>
                </a:extLst>
              </p:cNvPr>
              <p:cNvSpPr>
                <a:spLocks noChangeArrowheads="1"/>
              </p:cNvSpPr>
              <p:nvPr/>
            </p:nvSpPr>
            <p:spPr bwMode="auto">
              <a:xfrm>
                <a:off x="4216" y="4313"/>
                <a:ext cx="286"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167" name="Freeform 184">
                <a:extLst>
                  <a:ext uri="{FF2B5EF4-FFF2-40B4-BE49-F238E27FC236}">
                    <a16:creationId xmlns:a16="http://schemas.microsoft.com/office/drawing/2014/main" id="{0F40153A-29E7-4500-8391-DB96701D04D8}"/>
                  </a:ext>
                </a:extLst>
              </p:cNvPr>
              <p:cNvSpPr>
                <a:spLocks noEditPoints="1"/>
              </p:cNvSpPr>
              <p:nvPr/>
            </p:nvSpPr>
            <p:spPr bwMode="auto">
              <a:xfrm>
                <a:off x="5958" y="1166"/>
                <a:ext cx="910" cy="1404"/>
              </a:xfrm>
              <a:custGeom>
                <a:avLst/>
                <a:gdLst>
                  <a:gd name="T0" fmla="*/ 202 w 910"/>
                  <a:gd name="T1" fmla="*/ 1404 h 1404"/>
                  <a:gd name="T2" fmla="*/ 910 w 910"/>
                  <a:gd name="T3" fmla="*/ 696 h 1404"/>
                  <a:gd name="T4" fmla="*/ 214 w 910"/>
                  <a:gd name="T5" fmla="*/ 0 h 1404"/>
                  <a:gd name="T6" fmla="*/ 14 w 910"/>
                  <a:gd name="T7" fmla="*/ 202 h 1404"/>
                  <a:gd name="T8" fmla="*/ 340 w 910"/>
                  <a:gd name="T9" fmla="*/ 528 h 1404"/>
                  <a:gd name="T10" fmla="*/ 198 w 910"/>
                  <a:gd name="T11" fmla="*/ 528 h 1404"/>
                  <a:gd name="T12" fmla="*/ 198 w 910"/>
                  <a:gd name="T13" fmla="*/ 812 h 1404"/>
                  <a:gd name="T14" fmla="*/ 390 w 910"/>
                  <a:gd name="T15" fmla="*/ 812 h 1404"/>
                  <a:gd name="T16" fmla="*/ 0 w 910"/>
                  <a:gd name="T17" fmla="*/ 1202 h 1404"/>
                  <a:gd name="T18" fmla="*/ 202 w 910"/>
                  <a:gd name="T19" fmla="*/ 1404 h 1404"/>
                  <a:gd name="T20" fmla="*/ 482 w 910"/>
                  <a:gd name="T21" fmla="*/ 670 h 1404"/>
                  <a:gd name="T22" fmla="*/ 508 w 910"/>
                  <a:gd name="T23" fmla="*/ 696 h 1404"/>
                  <a:gd name="T24" fmla="*/ 482 w 910"/>
                  <a:gd name="T25" fmla="*/ 720 h 1404"/>
                  <a:gd name="T26" fmla="*/ 482 w 910"/>
                  <a:gd name="T27" fmla="*/ 670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0" h="1404">
                    <a:moveTo>
                      <a:pt x="202" y="1404"/>
                    </a:moveTo>
                    <a:lnTo>
                      <a:pt x="910" y="696"/>
                    </a:lnTo>
                    <a:lnTo>
                      <a:pt x="214" y="0"/>
                    </a:lnTo>
                    <a:lnTo>
                      <a:pt x="14" y="202"/>
                    </a:lnTo>
                    <a:lnTo>
                      <a:pt x="340" y="528"/>
                    </a:lnTo>
                    <a:lnTo>
                      <a:pt x="198" y="528"/>
                    </a:lnTo>
                    <a:lnTo>
                      <a:pt x="198" y="812"/>
                    </a:lnTo>
                    <a:lnTo>
                      <a:pt x="390" y="812"/>
                    </a:lnTo>
                    <a:lnTo>
                      <a:pt x="0" y="1202"/>
                    </a:lnTo>
                    <a:lnTo>
                      <a:pt x="202" y="1404"/>
                    </a:lnTo>
                    <a:close/>
                    <a:moveTo>
                      <a:pt x="482" y="670"/>
                    </a:moveTo>
                    <a:lnTo>
                      <a:pt x="508" y="696"/>
                    </a:lnTo>
                    <a:lnTo>
                      <a:pt x="482" y="720"/>
                    </a:lnTo>
                    <a:lnTo>
                      <a:pt x="482" y="6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grpSp>
      </p:grpSp>
    </p:spTree>
    <p:extLst>
      <p:ext uri="{BB962C8B-B14F-4D97-AF65-F5344CB8AC3E}">
        <p14:creationId xmlns:p14="http://schemas.microsoft.com/office/powerpoint/2010/main" val="85358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CFCFC"/>
        </a:solidFill>
        <a:effectLst/>
      </p:bgPr>
    </p:bg>
    <p:spTree>
      <p:nvGrpSpPr>
        <p:cNvPr id="1" name=""/>
        <p:cNvGrpSpPr/>
        <p:nvPr/>
      </p:nvGrpSpPr>
      <p:grpSpPr>
        <a:xfrm>
          <a:off x="0" y="0"/>
          <a:ext cx="0" cy="0"/>
          <a:chOff x="0" y="0"/>
          <a:chExt cx="0" cy="0"/>
        </a:xfrm>
      </p:grpSpPr>
      <p:grpSp>
        <p:nvGrpSpPr>
          <p:cNvPr id="4" name="Ομάδα 3">
            <a:extLst>
              <a:ext uri="{FF2B5EF4-FFF2-40B4-BE49-F238E27FC236}">
                <a16:creationId xmlns:a16="http://schemas.microsoft.com/office/drawing/2014/main" id="{3EB9036E-B808-474D-8089-7953B01B0E96}"/>
              </a:ext>
            </a:extLst>
          </p:cNvPr>
          <p:cNvGrpSpPr/>
          <p:nvPr/>
        </p:nvGrpSpPr>
        <p:grpSpPr>
          <a:xfrm>
            <a:off x="412344" y="1190579"/>
            <a:ext cx="11151009" cy="5304817"/>
            <a:chOff x="412344" y="1190579"/>
            <a:chExt cx="11151009" cy="5304817"/>
          </a:xfrm>
        </p:grpSpPr>
        <p:grpSp>
          <p:nvGrpSpPr>
            <p:cNvPr id="303" name="Group 170"/>
            <p:cNvGrpSpPr/>
            <p:nvPr/>
          </p:nvGrpSpPr>
          <p:grpSpPr>
            <a:xfrm>
              <a:off x="412344" y="1190579"/>
              <a:ext cx="11151009" cy="5304817"/>
              <a:chOff x="1104095" y="1097305"/>
              <a:chExt cx="10091760" cy="5183697"/>
            </a:xfrm>
          </p:grpSpPr>
          <p:pic>
            <p:nvPicPr>
              <p:cNvPr id="353" name="Picture 352" descr="diaspora map.png"/>
              <p:cNvPicPr>
                <a:picLocks noChangeAspect="1"/>
              </p:cNvPicPr>
              <p:nvPr/>
            </p:nvPicPr>
            <p:blipFill>
              <a:blip r:embed="rId3">
                <a:lum bright="10000" contrast="-20000"/>
              </a:blip>
              <a:stretch>
                <a:fillRect/>
              </a:stretch>
            </p:blipFill>
            <p:spPr>
              <a:xfrm>
                <a:off x="1104095" y="1097305"/>
                <a:ext cx="10091760" cy="5183697"/>
              </a:xfrm>
              <a:prstGeom prst="rect">
                <a:avLst/>
              </a:prstGeom>
            </p:spPr>
          </p:pic>
          <p:pic>
            <p:nvPicPr>
              <p:cNvPr id="354" name="Picture 353" descr="diaspora figures.png"/>
              <p:cNvPicPr>
                <a:picLocks noChangeAspect="1"/>
              </p:cNvPicPr>
              <p:nvPr/>
            </p:nvPicPr>
            <p:blipFill>
              <a:blip r:embed="rId4">
                <a:lum bright="10000" contrast="-20000"/>
              </a:blip>
              <a:stretch>
                <a:fillRect/>
              </a:stretch>
            </p:blipFill>
            <p:spPr>
              <a:xfrm>
                <a:off x="1108619" y="5172075"/>
                <a:ext cx="1277053" cy="1044014"/>
              </a:xfrm>
              <a:prstGeom prst="rect">
                <a:avLst/>
              </a:prstGeom>
            </p:spPr>
          </p:pic>
        </p:grpSp>
        <p:grpSp>
          <p:nvGrpSpPr>
            <p:cNvPr id="304" name="Group 181"/>
            <p:cNvGrpSpPr/>
            <p:nvPr/>
          </p:nvGrpSpPr>
          <p:grpSpPr>
            <a:xfrm>
              <a:off x="2673351" y="1852295"/>
              <a:ext cx="7388663" cy="3133726"/>
              <a:chOff x="2428876" y="1724025"/>
              <a:chExt cx="7388663" cy="3133726"/>
            </a:xfrm>
          </p:grpSpPr>
          <p:grpSp>
            <p:nvGrpSpPr>
              <p:cNvPr id="305" name="Group 177"/>
              <p:cNvGrpSpPr/>
              <p:nvPr/>
            </p:nvGrpSpPr>
            <p:grpSpPr>
              <a:xfrm>
                <a:off x="2428876" y="1724025"/>
                <a:ext cx="7388663" cy="3133726"/>
                <a:chOff x="2790826" y="1724025"/>
                <a:chExt cx="7388663" cy="3133726"/>
              </a:xfrm>
            </p:grpSpPr>
            <p:grpSp>
              <p:nvGrpSpPr>
                <p:cNvPr id="307" name="Group 169"/>
                <p:cNvGrpSpPr/>
                <p:nvPr/>
              </p:nvGrpSpPr>
              <p:grpSpPr>
                <a:xfrm>
                  <a:off x="2790826" y="1724025"/>
                  <a:ext cx="7388663" cy="3133726"/>
                  <a:chOff x="2790826" y="1724025"/>
                  <a:chExt cx="7388663" cy="3133726"/>
                </a:xfrm>
              </p:grpSpPr>
              <p:cxnSp>
                <p:nvCxnSpPr>
                  <p:cNvPr id="309" name="Straight Connector 308"/>
                  <p:cNvCxnSpPr>
                    <a:stCxn id="306" idx="3"/>
                  </p:cNvCxnSpPr>
                  <p:nvPr/>
                </p:nvCxnSpPr>
                <p:spPr>
                  <a:xfrm rot="5400000">
                    <a:off x="4504259" y="2384368"/>
                    <a:ext cx="1645780" cy="202463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0" name="Straight Connector 309"/>
                  <p:cNvCxnSpPr>
                    <a:stCxn id="306" idx="2"/>
                  </p:cNvCxnSpPr>
                  <p:nvPr/>
                </p:nvCxnSpPr>
                <p:spPr>
                  <a:xfrm rot="10800000">
                    <a:off x="3465605" y="1978602"/>
                    <a:ext cx="2830421" cy="48297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1" name="Straight Connector 310"/>
                  <p:cNvCxnSpPr>
                    <a:stCxn id="306" idx="2"/>
                  </p:cNvCxnSpPr>
                  <p:nvPr/>
                </p:nvCxnSpPr>
                <p:spPr>
                  <a:xfrm rot="10800000">
                    <a:off x="3152777" y="2438404"/>
                    <a:ext cx="3143248" cy="2317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2" name="Straight Connector 311"/>
                  <p:cNvCxnSpPr>
                    <a:stCxn id="306" idx="2"/>
                  </p:cNvCxnSpPr>
                  <p:nvPr/>
                </p:nvCxnSpPr>
                <p:spPr>
                  <a:xfrm rot="10800000" flipV="1">
                    <a:off x="2791837" y="2461576"/>
                    <a:ext cx="3504189" cy="595848"/>
                  </a:xfrm>
                  <a:prstGeom prst="line">
                    <a:avLst/>
                  </a:prstGeom>
                </p:spPr>
                <p:style>
                  <a:lnRef idx="1">
                    <a:schemeClr val="accent1"/>
                  </a:lnRef>
                  <a:fillRef idx="0">
                    <a:schemeClr val="accent1"/>
                  </a:fillRef>
                  <a:effectRef idx="0">
                    <a:schemeClr val="accent1"/>
                  </a:effectRef>
                  <a:fontRef idx="minor">
                    <a:schemeClr val="tx1"/>
                  </a:fontRef>
                </p:style>
              </p:cxnSp>
              <p:cxnSp>
                <p:nvCxnSpPr>
                  <p:cNvPr id="313" name="Straight Connector 312"/>
                  <p:cNvCxnSpPr>
                    <a:stCxn id="306" idx="3"/>
                  </p:cNvCxnSpPr>
                  <p:nvPr/>
                </p:nvCxnSpPr>
                <p:spPr>
                  <a:xfrm rot="5400000">
                    <a:off x="3986950" y="2501625"/>
                    <a:ext cx="2280347" cy="242468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rot="16200000" flipH="1">
                    <a:off x="5531017" y="3530666"/>
                    <a:ext cx="2001252" cy="172453"/>
                  </a:xfrm>
                  <a:prstGeom prst="line">
                    <a:avLst/>
                  </a:prstGeom>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rot="16200000" flipH="1">
                    <a:off x="6433840" y="2700038"/>
                    <a:ext cx="321440" cy="14588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6553701" y="2572151"/>
                    <a:ext cx="647199" cy="45680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7" name="Straight Connector 316"/>
                  <p:cNvCxnSpPr>
                    <a:stCxn id="306" idx="7"/>
                  </p:cNvCxnSpPr>
                  <p:nvPr/>
                </p:nvCxnSpPr>
                <p:spPr>
                  <a:xfrm rot="5400000" flipH="1" flipV="1">
                    <a:off x="6557634" y="1763241"/>
                    <a:ext cx="577702" cy="59453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rot="10800000">
                    <a:off x="5821742" y="2019424"/>
                    <a:ext cx="491329" cy="3642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19" name="Straight Connector 318"/>
                  <p:cNvCxnSpPr>
                    <a:stCxn id="306" idx="1"/>
                  </p:cNvCxnSpPr>
                  <p:nvPr/>
                </p:nvCxnSpPr>
                <p:spPr>
                  <a:xfrm rot="16200000" flipV="1">
                    <a:off x="6095572" y="2105462"/>
                    <a:ext cx="272904" cy="214885"/>
                  </a:xfrm>
                  <a:prstGeom prst="line">
                    <a:avLst/>
                  </a:prstGeom>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rot="10800000">
                    <a:off x="6581776" y="2520015"/>
                    <a:ext cx="1533527" cy="385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1" name="Straight Connector 320"/>
                  <p:cNvCxnSpPr>
                    <a:endCxn id="306" idx="6"/>
                  </p:cNvCxnSpPr>
                  <p:nvPr/>
                </p:nvCxnSpPr>
                <p:spPr>
                  <a:xfrm rot="10800000" flipV="1">
                    <a:off x="6592661" y="2202302"/>
                    <a:ext cx="1028384" cy="259273"/>
                  </a:xfrm>
                  <a:prstGeom prst="line">
                    <a:avLst/>
                  </a:prstGeom>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rot="10800000">
                    <a:off x="6561724" y="2568144"/>
                    <a:ext cx="3453062" cy="19330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3" name="Straight Connector 322"/>
                  <p:cNvCxnSpPr>
                    <a:cxnSpLocks/>
                    <a:endCxn id="306" idx="5"/>
                  </p:cNvCxnSpPr>
                  <p:nvPr/>
                </p:nvCxnSpPr>
                <p:spPr>
                  <a:xfrm flipH="1" flipV="1">
                    <a:off x="6549220" y="2573795"/>
                    <a:ext cx="3605931" cy="2149403"/>
                  </a:xfrm>
                  <a:prstGeom prst="line">
                    <a:avLst/>
                  </a:prstGeom>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rot="5400000" flipH="1" flipV="1">
                    <a:off x="5811756" y="2973202"/>
                    <a:ext cx="922421" cy="20053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rot="16200000" flipH="1">
                    <a:off x="6009071" y="1963355"/>
                    <a:ext cx="599476" cy="120815"/>
                  </a:xfrm>
                  <a:prstGeom prst="line">
                    <a:avLst/>
                  </a:prstGeom>
                </p:spPr>
                <p:style>
                  <a:lnRef idx="1">
                    <a:schemeClr val="accent1"/>
                  </a:lnRef>
                  <a:fillRef idx="0">
                    <a:schemeClr val="accent1"/>
                  </a:fillRef>
                  <a:effectRef idx="0">
                    <a:schemeClr val="accent1"/>
                  </a:effectRef>
                  <a:fontRef idx="minor">
                    <a:schemeClr val="tx1"/>
                  </a:fontRef>
                </p:style>
              </p:cxnSp>
              <p:cxnSp>
                <p:nvCxnSpPr>
                  <p:cNvPr id="326" name="Straight Connector 325"/>
                  <p:cNvCxnSpPr>
                    <a:stCxn id="306" idx="6"/>
                  </p:cNvCxnSpPr>
                  <p:nvPr/>
                </p:nvCxnSpPr>
                <p:spPr>
                  <a:xfrm>
                    <a:off x="6592661" y="2461576"/>
                    <a:ext cx="2010419" cy="391312"/>
                  </a:xfrm>
                  <a:prstGeom prst="line">
                    <a:avLst/>
                  </a:prstGeom>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rot="10800000" flipV="1">
                    <a:off x="3710238" y="2511992"/>
                    <a:ext cx="2586792" cy="1957137"/>
                  </a:xfrm>
                  <a:prstGeom prst="line">
                    <a:avLst/>
                  </a:prstGeom>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rot="5400000">
                    <a:off x="3052763" y="2043113"/>
                    <a:ext cx="495300" cy="333375"/>
                  </a:xfrm>
                  <a:prstGeom prst="line">
                    <a:avLst/>
                  </a:prstGeom>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rot="5400000">
                    <a:off x="2662238" y="2576514"/>
                    <a:ext cx="609601" cy="3524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rot="16200000" flipH="1">
                    <a:off x="2538413" y="3300416"/>
                    <a:ext cx="1438276" cy="933448"/>
                  </a:xfrm>
                  <a:prstGeom prst="line">
                    <a:avLst/>
                  </a:prstGeom>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2790827" y="3048002"/>
                    <a:ext cx="1552573" cy="1162048"/>
                  </a:xfrm>
                  <a:prstGeom prst="line">
                    <a:avLst/>
                  </a:prstGeom>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rot="16200000" flipH="1">
                    <a:off x="2324102" y="3267076"/>
                    <a:ext cx="2428873" cy="752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rot="16200000" flipH="1">
                    <a:off x="2767014" y="2652714"/>
                    <a:ext cx="2247898" cy="866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rot="5400000" flipH="1" flipV="1">
                    <a:off x="3786187" y="4319588"/>
                    <a:ext cx="666750" cy="409575"/>
                  </a:xfrm>
                  <a:prstGeom prst="line">
                    <a:avLst/>
                  </a:prstGeom>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rot="16200000" flipH="1">
                    <a:off x="2338388" y="3109912"/>
                    <a:ext cx="2505074" cy="24765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3162302" y="2438402"/>
                    <a:ext cx="3459578" cy="2155054"/>
                  </a:xfrm>
                  <a:prstGeom prst="line">
                    <a:avLst/>
                  </a:prstGeom>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rot="16200000" flipH="1">
                    <a:off x="5852411" y="3844038"/>
                    <a:ext cx="1085249" cy="44567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rot="5400000" flipH="1" flipV="1">
                    <a:off x="6108583" y="2973255"/>
                    <a:ext cx="617521" cy="48126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rot="5400000" flipH="1" flipV="1">
                    <a:off x="5799274" y="3733250"/>
                    <a:ext cx="1686826" cy="49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a:off x="6653964" y="2917056"/>
                    <a:ext cx="537411" cy="111894"/>
                  </a:xfrm>
                  <a:prstGeom prst="line">
                    <a:avLst/>
                  </a:prstGeom>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rot="5400000" flipH="1" flipV="1">
                    <a:off x="6118560" y="3528660"/>
                    <a:ext cx="1568116" cy="5614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rot="10800000">
                    <a:off x="5814124" y="2017952"/>
                    <a:ext cx="314384" cy="60464"/>
                  </a:xfrm>
                  <a:prstGeom prst="line">
                    <a:avLst/>
                  </a:prstGeom>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flipV="1">
                    <a:off x="5815842" y="1733551"/>
                    <a:ext cx="442083" cy="282922"/>
                  </a:xfrm>
                  <a:prstGeom prst="line">
                    <a:avLst/>
                  </a:prstGeom>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rot="10800000">
                    <a:off x="7143198" y="1774601"/>
                    <a:ext cx="476805" cy="425677"/>
                  </a:xfrm>
                  <a:prstGeom prst="line">
                    <a:avLst/>
                  </a:prstGeom>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rot="5400000" flipH="1" flipV="1">
                    <a:off x="6013470" y="1845393"/>
                    <a:ext cx="345114" cy="12683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flipV="1">
                    <a:off x="6657975" y="2202303"/>
                    <a:ext cx="957170" cy="71234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flipV="1">
                    <a:off x="8096250" y="2857500"/>
                    <a:ext cx="514350" cy="476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8" name="Straight Connector 347"/>
                  <p:cNvCxnSpPr>
                    <a:cxnSpLocks/>
                  </p:cNvCxnSpPr>
                  <p:nvPr/>
                </p:nvCxnSpPr>
                <p:spPr>
                  <a:xfrm flipH="1" flipV="1">
                    <a:off x="8086727" y="2905125"/>
                    <a:ext cx="2092762" cy="18384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9" name="Straight Connector 348"/>
                  <p:cNvCxnSpPr/>
                  <p:nvPr/>
                </p:nvCxnSpPr>
                <p:spPr>
                  <a:xfrm flipV="1">
                    <a:off x="6629400" y="4509235"/>
                    <a:ext cx="3385386" cy="818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flipV="1">
                    <a:off x="6180722" y="3019425"/>
                    <a:ext cx="1001128" cy="5072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flipV="1">
                    <a:off x="7162800" y="2895600"/>
                    <a:ext cx="981075" cy="13335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6252394" y="1739204"/>
                    <a:ext cx="887853" cy="35396"/>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08" name="Straight Connector 307"/>
                <p:cNvCxnSpPr/>
                <p:nvPr/>
              </p:nvCxnSpPr>
              <p:spPr>
                <a:xfrm>
                  <a:off x="3473617" y="1978593"/>
                  <a:ext cx="6533147" cy="2522621"/>
                </a:xfrm>
                <a:prstGeom prst="line">
                  <a:avLst/>
                </a:prstGeom>
              </p:spPr>
              <p:style>
                <a:lnRef idx="1">
                  <a:schemeClr val="accent1"/>
                </a:lnRef>
                <a:fillRef idx="0">
                  <a:schemeClr val="accent1"/>
                </a:fillRef>
                <a:effectRef idx="0">
                  <a:schemeClr val="accent1"/>
                </a:effectRef>
                <a:fontRef idx="minor">
                  <a:schemeClr val="tx1"/>
                </a:fontRef>
              </p:style>
            </p:cxnSp>
          </p:grpSp>
          <p:sp>
            <p:nvSpPr>
              <p:cNvPr id="306" name="Oval 305"/>
              <p:cNvSpPr/>
              <p:nvPr/>
            </p:nvSpPr>
            <p:spPr>
              <a:xfrm>
                <a:off x="5934075" y="2302874"/>
                <a:ext cx="296636" cy="317404"/>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grpSp>
      <p:pic>
        <p:nvPicPr>
          <p:cNvPr id="173" name="Picture 172" descr="diaspora figures.png"/>
          <p:cNvPicPr>
            <a:picLocks noChangeAspect="1"/>
          </p:cNvPicPr>
          <p:nvPr/>
        </p:nvPicPr>
        <p:blipFill>
          <a:blip r:embed="rId4">
            <a:lum bright="10000" contrast="-20000"/>
          </a:blip>
          <a:stretch>
            <a:fillRect/>
          </a:stretch>
        </p:blipFill>
        <p:spPr>
          <a:xfrm>
            <a:off x="412344" y="5393716"/>
            <a:ext cx="1411095" cy="1068408"/>
          </a:xfrm>
          <a:prstGeom prst="rect">
            <a:avLst/>
          </a:prstGeom>
        </p:spPr>
      </p:pic>
      <p:sp>
        <p:nvSpPr>
          <p:cNvPr id="191" name="Rectangle 190"/>
          <p:cNvSpPr/>
          <p:nvPr/>
        </p:nvSpPr>
        <p:spPr>
          <a:xfrm>
            <a:off x="10650941" y="6172199"/>
            <a:ext cx="1121959" cy="261610"/>
          </a:xfrm>
          <a:prstGeom prst="rect">
            <a:avLst/>
          </a:prstGeom>
        </p:spPr>
        <p:txBody>
          <a:bodyPr wrap="square">
            <a:spAutoFit/>
          </a:bodyPr>
          <a:lstStyle/>
          <a:p>
            <a:r>
              <a:rPr lang="en-US" sz="1100" dirty="0"/>
              <a:t>CC BY-SA 3.0</a:t>
            </a:r>
            <a:endParaRPr lang="el-GR" sz="1100" dirty="0"/>
          </a:p>
        </p:txBody>
      </p:sp>
      <p:grpSp>
        <p:nvGrpSpPr>
          <p:cNvPr id="219" name="Group 218"/>
          <p:cNvGrpSpPr/>
          <p:nvPr/>
        </p:nvGrpSpPr>
        <p:grpSpPr>
          <a:xfrm>
            <a:off x="3289299" y="1879598"/>
            <a:ext cx="6292631" cy="2949577"/>
            <a:chOff x="3289299" y="1879598"/>
            <a:chExt cx="6292631" cy="2949577"/>
          </a:xfrm>
        </p:grpSpPr>
        <p:pic>
          <p:nvPicPr>
            <p:cNvPr id="215" name="Picture 8" descr="Tweet, Twitter Icon Icon, Chirrup Icon Icon, Twitter - Png Format Twitter  Logo Png - Free Transparent PNG Clipart Images Download"/>
            <p:cNvPicPr>
              <a:picLocks noChangeAspect="1" noChangeArrowheads="1"/>
            </p:cNvPicPr>
            <p:nvPr/>
          </p:nvPicPr>
          <p:blipFill>
            <a:blip r:embed="rId5" cstate="print"/>
            <a:srcRect/>
            <a:stretch>
              <a:fillRect/>
            </a:stretch>
          </p:blipFill>
          <p:spPr bwMode="auto">
            <a:xfrm>
              <a:off x="3727450" y="2905124"/>
              <a:ext cx="404937" cy="276225"/>
            </a:xfrm>
            <a:prstGeom prst="rect">
              <a:avLst/>
            </a:prstGeom>
            <a:noFill/>
          </p:spPr>
        </p:pic>
        <p:grpSp>
          <p:nvGrpSpPr>
            <p:cNvPr id="218" name="Group 217"/>
            <p:cNvGrpSpPr/>
            <p:nvPr/>
          </p:nvGrpSpPr>
          <p:grpSpPr>
            <a:xfrm>
              <a:off x="3289299" y="1879598"/>
              <a:ext cx="6292631" cy="2949577"/>
              <a:chOff x="3289299" y="1879598"/>
              <a:chExt cx="6292631" cy="2949577"/>
            </a:xfrm>
          </p:grpSpPr>
          <p:pic>
            <p:nvPicPr>
              <p:cNvPr id="54276"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4832349" y="2203448"/>
                <a:ext cx="254002" cy="254002"/>
              </a:xfrm>
              <a:prstGeom prst="rect">
                <a:avLst/>
              </a:prstGeom>
              <a:noFill/>
            </p:spPr>
          </p:pic>
          <p:pic>
            <p:nvPicPr>
              <p:cNvPr id="193"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6175374" y="2971967"/>
                <a:ext cx="254002" cy="254002"/>
              </a:xfrm>
              <a:prstGeom prst="rect">
                <a:avLst/>
              </a:prstGeom>
              <a:noFill/>
            </p:spPr>
          </p:pic>
          <p:pic>
            <p:nvPicPr>
              <p:cNvPr id="194"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4479924" y="2784473"/>
                <a:ext cx="254002" cy="254002"/>
              </a:xfrm>
              <a:prstGeom prst="rect">
                <a:avLst/>
              </a:prstGeom>
              <a:noFill/>
            </p:spPr>
          </p:pic>
          <p:pic>
            <p:nvPicPr>
              <p:cNvPr id="195"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3298824" y="3365498"/>
                <a:ext cx="254002" cy="254002"/>
              </a:xfrm>
              <a:prstGeom prst="rect">
                <a:avLst/>
              </a:prstGeom>
              <a:noFill/>
            </p:spPr>
          </p:pic>
          <p:pic>
            <p:nvPicPr>
              <p:cNvPr id="196"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3289299" y="4108448"/>
                <a:ext cx="254002" cy="254002"/>
              </a:xfrm>
              <a:prstGeom prst="rect">
                <a:avLst/>
              </a:prstGeom>
              <a:noFill/>
            </p:spPr>
          </p:pic>
          <p:pic>
            <p:nvPicPr>
              <p:cNvPr id="198"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3375024" y="2479673"/>
                <a:ext cx="254002" cy="254002"/>
              </a:xfrm>
              <a:prstGeom prst="rect">
                <a:avLst/>
              </a:prstGeom>
              <a:noFill/>
            </p:spPr>
          </p:pic>
          <p:pic>
            <p:nvPicPr>
              <p:cNvPr id="199"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7851774" y="3422648"/>
                <a:ext cx="254002" cy="254002"/>
              </a:xfrm>
              <a:prstGeom prst="rect">
                <a:avLst/>
              </a:prstGeom>
              <a:noFill/>
            </p:spPr>
          </p:pic>
          <p:pic>
            <p:nvPicPr>
              <p:cNvPr id="200"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6432549" y="3679823"/>
                <a:ext cx="254002" cy="254002"/>
              </a:xfrm>
              <a:prstGeom prst="rect">
                <a:avLst/>
              </a:prstGeom>
              <a:noFill/>
            </p:spPr>
          </p:pic>
          <p:pic>
            <p:nvPicPr>
              <p:cNvPr id="201"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5118099" y="3813173"/>
                <a:ext cx="254002" cy="254002"/>
              </a:xfrm>
              <a:prstGeom prst="rect">
                <a:avLst/>
              </a:prstGeom>
              <a:noFill/>
            </p:spPr>
          </p:pic>
          <p:pic>
            <p:nvPicPr>
              <p:cNvPr id="202"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7975599" y="4575173"/>
                <a:ext cx="254002" cy="254002"/>
              </a:xfrm>
              <a:prstGeom prst="rect">
                <a:avLst/>
              </a:prstGeom>
              <a:noFill/>
            </p:spPr>
          </p:pic>
          <p:pic>
            <p:nvPicPr>
              <p:cNvPr id="203"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5832474" y="1879598"/>
                <a:ext cx="254002" cy="254002"/>
              </a:xfrm>
              <a:prstGeom prst="rect">
                <a:avLst/>
              </a:prstGeom>
              <a:noFill/>
            </p:spPr>
          </p:pic>
          <p:pic>
            <p:nvPicPr>
              <p:cNvPr id="204"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6651624" y="2108198"/>
                <a:ext cx="254002" cy="254002"/>
              </a:xfrm>
              <a:prstGeom prst="rect">
                <a:avLst/>
              </a:prstGeom>
              <a:noFill/>
            </p:spPr>
          </p:pic>
          <p:pic>
            <p:nvPicPr>
              <p:cNvPr id="205"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7175499" y="2003423"/>
                <a:ext cx="254002" cy="254002"/>
              </a:xfrm>
              <a:prstGeom prst="rect">
                <a:avLst/>
              </a:prstGeom>
              <a:noFill/>
            </p:spPr>
          </p:pic>
          <p:pic>
            <p:nvPicPr>
              <p:cNvPr id="206" name="Picture 4" descr="At Sign Symbol, PNG, 1200x1200px, At Sign, Ampersand, Area, Black And  White, Brand Download Fre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8861424" y="3660773"/>
                <a:ext cx="254002" cy="254002"/>
              </a:xfrm>
              <a:prstGeom prst="rect">
                <a:avLst/>
              </a:prstGeom>
              <a:noFill/>
            </p:spPr>
          </p:pic>
          <p:pic>
            <p:nvPicPr>
              <p:cNvPr id="54278" name="Picture 6" descr="Facebook Lite - Εφαρμογές στο Google Play"/>
              <p:cNvPicPr>
                <a:picLocks noChangeAspect="1" noChangeArrowheads="1"/>
              </p:cNvPicPr>
              <p:nvPr/>
            </p:nvPicPr>
            <p:blipFill>
              <a:blip r:embed="rId7" cstate="print"/>
              <a:srcRect/>
              <a:stretch>
                <a:fillRect/>
              </a:stretch>
            </p:blipFill>
            <p:spPr bwMode="auto">
              <a:xfrm>
                <a:off x="4489450" y="3352800"/>
                <a:ext cx="290513" cy="290513"/>
              </a:xfrm>
              <a:prstGeom prst="rect">
                <a:avLst/>
              </a:prstGeom>
              <a:noFill/>
            </p:spPr>
          </p:pic>
          <p:pic>
            <p:nvPicPr>
              <p:cNvPr id="207" name="Picture 6" descr="Facebook Lite - Εφαρμογές στο Google Play"/>
              <p:cNvPicPr>
                <a:picLocks noChangeAspect="1" noChangeArrowheads="1"/>
              </p:cNvPicPr>
              <p:nvPr/>
            </p:nvPicPr>
            <p:blipFill>
              <a:blip r:embed="rId7" cstate="print"/>
              <a:srcRect/>
              <a:stretch>
                <a:fillRect/>
              </a:stretch>
            </p:blipFill>
            <p:spPr bwMode="auto">
              <a:xfrm>
                <a:off x="8061325" y="3771900"/>
                <a:ext cx="290513" cy="290513"/>
              </a:xfrm>
              <a:prstGeom prst="rect">
                <a:avLst/>
              </a:prstGeom>
              <a:noFill/>
            </p:spPr>
          </p:pic>
          <p:pic>
            <p:nvPicPr>
              <p:cNvPr id="208" name="Picture 6" descr="Facebook Lite - Εφαρμογές στο Google Play"/>
              <p:cNvPicPr>
                <a:picLocks noChangeAspect="1" noChangeArrowheads="1"/>
              </p:cNvPicPr>
              <p:nvPr/>
            </p:nvPicPr>
            <p:blipFill>
              <a:blip r:embed="rId7" cstate="print"/>
              <a:srcRect/>
              <a:stretch>
                <a:fillRect/>
              </a:stretch>
            </p:blipFill>
            <p:spPr bwMode="auto">
              <a:xfrm>
                <a:off x="3975100" y="2247900"/>
                <a:ext cx="290513" cy="290513"/>
              </a:xfrm>
              <a:prstGeom prst="rect">
                <a:avLst/>
              </a:prstGeom>
              <a:noFill/>
            </p:spPr>
          </p:pic>
          <p:pic>
            <p:nvPicPr>
              <p:cNvPr id="209" name="Picture 6" descr="Facebook Lite - Εφαρμογές στο Google Play"/>
              <p:cNvPicPr>
                <a:picLocks noChangeAspect="1" noChangeArrowheads="1"/>
              </p:cNvPicPr>
              <p:nvPr/>
            </p:nvPicPr>
            <p:blipFill>
              <a:blip r:embed="rId8" cstate="print"/>
              <a:srcRect/>
              <a:stretch>
                <a:fillRect/>
              </a:stretch>
            </p:blipFill>
            <p:spPr bwMode="auto">
              <a:xfrm>
                <a:off x="4556125" y="4113213"/>
                <a:ext cx="236855" cy="236855"/>
              </a:xfrm>
              <a:prstGeom prst="rect">
                <a:avLst/>
              </a:prstGeom>
              <a:noFill/>
            </p:spPr>
          </p:pic>
          <p:pic>
            <p:nvPicPr>
              <p:cNvPr id="210" name="Picture 6" descr="Facebook Lite - Εφαρμογές στο Google Play"/>
              <p:cNvPicPr>
                <a:picLocks noChangeAspect="1" noChangeArrowheads="1"/>
              </p:cNvPicPr>
              <p:nvPr/>
            </p:nvPicPr>
            <p:blipFill>
              <a:blip r:embed="rId7" cstate="print"/>
              <a:srcRect/>
              <a:stretch>
                <a:fillRect/>
              </a:stretch>
            </p:blipFill>
            <p:spPr bwMode="auto">
              <a:xfrm>
                <a:off x="6689725" y="3867150"/>
                <a:ext cx="290513" cy="290513"/>
              </a:xfrm>
              <a:prstGeom prst="rect">
                <a:avLst/>
              </a:prstGeom>
              <a:noFill/>
            </p:spPr>
          </p:pic>
          <p:pic>
            <p:nvPicPr>
              <p:cNvPr id="54280" name="Picture 8" descr="Tweet, Twitter Icon Icon, Chirrup Icon Icon, Twitter - Png Format Twitter  Logo Png - Free Transparent PNG Clipart Images Download"/>
              <p:cNvPicPr>
                <a:picLocks noChangeAspect="1" noChangeArrowheads="1"/>
              </p:cNvPicPr>
              <p:nvPr/>
            </p:nvPicPr>
            <p:blipFill>
              <a:blip r:embed="rId9" cstate="print"/>
              <a:srcRect/>
              <a:stretch>
                <a:fillRect/>
              </a:stretch>
            </p:blipFill>
            <p:spPr bwMode="auto">
              <a:xfrm>
                <a:off x="9163049" y="4200525"/>
                <a:ext cx="418881" cy="276225"/>
              </a:xfrm>
              <a:prstGeom prst="rect">
                <a:avLst/>
              </a:prstGeom>
              <a:noFill/>
            </p:spPr>
          </p:pic>
          <p:pic>
            <p:nvPicPr>
              <p:cNvPr id="211" name="Picture 8" descr="Tweet, Twitter Icon Icon, Chirrup Icon Icon, Twitter - Png Format Twitter  Logo Png - Free Transparent PNG Clipart Images Download"/>
              <p:cNvPicPr>
                <a:picLocks noChangeAspect="1" noChangeArrowheads="1"/>
              </p:cNvPicPr>
              <p:nvPr/>
            </p:nvPicPr>
            <p:blipFill>
              <a:blip r:embed="rId5" cstate="print"/>
              <a:srcRect/>
              <a:stretch>
                <a:fillRect/>
              </a:stretch>
            </p:blipFill>
            <p:spPr bwMode="auto">
              <a:xfrm>
                <a:off x="6794500" y="2828924"/>
                <a:ext cx="404937" cy="276225"/>
              </a:xfrm>
              <a:prstGeom prst="rect">
                <a:avLst/>
              </a:prstGeom>
              <a:noFill/>
            </p:spPr>
          </p:pic>
          <p:pic>
            <p:nvPicPr>
              <p:cNvPr id="212" name="Picture 8" descr="Tweet, Twitter Icon Icon, Chirrup Icon Icon, Twitter - Png Format Twitter  Logo Png - Free Transparent PNG Clipart Images Download"/>
              <p:cNvPicPr>
                <a:picLocks noChangeAspect="1" noChangeArrowheads="1"/>
              </p:cNvPicPr>
              <p:nvPr/>
            </p:nvPicPr>
            <p:blipFill>
              <a:blip r:embed="rId5" cstate="print"/>
              <a:srcRect/>
              <a:stretch>
                <a:fillRect/>
              </a:stretch>
            </p:blipFill>
            <p:spPr bwMode="auto">
              <a:xfrm>
                <a:off x="7489825" y="3600449"/>
                <a:ext cx="404937" cy="276225"/>
              </a:xfrm>
              <a:prstGeom prst="rect">
                <a:avLst/>
              </a:prstGeom>
              <a:noFill/>
            </p:spPr>
          </p:pic>
          <p:pic>
            <p:nvPicPr>
              <p:cNvPr id="213" name="Picture 8" descr="Tweet, Twitter Icon Icon, Chirrup Icon Icon, Twitter - Png Format Twitter  Logo Png - Free Transparent PNG Clipart Images Download"/>
              <p:cNvPicPr>
                <a:picLocks noChangeAspect="1" noChangeArrowheads="1"/>
              </p:cNvPicPr>
              <p:nvPr/>
            </p:nvPicPr>
            <p:blipFill>
              <a:blip r:embed="rId5" cstate="print"/>
              <a:srcRect/>
              <a:stretch>
                <a:fillRect/>
              </a:stretch>
            </p:blipFill>
            <p:spPr bwMode="auto">
              <a:xfrm>
                <a:off x="6061075" y="3952874"/>
                <a:ext cx="404937" cy="276225"/>
              </a:xfrm>
              <a:prstGeom prst="rect">
                <a:avLst/>
              </a:prstGeom>
              <a:noFill/>
            </p:spPr>
          </p:pic>
          <p:pic>
            <p:nvPicPr>
              <p:cNvPr id="214" name="Picture 8" descr="Tweet, Twitter Icon Icon, Chirrup Icon Icon, Twitter - Png Format Twitter  Logo Png - Free Transparent PNG Clipart Images Download"/>
              <p:cNvPicPr>
                <a:picLocks noChangeAspect="1" noChangeArrowheads="1"/>
              </p:cNvPicPr>
              <p:nvPr/>
            </p:nvPicPr>
            <p:blipFill>
              <a:blip r:embed="rId5" cstate="print"/>
              <a:srcRect/>
              <a:stretch>
                <a:fillRect/>
              </a:stretch>
            </p:blipFill>
            <p:spPr bwMode="auto">
              <a:xfrm>
                <a:off x="5013325" y="2657474"/>
                <a:ext cx="404937" cy="276225"/>
              </a:xfrm>
              <a:prstGeom prst="rect">
                <a:avLst/>
              </a:prstGeom>
              <a:noFill/>
            </p:spPr>
          </p:pic>
          <p:pic>
            <p:nvPicPr>
              <p:cNvPr id="216" name="Picture 8" descr="Tweet, Twitter Icon Icon, Chirrup Icon Icon, Twitter - Png Format Twitter  Logo Png - Free Transparent PNG Clipart Images Download"/>
              <p:cNvPicPr>
                <a:picLocks noChangeAspect="1" noChangeArrowheads="1"/>
              </p:cNvPicPr>
              <p:nvPr/>
            </p:nvPicPr>
            <p:blipFill>
              <a:blip r:embed="rId5" cstate="print"/>
              <a:srcRect/>
              <a:stretch>
                <a:fillRect/>
              </a:stretch>
            </p:blipFill>
            <p:spPr bwMode="auto">
              <a:xfrm>
                <a:off x="4918075" y="3409949"/>
                <a:ext cx="404937" cy="276225"/>
              </a:xfrm>
              <a:prstGeom prst="rect">
                <a:avLst/>
              </a:prstGeom>
              <a:noFill/>
            </p:spPr>
          </p:pic>
        </p:grpSp>
      </p:grpSp>
      <p:sp>
        <p:nvSpPr>
          <p:cNvPr id="180" name="Rectangle 179"/>
          <p:cNvSpPr/>
          <p:nvPr/>
        </p:nvSpPr>
        <p:spPr>
          <a:xfrm>
            <a:off x="4252366" y="5020731"/>
            <a:ext cx="4284271" cy="607539"/>
          </a:xfrm>
          <a:prstGeom prst="rect">
            <a:avLst/>
          </a:prstGeom>
          <a:solidFill>
            <a:schemeClr val="bg1"/>
          </a:solidFill>
        </p:spPr>
        <p:txBody>
          <a:bodyPr wrap="square">
            <a:spAutoFit/>
          </a:bodyPr>
          <a:lstStyle/>
          <a:p>
            <a:pPr>
              <a:lnSpc>
                <a:spcPct val="107000"/>
              </a:lnSpc>
            </a:pPr>
            <a:r>
              <a:rPr lang="el-GR" sz="1600" b="1" dirty="0"/>
              <a:t>4.1 Προβολή των ελληνικών θέσεων και ενίσχυση της διεθνούς εικόνας της χώρας</a:t>
            </a:r>
          </a:p>
        </p:txBody>
      </p:sp>
      <p:sp>
        <p:nvSpPr>
          <p:cNvPr id="101" name="Oval 100"/>
          <p:cNvSpPr/>
          <p:nvPr/>
        </p:nvSpPr>
        <p:spPr>
          <a:xfrm>
            <a:off x="10722429" y="6215743"/>
            <a:ext cx="185057" cy="174171"/>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3" name="Google Shape;116;p3">
            <a:extLst>
              <a:ext uri="{FF2B5EF4-FFF2-40B4-BE49-F238E27FC236}">
                <a16:creationId xmlns:a16="http://schemas.microsoft.com/office/drawing/2014/main" id="{673A268A-D161-4A5B-B306-60A6113FFC8F}"/>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Προβολή και προώθηση των ελληνικών θέσεων και της Ελλάδας στο εξωτερικό καθώς και αξιοποίηση των δυνατοτήτων της Διασποράς</a:t>
            </a:r>
          </a:p>
        </p:txBody>
      </p:sp>
      <p:grpSp>
        <p:nvGrpSpPr>
          <p:cNvPr id="104" name="Group 103">
            <a:extLst>
              <a:ext uri="{FF2B5EF4-FFF2-40B4-BE49-F238E27FC236}">
                <a16:creationId xmlns:a16="http://schemas.microsoft.com/office/drawing/2014/main" id="{20DEFBC2-C967-44C6-8AE4-BB251F706255}"/>
              </a:ext>
            </a:extLst>
          </p:cNvPr>
          <p:cNvGrpSpPr/>
          <p:nvPr/>
        </p:nvGrpSpPr>
        <p:grpSpPr>
          <a:xfrm>
            <a:off x="9144168" y="1082123"/>
            <a:ext cx="2447734" cy="360000"/>
            <a:chOff x="9144168" y="1082123"/>
            <a:chExt cx="2447734" cy="360000"/>
          </a:xfrm>
        </p:grpSpPr>
        <p:sp>
          <p:nvSpPr>
            <p:cNvPr id="105" name="Rectangle 104">
              <a:extLst>
                <a:ext uri="{FF2B5EF4-FFF2-40B4-BE49-F238E27FC236}">
                  <a16:creationId xmlns:a16="http://schemas.microsoft.com/office/drawing/2014/main" id="{581CD6FA-BC06-4D3B-89C7-0710EC89650A}"/>
                </a:ext>
              </a:extLst>
            </p:cNvPr>
            <p:cNvSpPr/>
            <p:nvPr/>
          </p:nvSpPr>
          <p:spPr>
            <a:xfrm>
              <a:off x="950682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106" name="Rectangle 105">
              <a:extLst>
                <a:ext uri="{FF2B5EF4-FFF2-40B4-BE49-F238E27FC236}">
                  <a16:creationId xmlns:a16="http://schemas.microsoft.com/office/drawing/2014/main" id="{2F690408-C6B4-45F4-AE18-6DDC4C745CF3}"/>
                </a:ext>
              </a:extLst>
            </p:cNvPr>
            <p:cNvSpPr/>
            <p:nvPr/>
          </p:nvSpPr>
          <p:spPr>
            <a:xfrm>
              <a:off x="9935242"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107" name="Rectangle 106">
              <a:extLst>
                <a:ext uri="{FF2B5EF4-FFF2-40B4-BE49-F238E27FC236}">
                  <a16:creationId xmlns:a16="http://schemas.microsoft.com/office/drawing/2014/main" id="{0AF399B4-A4A1-4158-ACEF-2A8284F99E25}"/>
                </a:ext>
              </a:extLst>
            </p:cNvPr>
            <p:cNvSpPr/>
            <p:nvPr/>
          </p:nvSpPr>
          <p:spPr>
            <a:xfrm>
              <a:off x="10369540"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108" name="Rectangle 107">
              <a:extLst>
                <a:ext uri="{FF2B5EF4-FFF2-40B4-BE49-F238E27FC236}">
                  <a16:creationId xmlns:a16="http://schemas.microsoft.com/office/drawing/2014/main" id="{A0704C9F-260F-4690-BB6B-0796835D2434}"/>
                </a:ext>
              </a:extLst>
            </p:cNvPr>
            <p:cNvSpPr/>
            <p:nvPr/>
          </p:nvSpPr>
          <p:spPr>
            <a:xfrm>
              <a:off x="10797248" y="1082123"/>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109" name="Rectangle 108">
              <a:extLst>
                <a:ext uri="{FF2B5EF4-FFF2-40B4-BE49-F238E27FC236}">
                  <a16:creationId xmlns:a16="http://schemas.microsoft.com/office/drawing/2014/main" id="{A730E187-6729-4AD2-A5E7-02E393B7E9AD}"/>
                </a:ext>
              </a:extLst>
            </p:cNvPr>
            <p:cNvSpPr/>
            <p:nvPr/>
          </p:nvSpPr>
          <p:spPr>
            <a:xfrm>
              <a:off x="1123190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110" name="Group 51">
              <a:extLst>
                <a:ext uri="{FF2B5EF4-FFF2-40B4-BE49-F238E27FC236}">
                  <a16:creationId xmlns:a16="http://schemas.microsoft.com/office/drawing/2014/main" id="{D1B7EDAC-DA44-42CC-9C34-0DA07E69E9DC}"/>
                </a:ext>
              </a:extLst>
            </p:cNvPr>
            <p:cNvGrpSpPr/>
            <p:nvPr/>
          </p:nvGrpSpPr>
          <p:grpSpPr>
            <a:xfrm>
              <a:off x="9144168" y="1097414"/>
              <a:ext cx="288000" cy="288000"/>
              <a:chOff x="1024834" y="3136678"/>
              <a:chExt cx="1791641" cy="1794690"/>
            </a:xfrm>
            <a:solidFill>
              <a:srgbClr val="013476"/>
            </a:solidFill>
          </p:grpSpPr>
          <p:sp>
            <p:nvSpPr>
              <p:cNvPr id="111" name="Rectangle 228">
                <a:extLst>
                  <a:ext uri="{FF2B5EF4-FFF2-40B4-BE49-F238E27FC236}">
                    <a16:creationId xmlns:a16="http://schemas.microsoft.com/office/drawing/2014/main" id="{A89A382F-6969-42BD-B736-9F8D3586096B}"/>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112" name="Group 53">
                <a:extLst>
                  <a:ext uri="{FF2B5EF4-FFF2-40B4-BE49-F238E27FC236}">
                    <a16:creationId xmlns:a16="http://schemas.microsoft.com/office/drawing/2014/main" id="{08C879E5-4491-48A4-8475-F33FD07A01A4}"/>
                  </a:ext>
                </a:extLst>
              </p:cNvPr>
              <p:cNvGrpSpPr/>
              <p:nvPr/>
            </p:nvGrpSpPr>
            <p:grpSpPr>
              <a:xfrm>
                <a:off x="1024834" y="3136678"/>
                <a:ext cx="1791641" cy="1794690"/>
                <a:chOff x="1024834" y="3136678"/>
                <a:chExt cx="1791641" cy="1794690"/>
              </a:xfrm>
              <a:grpFill/>
            </p:grpSpPr>
            <p:sp>
              <p:nvSpPr>
                <p:cNvPr id="113" name="Rectangle 218">
                  <a:extLst>
                    <a:ext uri="{FF2B5EF4-FFF2-40B4-BE49-F238E27FC236}">
                      <a16:creationId xmlns:a16="http://schemas.microsoft.com/office/drawing/2014/main" id="{571A5EAE-1625-4363-BD6B-0FA0531A00EF}"/>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114" name="Group 55">
                  <a:extLst>
                    <a:ext uri="{FF2B5EF4-FFF2-40B4-BE49-F238E27FC236}">
                      <a16:creationId xmlns:a16="http://schemas.microsoft.com/office/drawing/2014/main" id="{A792DB57-0FF4-4145-A719-C3462D4FC2CF}"/>
                    </a:ext>
                  </a:extLst>
                </p:cNvPr>
                <p:cNvGrpSpPr/>
                <p:nvPr/>
              </p:nvGrpSpPr>
              <p:grpSpPr>
                <a:xfrm>
                  <a:off x="1024834" y="3136678"/>
                  <a:ext cx="1791641" cy="1695618"/>
                  <a:chOff x="5289671" y="2145561"/>
                  <a:chExt cx="255588" cy="241897"/>
                </a:xfrm>
                <a:grpFill/>
              </p:grpSpPr>
              <p:sp>
                <p:nvSpPr>
                  <p:cNvPr id="118" name="Freeform 227">
                    <a:extLst>
                      <a:ext uri="{FF2B5EF4-FFF2-40B4-BE49-F238E27FC236}">
                        <a16:creationId xmlns:a16="http://schemas.microsoft.com/office/drawing/2014/main" id="{C5A843C0-9F45-4742-B486-17E5FA5497B6}"/>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119" name="Rectangle 228">
                    <a:extLst>
                      <a:ext uri="{FF2B5EF4-FFF2-40B4-BE49-F238E27FC236}">
                        <a16:creationId xmlns:a16="http://schemas.microsoft.com/office/drawing/2014/main" id="{C4A999E1-BAC2-4385-8BB1-B79D5CE23AC5}"/>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20" name="Rectangle 229">
                    <a:extLst>
                      <a:ext uri="{FF2B5EF4-FFF2-40B4-BE49-F238E27FC236}">
                        <a16:creationId xmlns:a16="http://schemas.microsoft.com/office/drawing/2014/main" id="{AE1BDB5E-B55A-4393-A307-F23427DF3569}"/>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115" name="Rectangle 114">
                  <a:extLst>
                    <a:ext uri="{FF2B5EF4-FFF2-40B4-BE49-F238E27FC236}">
                      <a16:creationId xmlns:a16="http://schemas.microsoft.com/office/drawing/2014/main" id="{CEB46314-A536-4682-9ED7-C8C7D267EEE7}"/>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16" name="Rectangle 115">
                  <a:extLst>
                    <a:ext uri="{FF2B5EF4-FFF2-40B4-BE49-F238E27FC236}">
                      <a16:creationId xmlns:a16="http://schemas.microsoft.com/office/drawing/2014/main" id="{80429603-7C70-49A1-9A5D-D5384B95B7CA}"/>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117" name="Rectangle 116">
                  <a:extLst>
                    <a:ext uri="{FF2B5EF4-FFF2-40B4-BE49-F238E27FC236}">
                      <a16:creationId xmlns:a16="http://schemas.microsoft.com/office/drawing/2014/main" id="{E648259A-652F-4A21-A92E-A94B149D1D14}"/>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CFCFC"/>
        </a:solidFill>
        <a:effectLst/>
      </p:bgPr>
    </p:bg>
    <p:spTree>
      <p:nvGrpSpPr>
        <p:cNvPr id="1" name=""/>
        <p:cNvGrpSpPr/>
        <p:nvPr/>
      </p:nvGrpSpPr>
      <p:grpSpPr>
        <a:xfrm>
          <a:off x="0" y="0"/>
          <a:ext cx="0" cy="0"/>
          <a:chOff x="0" y="0"/>
          <a:chExt cx="0" cy="0"/>
        </a:xfrm>
      </p:grpSpPr>
      <p:grpSp>
        <p:nvGrpSpPr>
          <p:cNvPr id="3" name="Group 170"/>
          <p:cNvGrpSpPr/>
          <p:nvPr/>
        </p:nvGrpSpPr>
        <p:grpSpPr>
          <a:xfrm>
            <a:off x="412344" y="1190579"/>
            <a:ext cx="11151009" cy="5304817"/>
            <a:chOff x="1104095" y="1097305"/>
            <a:chExt cx="10091760" cy="5183697"/>
          </a:xfrm>
        </p:grpSpPr>
        <p:pic>
          <p:nvPicPr>
            <p:cNvPr id="172" name="Picture 171" descr="diaspora map.png"/>
            <p:cNvPicPr>
              <a:picLocks noChangeAspect="1"/>
            </p:cNvPicPr>
            <p:nvPr/>
          </p:nvPicPr>
          <p:blipFill>
            <a:blip r:embed="rId3">
              <a:lum bright="10000" contrast="-20000"/>
            </a:blip>
            <a:stretch>
              <a:fillRect/>
            </a:stretch>
          </p:blipFill>
          <p:spPr>
            <a:xfrm>
              <a:off x="1104095" y="1097305"/>
              <a:ext cx="10091760" cy="5183697"/>
            </a:xfrm>
            <a:prstGeom prst="rect">
              <a:avLst/>
            </a:prstGeom>
          </p:spPr>
        </p:pic>
        <p:pic>
          <p:nvPicPr>
            <p:cNvPr id="173" name="Picture 172" descr="diaspora figures.png"/>
            <p:cNvPicPr>
              <a:picLocks noChangeAspect="1"/>
            </p:cNvPicPr>
            <p:nvPr/>
          </p:nvPicPr>
          <p:blipFill>
            <a:blip r:embed="rId4">
              <a:lum bright="10000" contrast="-20000"/>
            </a:blip>
            <a:stretch>
              <a:fillRect/>
            </a:stretch>
          </p:blipFill>
          <p:spPr>
            <a:xfrm>
              <a:off x="1108619" y="5172075"/>
              <a:ext cx="1277053" cy="1044014"/>
            </a:xfrm>
            <a:prstGeom prst="rect">
              <a:avLst/>
            </a:prstGeom>
          </p:spPr>
        </p:pic>
      </p:grpSp>
      <p:grpSp>
        <p:nvGrpSpPr>
          <p:cNvPr id="8" name="Ομάδα 7">
            <a:extLst>
              <a:ext uri="{FF2B5EF4-FFF2-40B4-BE49-F238E27FC236}">
                <a16:creationId xmlns:a16="http://schemas.microsoft.com/office/drawing/2014/main" id="{83FB8BCF-BF98-4743-8800-583C4F7E32FF}"/>
              </a:ext>
            </a:extLst>
          </p:cNvPr>
          <p:cNvGrpSpPr/>
          <p:nvPr/>
        </p:nvGrpSpPr>
        <p:grpSpPr>
          <a:xfrm>
            <a:off x="2673351" y="1852295"/>
            <a:ext cx="7364325" cy="3133726"/>
            <a:chOff x="2673351" y="1852295"/>
            <a:chExt cx="7364325" cy="3133726"/>
          </a:xfrm>
        </p:grpSpPr>
        <p:grpSp>
          <p:nvGrpSpPr>
            <p:cNvPr id="6" name="Group 169"/>
            <p:cNvGrpSpPr/>
            <p:nvPr/>
          </p:nvGrpSpPr>
          <p:grpSpPr>
            <a:xfrm>
              <a:off x="2673351" y="1852295"/>
              <a:ext cx="7364325" cy="3133726"/>
              <a:chOff x="2790826" y="1724025"/>
              <a:chExt cx="7364325" cy="3133726"/>
            </a:xfrm>
          </p:grpSpPr>
          <p:cxnSp>
            <p:nvCxnSpPr>
              <p:cNvPr id="64" name="Straight Connector 63"/>
              <p:cNvCxnSpPr>
                <a:stCxn id="179" idx="3"/>
              </p:cNvCxnSpPr>
              <p:nvPr/>
            </p:nvCxnSpPr>
            <p:spPr>
              <a:xfrm rot="5400000">
                <a:off x="4504259" y="2384368"/>
                <a:ext cx="1645780" cy="2024635"/>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179" idx="2"/>
              </p:cNvCxnSpPr>
              <p:nvPr/>
            </p:nvCxnSpPr>
            <p:spPr>
              <a:xfrm rot="10800000">
                <a:off x="3465605" y="1978602"/>
                <a:ext cx="2830421" cy="4829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179" idx="2"/>
              </p:cNvCxnSpPr>
              <p:nvPr/>
            </p:nvCxnSpPr>
            <p:spPr>
              <a:xfrm rot="10800000">
                <a:off x="3152777" y="2438404"/>
                <a:ext cx="3143248" cy="231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179" idx="2"/>
              </p:cNvCxnSpPr>
              <p:nvPr/>
            </p:nvCxnSpPr>
            <p:spPr>
              <a:xfrm rot="10800000" flipV="1">
                <a:off x="2791837" y="2461576"/>
                <a:ext cx="3504189" cy="595848"/>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179" idx="3"/>
              </p:cNvCxnSpPr>
              <p:nvPr/>
            </p:nvCxnSpPr>
            <p:spPr>
              <a:xfrm rot="5400000">
                <a:off x="3986950" y="2501625"/>
                <a:ext cx="2280347" cy="2424686"/>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5531017" y="3530666"/>
                <a:ext cx="2001252" cy="17245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16200000" flipH="1">
                <a:off x="6433840" y="2700038"/>
                <a:ext cx="321440" cy="145881"/>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553701" y="2572151"/>
                <a:ext cx="647199" cy="4568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179" idx="7"/>
              </p:cNvCxnSpPr>
              <p:nvPr/>
            </p:nvCxnSpPr>
            <p:spPr>
              <a:xfrm rot="5400000" flipH="1" flipV="1">
                <a:off x="6557634" y="1763241"/>
                <a:ext cx="577702" cy="59453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10800000">
                <a:off x="5821742" y="2019424"/>
                <a:ext cx="491329" cy="364233"/>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179" idx="1"/>
              </p:cNvCxnSpPr>
              <p:nvPr/>
            </p:nvCxnSpPr>
            <p:spPr>
              <a:xfrm rot="16200000" flipV="1">
                <a:off x="6095572" y="2105462"/>
                <a:ext cx="272904" cy="214885"/>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0800000">
                <a:off x="6581776" y="2520015"/>
                <a:ext cx="1533527" cy="385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179" idx="6"/>
              </p:cNvCxnSpPr>
              <p:nvPr/>
            </p:nvCxnSpPr>
            <p:spPr>
              <a:xfrm rot="10800000" flipV="1">
                <a:off x="6592661" y="2202302"/>
                <a:ext cx="1028384" cy="2592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rot="10800000">
                <a:off x="6561724" y="2568144"/>
                <a:ext cx="3453062" cy="1933071"/>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p:cNvCxnSpPr>
                <a:cxnSpLocks/>
                <a:endCxn id="179" idx="5"/>
              </p:cNvCxnSpPr>
              <p:nvPr/>
            </p:nvCxnSpPr>
            <p:spPr>
              <a:xfrm flipH="1" flipV="1">
                <a:off x="6549220" y="2573795"/>
                <a:ext cx="3605931" cy="2143316"/>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rot="5400000" flipH="1" flipV="1">
                <a:off x="5811756" y="2973202"/>
                <a:ext cx="922421" cy="20053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rot="16200000" flipH="1">
                <a:off x="6009071" y="1963355"/>
                <a:ext cx="599476" cy="1208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p:cNvCxnSpPr>
                <a:stCxn id="179" idx="6"/>
              </p:cNvCxnSpPr>
              <p:nvPr/>
            </p:nvCxnSpPr>
            <p:spPr>
              <a:xfrm>
                <a:off x="6592661" y="2461576"/>
                <a:ext cx="2010419" cy="3913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rot="10800000" flipV="1">
                <a:off x="3710238" y="2511992"/>
                <a:ext cx="2586792" cy="1957137"/>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rot="5400000">
                <a:off x="3052763" y="2043113"/>
                <a:ext cx="495300" cy="3333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rot="5400000">
                <a:off x="2662238" y="2576514"/>
                <a:ext cx="609601" cy="3524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rot="16200000" flipH="1">
                <a:off x="2538413" y="3300416"/>
                <a:ext cx="1438276" cy="9334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2790827" y="3048002"/>
                <a:ext cx="1552573" cy="11620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6200000" flipH="1">
                <a:off x="2324102" y="3267076"/>
                <a:ext cx="2428873" cy="752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rot="16200000" flipH="1">
                <a:off x="2767014" y="2652714"/>
                <a:ext cx="2247898" cy="866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rot="5400000" flipH="1" flipV="1">
                <a:off x="3786187" y="4319588"/>
                <a:ext cx="666750" cy="4095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rot="16200000" flipH="1">
                <a:off x="2338388" y="3109912"/>
                <a:ext cx="2505074" cy="2476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3162302" y="2438402"/>
                <a:ext cx="3459578" cy="21550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rot="16200000" flipH="1">
                <a:off x="5852411" y="3844038"/>
                <a:ext cx="1085249" cy="44567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rot="5400000" flipH="1" flipV="1">
                <a:off x="6108583" y="2973255"/>
                <a:ext cx="617521" cy="48126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rot="5400000" flipH="1" flipV="1">
                <a:off x="5799274" y="3733250"/>
                <a:ext cx="1686826" cy="49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6653964" y="2917056"/>
                <a:ext cx="537411" cy="11189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rot="5400000" flipH="1" flipV="1">
                <a:off x="6118560" y="3528660"/>
                <a:ext cx="1568116" cy="56147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rot="10800000">
                <a:off x="5814124" y="2017952"/>
                <a:ext cx="314384" cy="6046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V="1">
                <a:off x="5815842" y="1733551"/>
                <a:ext cx="442083" cy="2829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rot="10800000">
                <a:off x="7143198" y="1774601"/>
                <a:ext cx="476805" cy="4256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rot="5400000" flipH="1" flipV="1">
                <a:off x="6013470" y="1845393"/>
                <a:ext cx="345114" cy="12683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flipV="1">
                <a:off x="6657975" y="2202303"/>
                <a:ext cx="957170" cy="7123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8096250" y="2857500"/>
                <a:ext cx="514350" cy="476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flipH="1" flipV="1">
                <a:off x="8086727" y="2905125"/>
                <a:ext cx="2068424" cy="18119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V="1">
                <a:off x="6629400" y="4509235"/>
                <a:ext cx="3385386" cy="818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flipV="1">
                <a:off x="6180722" y="3019425"/>
                <a:ext cx="1001128" cy="50723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V="1">
                <a:off x="7162800" y="2895600"/>
                <a:ext cx="981075" cy="1333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6252394" y="1739204"/>
                <a:ext cx="887853" cy="35396"/>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176" name="Straight Connector 175"/>
            <p:cNvCxnSpPr/>
            <p:nvPr/>
          </p:nvCxnSpPr>
          <p:spPr>
            <a:xfrm>
              <a:off x="3356142" y="2106863"/>
              <a:ext cx="6533147" cy="2522621"/>
            </a:xfrm>
            <a:prstGeom prst="line">
              <a:avLst/>
            </a:prstGeom>
          </p:spPr>
          <p:style>
            <a:lnRef idx="1">
              <a:schemeClr val="accent1"/>
            </a:lnRef>
            <a:fillRef idx="0">
              <a:schemeClr val="accent1"/>
            </a:fillRef>
            <a:effectRef idx="0">
              <a:schemeClr val="accent1"/>
            </a:effectRef>
            <a:fontRef idx="minor">
              <a:schemeClr val="tx1"/>
            </a:fontRef>
          </p:style>
        </p:cxnSp>
      </p:grpSp>
      <p:sp>
        <p:nvSpPr>
          <p:cNvPr id="179" name="Oval 178"/>
          <p:cNvSpPr/>
          <p:nvPr/>
        </p:nvSpPr>
        <p:spPr>
          <a:xfrm>
            <a:off x="6178550" y="2431144"/>
            <a:ext cx="296636" cy="317404"/>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1" name="Rectangle 190"/>
          <p:cNvSpPr/>
          <p:nvPr/>
        </p:nvSpPr>
        <p:spPr>
          <a:xfrm>
            <a:off x="10650941" y="6172199"/>
            <a:ext cx="1121959" cy="261610"/>
          </a:xfrm>
          <a:prstGeom prst="rect">
            <a:avLst/>
          </a:prstGeom>
        </p:spPr>
        <p:txBody>
          <a:bodyPr wrap="square">
            <a:spAutoFit/>
          </a:bodyPr>
          <a:lstStyle/>
          <a:p>
            <a:r>
              <a:rPr lang="en-US" sz="1100" dirty="0"/>
              <a:t>CC BY-SA 3.0</a:t>
            </a:r>
            <a:endParaRPr lang="el-GR" sz="1100" dirty="0"/>
          </a:p>
        </p:txBody>
      </p:sp>
      <p:grpSp>
        <p:nvGrpSpPr>
          <p:cNvPr id="104" name="Group 51">
            <a:extLst>
              <a:ext uri="{FF2B5EF4-FFF2-40B4-BE49-F238E27FC236}">
                <a16:creationId xmlns:a16="http://schemas.microsoft.com/office/drawing/2014/main" id="{2316B2DF-8FCD-482D-8464-926EC6397BE1}"/>
              </a:ext>
            </a:extLst>
          </p:cNvPr>
          <p:cNvGrpSpPr/>
          <p:nvPr/>
        </p:nvGrpSpPr>
        <p:grpSpPr>
          <a:xfrm>
            <a:off x="6386269" y="2079170"/>
            <a:ext cx="743874" cy="773793"/>
            <a:chOff x="1024834" y="3136634"/>
            <a:chExt cx="1791641" cy="2079042"/>
          </a:xfrm>
          <a:solidFill>
            <a:srgbClr val="00338D"/>
          </a:solidFill>
        </p:grpSpPr>
        <p:sp>
          <p:nvSpPr>
            <p:cNvPr id="106" name="Rectangle 228">
              <a:extLst>
                <a:ext uri="{FF2B5EF4-FFF2-40B4-BE49-F238E27FC236}">
                  <a16:creationId xmlns:a16="http://schemas.microsoft.com/office/drawing/2014/main" id="{62B1D3A3-1B9A-4001-A14D-C3329DDBBCA6}"/>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107" name="Group 53">
              <a:extLst>
                <a:ext uri="{FF2B5EF4-FFF2-40B4-BE49-F238E27FC236}">
                  <a16:creationId xmlns:a16="http://schemas.microsoft.com/office/drawing/2014/main" id="{87BA6F32-FFE9-4F97-8D07-87EEB344D655}"/>
                </a:ext>
              </a:extLst>
            </p:cNvPr>
            <p:cNvGrpSpPr/>
            <p:nvPr/>
          </p:nvGrpSpPr>
          <p:grpSpPr>
            <a:xfrm>
              <a:off x="1024834" y="3136634"/>
              <a:ext cx="1791641" cy="2079042"/>
              <a:chOff x="1024834" y="3136634"/>
              <a:chExt cx="1791641" cy="2079042"/>
            </a:xfrm>
            <a:grpFill/>
          </p:grpSpPr>
          <p:sp>
            <p:nvSpPr>
              <p:cNvPr id="108" name="Rectangle 218">
                <a:extLst>
                  <a:ext uri="{FF2B5EF4-FFF2-40B4-BE49-F238E27FC236}">
                    <a16:creationId xmlns:a16="http://schemas.microsoft.com/office/drawing/2014/main" id="{7948827F-B76B-413A-9DEF-F03DF92E38F5}"/>
                  </a:ext>
                </a:extLst>
              </p:cNvPr>
              <p:cNvSpPr>
                <a:spLocks noChangeArrowheads="1"/>
              </p:cNvSpPr>
              <p:nvPr/>
            </p:nvSpPr>
            <p:spPr bwMode="auto">
              <a:xfrm>
                <a:off x="1504455" y="3739752"/>
                <a:ext cx="104909" cy="11854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109" name="Group 55">
                <a:extLst>
                  <a:ext uri="{FF2B5EF4-FFF2-40B4-BE49-F238E27FC236}">
                    <a16:creationId xmlns:a16="http://schemas.microsoft.com/office/drawing/2014/main" id="{E702F8DC-C63B-4F57-BE32-425ABA23FC83}"/>
                  </a:ext>
                </a:extLst>
              </p:cNvPr>
              <p:cNvGrpSpPr/>
              <p:nvPr/>
            </p:nvGrpSpPr>
            <p:grpSpPr>
              <a:xfrm>
                <a:off x="1024834" y="3136634"/>
                <a:ext cx="1791641" cy="1788526"/>
                <a:chOff x="5289671" y="2145561"/>
                <a:chExt cx="255588" cy="255152"/>
              </a:xfrm>
              <a:grpFill/>
            </p:grpSpPr>
            <p:sp>
              <p:nvSpPr>
                <p:cNvPr id="117" name="Freeform 227">
                  <a:extLst>
                    <a:ext uri="{FF2B5EF4-FFF2-40B4-BE49-F238E27FC236}">
                      <a16:creationId xmlns:a16="http://schemas.microsoft.com/office/drawing/2014/main" id="{5E0406EC-E136-4E4C-BD14-D126E05E6CCD}"/>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119" name="Rectangle 228">
                  <a:extLst>
                    <a:ext uri="{FF2B5EF4-FFF2-40B4-BE49-F238E27FC236}">
                      <a16:creationId xmlns:a16="http://schemas.microsoft.com/office/drawing/2014/main" id="{A58985E5-8B5C-4CE7-A597-5042B109DFA4}"/>
                    </a:ext>
                  </a:extLst>
                </p:cNvPr>
                <p:cNvSpPr>
                  <a:spLocks noChangeArrowheads="1"/>
                </p:cNvSpPr>
                <p:nvPr/>
              </p:nvSpPr>
              <p:spPr bwMode="auto">
                <a:xfrm>
                  <a:off x="5395840" y="2195461"/>
                  <a:ext cx="13051" cy="2052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21" name="Rectangle 229">
                  <a:extLst>
                    <a:ext uri="{FF2B5EF4-FFF2-40B4-BE49-F238E27FC236}">
                      <a16:creationId xmlns:a16="http://schemas.microsoft.com/office/drawing/2014/main" id="{BDA2E161-D953-4704-AD37-EB7FFCC66BE0}"/>
                    </a:ext>
                  </a:extLst>
                </p:cNvPr>
                <p:cNvSpPr>
                  <a:spLocks noChangeArrowheads="1"/>
                </p:cNvSpPr>
                <p:nvPr/>
              </p:nvSpPr>
              <p:spPr bwMode="auto">
                <a:xfrm>
                  <a:off x="5437942" y="2195461"/>
                  <a:ext cx="13966" cy="2052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110" name="Rectangle 109">
                <a:extLst>
                  <a:ext uri="{FF2B5EF4-FFF2-40B4-BE49-F238E27FC236}">
                    <a16:creationId xmlns:a16="http://schemas.microsoft.com/office/drawing/2014/main" id="{DE63166E-B15B-4AC2-924C-5A0AE37559E7}"/>
                  </a:ext>
                </a:extLst>
              </p:cNvPr>
              <p:cNvSpPr>
                <a:spLocks noChangeArrowheads="1"/>
              </p:cNvSpPr>
              <p:nvPr/>
            </p:nvSpPr>
            <p:spPr bwMode="auto">
              <a:xfrm>
                <a:off x="2250943" y="3711546"/>
                <a:ext cx="101748" cy="12136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13" name="Rectangle 112">
                <a:extLst>
                  <a:ext uri="{FF2B5EF4-FFF2-40B4-BE49-F238E27FC236}">
                    <a16:creationId xmlns:a16="http://schemas.microsoft.com/office/drawing/2014/main" id="{6404BABC-C43A-45D4-83F3-0AA92B6CC04E}"/>
                  </a:ext>
                </a:extLst>
              </p:cNvPr>
              <p:cNvSpPr/>
              <p:nvPr/>
            </p:nvSpPr>
            <p:spPr>
              <a:xfrm>
                <a:off x="1346541" y="5020617"/>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115" name="Rectangle 114">
                <a:extLst>
                  <a:ext uri="{FF2B5EF4-FFF2-40B4-BE49-F238E27FC236}">
                    <a16:creationId xmlns:a16="http://schemas.microsoft.com/office/drawing/2014/main" id="{F3E1B1D4-4580-453C-951A-3A64DCEC3EE6}"/>
                  </a:ext>
                </a:extLst>
              </p:cNvPr>
              <p:cNvSpPr/>
              <p:nvPr/>
            </p:nvSpPr>
            <p:spPr>
              <a:xfrm>
                <a:off x="1272111" y="5161676"/>
                <a:ext cx="1368001"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sp>
        <p:nvSpPr>
          <p:cNvPr id="123" name="Rectangle 122"/>
          <p:cNvSpPr/>
          <p:nvPr/>
        </p:nvSpPr>
        <p:spPr>
          <a:xfrm>
            <a:off x="4340144" y="4953665"/>
            <a:ext cx="4222805" cy="607539"/>
          </a:xfrm>
          <a:prstGeom prst="rect">
            <a:avLst/>
          </a:prstGeom>
          <a:solidFill>
            <a:schemeClr val="bg1"/>
          </a:solidFill>
        </p:spPr>
        <p:txBody>
          <a:bodyPr wrap="square">
            <a:spAutoFit/>
          </a:bodyPr>
          <a:lstStyle/>
          <a:p>
            <a:pPr>
              <a:lnSpc>
                <a:spcPct val="107000"/>
              </a:lnSpc>
            </a:pPr>
            <a:r>
              <a:rPr lang="el-GR" sz="1600" b="1" dirty="0"/>
              <a:t>4.2 Ανάδειξη της πολιτιστικής κληρονομιάς, η χώρα</a:t>
            </a:r>
            <a:r>
              <a:rPr lang="en-US" sz="1600" b="1" dirty="0"/>
              <a:t> </a:t>
            </a:r>
            <a:r>
              <a:rPr lang="el-GR" sz="1600" b="1" dirty="0"/>
              <a:t>ως κόμβος πολιτισμού </a:t>
            </a:r>
          </a:p>
        </p:txBody>
      </p:sp>
      <p:sp>
        <p:nvSpPr>
          <p:cNvPr id="124" name="Rectangle 123"/>
          <p:cNvSpPr/>
          <p:nvPr/>
        </p:nvSpPr>
        <p:spPr>
          <a:xfrm>
            <a:off x="6054725" y="5620347"/>
            <a:ext cx="4192623" cy="830997"/>
          </a:xfrm>
          <a:prstGeom prst="rect">
            <a:avLst/>
          </a:prstGeom>
          <a:solidFill>
            <a:schemeClr val="bg1"/>
          </a:solidFill>
        </p:spPr>
        <p:txBody>
          <a:bodyPr wrap="square">
            <a:spAutoFit/>
          </a:bodyPr>
          <a:lstStyle/>
          <a:p>
            <a:r>
              <a:rPr lang="el-GR" sz="1600" b="1" dirty="0"/>
              <a:t>4.3 Αξιοποίηση θρησκευτικής Διπλωματίας και προώθηση δια-θρησκευτικού διαλόγου στην Ανατολική Μεσόγειο</a:t>
            </a:r>
          </a:p>
        </p:txBody>
      </p:sp>
      <p:sp>
        <p:nvSpPr>
          <p:cNvPr id="84" name="Oval 83">
            <a:extLst>
              <a:ext uri="{FF2B5EF4-FFF2-40B4-BE49-F238E27FC236}">
                <a16:creationId xmlns:a16="http://schemas.microsoft.com/office/drawing/2014/main" id="{CA169F77-3EBE-44EC-8A35-35FFB5C2741F}"/>
              </a:ext>
            </a:extLst>
          </p:cNvPr>
          <p:cNvSpPr/>
          <p:nvPr/>
        </p:nvSpPr>
        <p:spPr>
          <a:xfrm>
            <a:off x="10722429" y="6215743"/>
            <a:ext cx="185057" cy="174171"/>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6" name="Google Shape;116;p3">
            <a:extLst>
              <a:ext uri="{FF2B5EF4-FFF2-40B4-BE49-F238E27FC236}">
                <a16:creationId xmlns:a16="http://schemas.microsoft.com/office/drawing/2014/main" id="{F729CE27-746F-4B15-93C2-7EF772FE8473}"/>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Προβολή και προώθηση των ελληνικών θέσεων και της Ελλάδας στο εξωτερικό καθώς και αξιοποίηση των δυνατοτήτων της Διασποράς</a:t>
            </a:r>
          </a:p>
        </p:txBody>
      </p:sp>
      <p:grpSp>
        <p:nvGrpSpPr>
          <p:cNvPr id="189" name="Group 188">
            <a:extLst>
              <a:ext uri="{FF2B5EF4-FFF2-40B4-BE49-F238E27FC236}">
                <a16:creationId xmlns:a16="http://schemas.microsoft.com/office/drawing/2014/main" id="{66A0E054-F1FA-418B-AEA4-AE075309D62E}"/>
              </a:ext>
            </a:extLst>
          </p:cNvPr>
          <p:cNvGrpSpPr/>
          <p:nvPr/>
        </p:nvGrpSpPr>
        <p:grpSpPr>
          <a:xfrm>
            <a:off x="9144168" y="1082123"/>
            <a:ext cx="2447734" cy="360000"/>
            <a:chOff x="9144168" y="1082123"/>
            <a:chExt cx="2447734" cy="360000"/>
          </a:xfrm>
        </p:grpSpPr>
        <p:sp>
          <p:nvSpPr>
            <p:cNvPr id="190" name="Rectangle 189">
              <a:extLst>
                <a:ext uri="{FF2B5EF4-FFF2-40B4-BE49-F238E27FC236}">
                  <a16:creationId xmlns:a16="http://schemas.microsoft.com/office/drawing/2014/main" id="{60AA1882-C1A9-4870-9342-4B57E05A0CCA}"/>
                </a:ext>
              </a:extLst>
            </p:cNvPr>
            <p:cNvSpPr/>
            <p:nvPr/>
          </p:nvSpPr>
          <p:spPr>
            <a:xfrm>
              <a:off x="950682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192" name="Rectangle 191">
              <a:extLst>
                <a:ext uri="{FF2B5EF4-FFF2-40B4-BE49-F238E27FC236}">
                  <a16:creationId xmlns:a16="http://schemas.microsoft.com/office/drawing/2014/main" id="{5767A1BA-0008-4AC7-A245-E7AA3C3A040E}"/>
                </a:ext>
              </a:extLst>
            </p:cNvPr>
            <p:cNvSpPr/>
            <p:nvPr/>
          </p:nvSpPr>
          <p:spPr>
            <a:xfrm>
              <a:off x="9935242"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193" name="Rectangle 192">
              <a:extLst>
                <a:ext uri="{FF2B5EF4-FFF2-40B4-BE49-F238E27FC236}">
                  <a16:creationId xmlns:a16="http://schemas.microsoft.com/office/drawing/2014/main" id="{00078FD8-9F15-457C-8B7C-E11633A2972C}"/>
                </a:ext>
              </a:extLst>
            </p:cNvPr>
            <p:cNvSpPr/>
            <p:nvPr/>
          </p:nvSpPr>
          <p:spPr>
            <a:xfrm>
              <a:off x="10369540"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194" name="Rectangle 193">
              <a:extLst>
                <a:ext uri="{FF2B5EF4-FFF2-40B4-BE49-F238E27FC236}">
                  <a16:creationId xmlns:a16="http://schemas.microsoft.com/office/drawing/2014/main" id="{CD537C2B-51FA-413E-897A-5689C30B13A9}"/>
                </a:ext>
              </a:extLst>
            </p:cNvPr>
            <p:cNvSpPr/>
            <p:nvPr/>
          </p:nvSpPr>
          <p:spPr>
            <a:xfrm>
              <a:off x="10797248" y="1082123"/>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195" name="Rectangle 194">
              <a:extLst>
                <a:ext uri="{FF2B5EF4-FFF2-40B4-BE49-F238E27FC236}">
                  <a16:creationId xmlns:a16="http://schemas.microsoft.com/office/drawing/2014/main" id="{331D0A76-F430-49E2-A59E-08593A4310D4}"/>
                </a:ext>
              </a:extLst>
            </p:cNvPr>
            <p:cNvSpPr/>
            <p:nvPr/>
          </p:nvSpPr>
          <p:spPr>
            <a:xfrm>
              <a:off x="1123190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196" name="Group 51">
              <a:extLst>
                <a:ext uri="{FF2B5EF4-FFF2-40B4-BE49-F238E27FC236}">
                  <a16:creationId xmlns:a16="http://schemas.microsoft.com/office/drawing/2014/main" id="{B213494C-A79A-4F1E-972C-993CE362D58B}"/>
                </a:ext>
              </a:extLst>
            </p:cNvPr>
            <p:cNvGrpSpPr/>
            <p:nvPr/>
          </p:nvGrpSpPr>
          <p:grpSpPr>
            <a:xfrm>
              <a:off x="9144168" y="1097414"/>
              <a:ext cx="288000" cy="288000"/>
              <a:chOff x="1024834" y="3136678"/>
              <a:chExt cx="1791641" cy="1794690"/>
            </a:xfrm>
            <a:solidFill>
              <a:srgbClr val="013476"/>
            </a:solidFill>
          </p:grpSpPr>
          <p:sp>
            <p:nvSpPr>
              <p:cNvPr id="197" name="Rectangle 228">
                <a:extLst>
                  <a:ext uri="{FF2B5EF4-FFF2-40B4-BE49-F238E27FC236}">
                    <a16:creationId xmlns:a16="http://schemas.microsoft.com/office/drawing/2014/main" id="{5E508BA7-3998-40F8-98D8-7A641A3EDC21}"/>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198" name="Group 53">
                <a:extLst>
                  <a:ext uri="{FF2B5EF4-FFF2-40B4-BE49-F238E27FC236}">
                    <a16:creationId xmlns:a16="http://schemas.microsoft.com/office/drawing/2014/main" id="{A832E2DC-23F4-4D9D-A6E5-E3F692512823}"/>
                  </a:ext>
                </a:extLst>
              </p:cNvPr>
              <p:cNvGrpSpPr/>
              <p:nvPr/>
            </p:nvGrpSpPr>
            <p:grpSpPr>
              <a:xfrm>
                <a:off x="1024834" y="3136678"/>
                <a:ext cx="1791641" cy="1794690"/>
                <a:chOff x="1024834" y="3136678"/>
                <a:chExt cx="1791641" cy="1794690"/>
              </a:xfrm>
              <a:grpFill/>
            </p:grpSpPr>
            <p:sp>
              <p:nvSpPr>
                <p:cNvPr id="199" name="Rectangle 218">
                  <a:extLst>
                    <a:ext uri="{FF2B5EF4-FFF2-40B4-BE49-F238E27FC236}">
                      <a16:creationId xmlns:a16="http://schemas.microsoft.com/office/drawing/2014/main" id="{9AA74188-57D3-4E74-84C6-8FC414EA6DB3}"/>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200" name="Group 55">
                  <a:extLst>
                    <a:ext uri="{FF2B5EF4-FFF2-40B4-BE49-F238E27FC236}">
                      <a16:creationId xmlns:a16="http://schemas.microsoft.com/office/drawing/2014/main" id="{28655ACA-739A-4DA8-9F91-5EE78477A9CE}"/>
                    </a:ext>
                  </a:extLst>
                </p:cNvPr>
                <p:cNvGrpSpPr/>
                <p:nvPr/>
              </p:nvGrpSpPr>
              <p:grpSpPr>
                <a:xfrm>
                  <a:off x="1024834" y="3136678"/>
                  <a:ext cx="1791641" cy="1695618"/>
                  <a:chOff x="5289671" y="2145561"/>
                  <a:chExt cx="255588" cy="241897"/>
                </a:xfrm>
                <a:grpFill/>
              </p:grpSpPr>
              <p:sp>
                <p:nvSpPr>
                  <p:cNvPr id="204" name="Freeform 227">
                    <a:extLst>
                      <a:ext uri="{FF2B5EF4-FFF2-40B4-BE49-F238E27FC236}">
                        <a16:creationId xmlns:a16="http://schemas.microsoft.com/office/drawing/2014/main" id="{580EC676-C928-4ACC-A31A-BA9C47BA35AA}"/>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205" name="Rectangle 228">
                    <a:extLst>
                      <a:ext uri="{FF2B5EF4-FFF2-40B4-BE49-F238E27FC236}">
                        <a16:creationId xmlns:a16="http://schemas.microsoft.com/office/drawing/2014/main" id="{79DE126E-98E5-48C6-84C9-5A1C31615719}"/>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206" name="Rectangle 229">
                    <a:extLst>
                      <a:ext uri="{FF2B5EF4-FFF2-40B4-BE49-F238E27FC236}">
                        <a16:creationId xmlns:a16="http://schemas.microsoft.com/office/drawing/2014/main" id="{7E5D4D93-9D9B-4557-A9E3-E323A47D82D1}"/>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201" name="Rectangle 200">
                  <a:extLst>
                    <a:ext uri="{FF2B5EF4-FFF2-40B4-BE49-F238E27FC236}">
                      <a16:creationId xmlns:a16="http://schemas.microsoft.com/office/drawing/2014/main" id="{EEF06B4F-73D9-4FE6-A184-E8A24647BDB9}"/>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202" name="Rectangle 201">
                  <a:extLst>
                    <a:ext uri="{FF2B5EF4-FFF2-40B4-BE49-F238E27FC236}">
                      <a16:creationId xmlns:a16="http://schemas.microsoft.com/office/drawing/2014/main" id="{DE2348B2-A767-447C-A178-0BA9FD3016D6}"/>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203" name="Rectangle 202">
                  <a:extLst>
                    <a:ext uri="{FF2B5EF4-FFF2-40B4-BE49-F238E27FC236}">
                      <a16:creationId xmlns:a16="http://schemas.microsoft.com/office/drawing/2014/main" id="{06F9A5B2-40CF-4B1A-9CE5-681C645FB392}"/>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P spid="12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CFCFC"/>
        </a:solidFill>
        <a:effectLst/>
      </p:bgPr>
    </p:bg>
    <p:spTree>
      <p:nvGrpSpPr>
        <p:cNvPr id="1" name=""/>
        <p:cNvGrpSpPr/>
        <p:nvPr/>
      </p:nvGrpSpPr>
      <p:grpSpPr>
        <a:xfrm>
          <a:off x="0" y="0"/>
          <a:ext cx="0" cy="0"/>
          <a:chOff x="0" y="0"/>
          <a:chExt cx="0" cy="0"/>
        </a:xfrm>
      </p:grpSpPr>
      <p:grpSp>
        <p:nvGrpSpPr>
          <p:cNvPr id="97" name="Group 184"/>
          <p:cNvGrpSpPr/>
          <p:nvPr/>
        </p:nvGrpSpPr>
        <p:grpSpPr>
          <a:xfrm>
            <a:off x="412344" y="1190579"/>
            <a:ext cx="11151009" cy="5304817"/>
            <a:chOff x="167869" y="1062309"/>
            <a:chExt cx="11151009" cy="5304817"/>
          </a:xfrm>
        </p:grpSpPr>
        <p:grpSp>
          <p:nvGrpSpPr>
            <p:cNvPr id="99" name="Group 170"/>
            <p:cNvGrpSpPr/>
            <p:nvPr/>
          </p:nvGrpSpPr>
          <p:grpSpPr>
            <a:xfrm>
              <a:off x="167869" y="1062309"/>
              <a:ext cx="11151009" cy="5304817"/>
              <a:chOff x="1104095" y="1097305"/>
              <a:chExt cx="10091760" cy="5183697"/>
            </a:xfrm>
          </p:grpSpPr>
          <p:pic>
            <p:nvPicPr>
              <p:cNvPr id="180" name="Picture 179" descr="diaspora map.png"/>
              <p:cNvPicPr>
                <a:picLocks noChangeAspect="1"/>
              </p:cNvPicPr>
              <p:nvPr/>
            </p:nvPicPr>
            <p:blipFill>
              <a:blip r:embed="rId3">
                <a:lum bright="10000" contrast="-20000"/>
              </a:blip>
              <a:stretch>
                <a:fillRect/>
              </a:stretch>
            </p:blipFill>
            <p:spPr>
              <a:xfrm>
                <a:off x="1104095" y="1097305"/>
                <a:ext cx="10091760" cy="5183697"/>
              </a:xfrm>
              <a:prstGeom prst="rect">
                <a:avLst/>
              </a:prstGeom>
            </p:spPr>
          </p:pic>
          <p:pic>
            <p:nvPicPr>
              <p:cNvPr id="181" name="Picture 180" descr="diaspora figures.png"/>
              <p:cNvPicPr>
                <a:picLocks noChangeAspect="1"/>
              </p:cNvPicPr>
              <p:nvPr/>
            </p:nvPicPr>
            <p:blipFill>
              <a:blip r:embed="rId4">
                <a:lum bright="10000" contrast="-20000"/>
              </a:blip>
              <a:stretch>
                <a:fillRect/>
              </a:stretch>
            </p:blipFill>
            <p:spPr>
              <a:xfrm>
                <a:off x="1108619" y="5172075"/>
                <a:ext cx="1277053" cy="1044014"/>
              </a:xfrm>
              <a:prstGeom prst="rect">
                <a:avLst/>
              </a:prstGeom>
            </p:spPr>
          </p:pic>
        </p:grpSp>
        <p:grpSp>
          <p:nvGrpSpPr>
            <p:cNvPr id="101" name="Group 181"/>
            <p:cNvGrpSpPr/>
            <p:nvPr/>
          </p:nvGrpSpPr>
          <p:grpSpPr>
            <a:xfrm>
              <a:off x="2428876" y="1724025"/>
              <a:ext cx="7441891" cy="3133726"/>
              <a:chOff x="2428876" y="1724025"/>
              <a:chExt cx="7441891" cy="3133726"/>
            </a:xfrm>
          </p:grpSpPr>
          <p:grpSp>
            <p:nvGrpSpPr>
              <p:cNvPr id="102" name="Group 177"/>
              <p:cNvGrpSpPr/>
              <p:nvPr/>
            </p:nvGrpSpPr>
            <p:grpSpPr>
              <a:xfrm>
                <a:off x="2428876" y="1724025"/>
                <a:ext cx="7441891" cy="3133726"/>
                <a:chOff x="2790826" y="1724025"/>
                <a:chExt cx="7441891" cy="3133726"/>
              </a:xfrm>
            </p:grpSpPr>
            <p:grpSp>
              <p:nvGrpSpPr>
                <p:cNvPr id="105" name="Group 169"/>
                <p:cNvGrpSpPr/>
                <p:nvPr/>
              </p:nvGrpSpPr>
              <p:grpSpPr>
                <a:xfrm>
                  <a:off x="2790826" y="1724025"/>
                  <a:ext cx="7441891" cy="3133726"/>
                  <a:chOff x="2790826" y="1724025"/>
                  <a:chExt cx="7441891" cy="3133726"/>
                </a:xfrm>
              </p:grpSpPr>
              <p:cxnSp>
                <p:nvCxnSpPr>
                  <p:cNvPr id="107" name="Straight Connector 106"/>
                  <p:cNvCxnSpPr>
                    <a:stCxn id="104" idx="3"/>
                  </p:cNvCxnSpPr>
                  <p:nvPr/>
                </p:nvCxnSpPr>
                <p:spPr>
                  <a:xfrm rot="5400000">
                    <a:off x="4504259" y="2384368"/>
                    <a:ext cx="1645780" cy="202463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 name="Straight Connector 107"/>
                  <p:cNvCxnSpPr>
                    <a:stCxn id="104" idx="2"/>
                  </p:cNvCxnSpPr>
                  <p:nvPr/>
                </p:nvCxnSpPr>
                <p:spPr>
                  <a:xfrm rot="10800000">
                    <a:off x="3465605" y="1978602"/>
                    <a:ext cx="2830421" cy="4829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Straight Connector 108"/>
                  <p:cNvCxnSpPr>
                    <a:stCxn id="104" idx="2"/>
                  </p:cNvCxnSpPr>
                  <p:nvPr/>
                </p:nvCxnSpPr>
                <p:spPr>
                  <a:xfrm rot="10800000">
                    <a:off x="3152777" y="2438404"/>
                    <a:ext cx="3143248" cy="23172"/>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Straight Connector 109"/>
                  <p:cNvCxnSpPr>
                    <a:stCxn id="104" idx="2"/>
                  </p:cNvCxnSpPr>
                  <p:nvPr/>
                </p:nvCxnSpPr>
                <p:spPr>
                  <a:xfrm rot="10800000" flipV="1">
                    <a:off x="2791837" y="2461576"/>
                    <a:ext cx="3504189" cy="5958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Straight Connector 112"/>
                  <p:cNvCxnSpPr>
                    <a:stCxn id="104" idx="3"/>
                  </p:cNvCxnSpPr>
                  <p:nvPr/>
                </p:nvCxnSpPr>
                <p:spPr>
                  <a:xfrm rot="5400000">
                    <a:off x="3986950" y="2501625"/>
                    <a:ext cx="2280347" cy="24246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rot="16200000" flipH="1">
                    <a:off x="5531017" y="3530666"/>
                    <a:ext cx="2001252" cy="17245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rot="16200000" flipH="1">
                    <a:off x="6433840" y="2700038"/>
                    <a:ext cx="321440" cy="1458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3701" y="2572151"/>
                    <a:ext cx="647199" cy="45680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104" idx="7"/>
                  </p:cNvCxnSpPr>
                  <p:nvPr/>
                </p:nvCxnSpPr>
                <p:spPr>
                  <a:xfrm rot="5400000" flipH="1" flipV="1">
                    <a:off x="6557634" y="1763241"/>
                    <a:ext cx="577702" cy="59453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rot="10800000">
                    <a:off x="5821742" y="2019424"/>
                    <a:ext cx="491329" cy="3642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04" idx="1"/>
                  </p:cNvCxnSpPr>
                  <p:nvPr/>
                </p:nvCxnSpPr>
                <p:spPr>
                  <a:xfrm rot="16200000" flipV="1">
                    <a:off x="6095572" y="2105462"/>
                    <a:ext cx="272904" cy="2148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rot="10800000">
                    <a:off x="6581776" y="2520015"/>
                    <a:ext cx="1533527" cy="385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Straight Connector 126"/>
                  <p:cNvCxnSpPr>
                    <a:endCxn id="104" idx="6"/>
                  </p:cNvCxnSpPr>
                  <p:nvPr/>
                </p:nvCxnSpPr>
                <p:spPr>
                  <a:xfrm rot="10800000" flipV="1">
                    <a:off x="6592661" y="2202302"/>
                    <a:ext cx="1028384" cy="2592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rot="10800000">
                    <a:off x="6561724" y="2568144"/>
                    <a:ext cx="3453062" cy="19330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1" name="Straight Connector 130"/>
                  <p:cNvCxnSpPr>
                    <a:cxnSpLocks/>
                    <a:endCxn id="104" idx="5"/>
                  </p:cNvCxnSpPr>
                  <p:nvPr/>
                </p:nvCxnSpPr>
                <p:spPr>
                  <a:xfrm flipH="1" flipV="1">
                    <a:off x="6549220" y="2573795"/>
                    <a:ext cx="3683497" cy="214329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rot="5400000" flipH="1" flipV="1">
                    <a:off x="5811756" y="2973202"/>
                    <a:ext cx="922421" cy="20053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rot="16200000" flipH="1">
                    <a:off x="6009071" y="1963355"/>
                    <a:ext cx="599476" cy="1208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04" idx="6"/>
                  </p:cNvCxnSpPr>
                  <p:nvPr/>
                </p:nvCxnSpPr>
                <p:spPr>
                  <a:xfrm>
                    <a:off x="6592661" y="2461576"/>
                    <a:ext cx="2010419" cy="3913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10800000" flipV="1">
                    <a:off x="3710238" y="2511992"/>
                    <a:ext cx="2586792" cy="1957137"/>
                  </a:xfrm>
                  <a:prstGeom prst="line">
                    <a:avLst/>
                  </a:prstGeom>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rot="5400000">
                    <a:off x="3052763" y="2043113"/>
                    <a:ext cx="495300" cy="3333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rot="5400000">
                    <a:off x="2662238" y="2576514"/>
                    <a:ext cx="609601" cy="3524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rot="16200000" flipH="1">
                    <a:off x="2538413" y="3300416"/>
                    <a:ext cx="1438276" cy="9334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2790827" y="3048002"/>
                    <a:ext cx="1552573" cy="11620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rot="16200000" flipH="1">
                    <a:off x="2324102" y="3267076"/>
                    <a:ext cx="2428873" cy="752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rot="16200000" flipH="1">
                    <a:off x="2767014" y="2652714"/>
                    <a:ext cx="2247898" cy="866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rot="5400000" flipH="1" flipV="1">
                    <a:off x="3786187" y="4319588"/>
                    <a:ext cx="666750" cy="4095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rot="16200000" flipH="1">
                    <a:off x="2338388" y="3109912"/>
                    <a:ext cx="2505074" cy="2476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3162302" y="2438402"/>
                    <a:ext cx="3459578" cy="21550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rot="16200000" flipH="1">
                    <a:off x="5852411" y="3844038"/>
                    <a:ext cx="1085249" cy="44567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rot="5400000" flipH="1" flipV="1">
                    <a:off x="6108583" y="2973255"/>
                    <a:ext cx="617521" cy="48126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rot="5400000" flipH="1" flipV="1">
                    <a:off x="5799274" y="3733250"/>
                    <a:ext cx="1686826" cy="49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6653964" y="2917056"/>
                    <a:ext cx="537411" cy="11189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rot="5400000" flipH="1" flipV="1">
                    <a:off x="6118560" y="3528660"/>
                    <a:ext cx="1568116" cy="56147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rot="10800000">
                    <a:off x="5814124" y="2017952"/>
                    <a:ext cx="314384" cy="6046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V="1">
                    <a:off x="5815842" y="1733551"/>
                    <a:ext cx="442083" cy="2829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rot="10800000">
                    <a:off x="7143198" y="1774601"/>
                    <a:ext cx="476805" cy="4256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rot="5400000" flipH="1" flipV="1">
                    <a:off x="6013470" y="1845393"/>
                    <a:ext cx="345114" cy="12683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flipV="1">
                    <a:off x="6657975" y="2202303"/>
                    <a:ext cx="957170" cy="7123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V="1">
                    <a:off x="8096250" y="2857500"/>
                    <a:ext cx="514350" cy="476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Straight Connector 170"/>
                  <p:cNvCxnSpPr>
                    <a:cxnSpLocks/>
                  </p:cNvCxnSpPr>
                  <p:nvPr/>
                </p:nvCxnSpPr>
                <p:spPr>
                  <a:xfrm flipH="1" flipV="1">
                    <a:off x="8086727" y="2905125"/>
                    <a:ext cx="2145990" cy="1811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V="1">
                    <a:off x="6629400" y="4509235"/>
                    <a:ext cx="3385386" cy="818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flipV="1">
                    <a:off x="6180722" y="3019425"/>
                    <a:ext cx="1001128" cy="507231"/>
                  </a:xfrm>
                  <a:prstGeom prst="line">
                    <a:avLst/>
                  </a:prstGeom>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flipV="1">
                    <a:off x="7162800" y="2895600"/>
                    <a:ext cx="981075" cy="1333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6252394" y="1739204"/>
                    <a:ext cx="887853" cy="35396"/>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106" name="Straight Connector 105"/>
                <p:cNvCxnSpPr/>
                <p:nvPr/>
              </p:nvCxnSpPr>
              <p:spPr>
                <a:xfrm>
                  <a:off x="3473617" y="1978593"/>
                  <a:ext cx="6533147" cy="2522621"/>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 name="Oval 103"/>
              <p:cNvSpPr/>
              <p:nvPr/>
            </p:nvSpPr>
            <p:spPr>
              <a:xfrm>
                <a:off x="5934075" y="2302874"/>
                <a:ext cx="296636" cy="317404"/>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grpSp>
      <p:sp>
        <p:nvSpPr>
          <p:cNvPr id="191" name="Rectangle 190"/>
          <p:cNvSpPr/>
          <p:nvPr/>
        </p:nvSpPr>
        <p:spPr>
          <a:xfrm>
            <a:off x="10622366" y="6172199"/>
            <a:ext cx="1121959" cy="261610"/>
          </a:xfrm>
          <a:prstGeom prst="rect">
            <a:avLst/>
          </a:prstGeom>
        </p:spPr>
        <p:txBody>
          <a:bodyPr wrap="square">
            <a:spAutoFit/>
          </a:bodyPr>
          <a:lstStyle/>
          <a:p>
            <a:r>
              <a:rPr lang="en-US" sz="1100" dirty="0"/>
              <a:t>CC BY-SA 3.0</a:t>
            </a:r>
            <a:endParaRPr lang="el-GR" sz="1100" dirty="0"/>
          </a:p>
        </p:txBody>
      </p:sp>
      <p:sp>
        <p:nvSpPr>
          <p:cNvPr id="93" name="Rectangle 92"/>
          <p:cNvSpPr/>
          <p:nvPr/>
        </p:nvSpPr>
        <p:spPr>
          <a:xfrm>
            <a:off x="6444249" y="3362736"/>
            <a:ext cx="4970629" cy="338554"/>
          </a:xfrm>
          <a:prstGeom prst="rect">
            <a:avLst/>
          </a:prstGeom>
          <a:solidFill>
            <a:schemeClr val="bg1"/>
          </a:solidFill>
        </p:spPr>
        <p:txBody>
          <a:bodyPr wrap="square">
            <a:spAutoFit/>
          </a:bodyPr>
          <a:lstStyle/>
          <a:p>
            <a:r>
              <a:rPr lang="el-GR" sz="1600" b="1" dirty="0"/>
              <a:t>4.4</a:t>
            </a:r>
            <a:r>
              <a:rPr lang="el-GR" sz="1600" b="1" dirty="0">
                <a:solidFill>
                  <a:schemeClr val="accent1"/>
                </a:solidFill>
              </a:rPr>
              <a:t> </a:t>
            </a:r>
            <a:r>
              <a:rPr lang="el-GR" sz="1600" b="1" dirty="0">
                <a:latin typeface="Calibri" pitchFamily="34" charset="0"/>
                <a:cs typeface="Calibri" pitchFamily="34" charset="0"/>
              </a:rPr>
              <a:t>Ενίσχυση των δεσμών με τον Απόδημο Ελληνισμό</a:t>
            </a:r>
          </a:p>
        </p:txBody>
      </p:sp>
      <p:sp>
        <p:nvSpPr>
          <p:cNvPr id="94" name="Rectangle 93"/>
          <p:cNvSpPr/>
          <p:nvPr/>
        </p:nvSpPr>
        <p:spPr>
          <a:xfrm>
            <a:off x="6444249" y="3863787"/>
            <a:ext cx="4970629" cy="584775"/>
          </a:xfrm>
          <a:prstGeom prst="rect">
            <a:avLst/>
          </a:prstGeom>
          <a:solidFill>
            <a:schemeClr val="bg1"/>
          </a:solidFill>
        </p:spPr>
        <p:txBody>
          <a:bodyPr wrap="square">
            <a:spAutoFit/>
          </a:bodyPr>
          <a:lstStyle/>
          <a:p>
            <a:r>
              <a:rPr lang="el-GR" sz="1600" b="1" dirty="0"/>
              <a:t>4.5 Ενίσχυση των διμερών και πολυμερών συνεργασιών στον τομέα της Διασποράς</a:t>
            </a:r>
          </a:p>
        </p:txBody>
      </p:sp>
      <p:sp>
        <p:nvSpPr>
          <p:cNvPr id="96" name="Rectangle 95"/>
          <p:cNvSpPr/>
          <p:nvPr/>
        </p:nvSpPr>
        <p:spPr>
          <a:xfrm>
            <a:off x="4906796" y="5500563"/>
            <a:ext cx="5102744" cy="338554"/>
          </a:xfrm>
          <a:prstGeom prst="rect">
            <a:avLst/>
          </a:prstGeom>
          <a:solidFill>
            <a:schemeClr val="bg1"/>
          </a:solidFill>
        </p:spPr>
        <p:txBody>
          <a:bodyPr wrap="none">
            <a:spAutoFit/>
          </a:bodyPr>
          <a:lstStyle/>
          <a:p>
            <a:r>
              <a:rPr lang="el-GR" sz="1600" b="1" dirty="0"/>
              <a:t>4.6 Βελτίωση της εξυπηρέτησης από τις Προξενικές Αρχές</a:t>
            </a:r>
          </a:p>
        </p:txBody>
      </p:sp>
      <p:sp>
        <p:nvSpPr>
          <p:cNvPr id="85" name="Oval 84">
            <a:extLst>
              <a:ext uri="{FF2B5EF4-FFF2-40B4-BE49-F238E27FC236}">
                <a16:creationId xmlns:a16="http://schemas.microsoft.com/office/drawing/2014/main" id="{745ED8CE-135B-4BBE-BF46-353085BD694E}"/>
              </a:ext>
            </a:extLst>
          </p:cNvPr>
          <p:cNvSpPr/>
          <p:nvPr/>
        </p:nvSpPr>
        <p:spPr>
          <a:xfrm>
            <a:off x="10692933" y="6215743"/>
            <a:ext cx="185057" cy="174171"/>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7" name="Google Shape;116;p3">
            <a:extLst>
              <a:ext uri="{FF2B5EF4-FFF2-40B4-BE49-F238E27FC236}">
                <a16:creationId xmlns:a16="http://schemas.microsoft.com/office/drawing/2014/main" id="{04B61ECF-75DD-44C9-940B-FDF8C4DDC952}"/>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Προβολή και προώθηση των ελληνικών θέσεων και της Ελλάδας στο εξωτερικό καθώς και αξιοποίηση των δυνατοτήτων της Διασποράς</a:t>
            </a:r>
          </a:p>
        </p:txBody>
      </p:sp>
      <p:grpSp>
        <p:nvGrpSpPr>
          <p:cNvPr id="89" name="Group 88">
            <a:extLst>
              <a:ext uri="{FF2B5EF4-FFF2-40B4-BE49-F238E27FC236}">
                <a16:creationId xmlns:a16="http://schemas.microsoft.com/office/drawing/2014/main" id="{D1699BC4-3C04-4A3A-A68D-CFAE21494B40}"/>
              </a:ext>
            </a:extLst>
          </p:cNvPr>
          <p:cNvGrpSpPr/>
          <p:nvPr/>
        </p:nvGrpSpPr>
        <p:grpSpPr>
          <a:xfrm>
            <a:off x="9144168" y="1082123"/>
            <a:ext cx="2447734" cy="360000"/>
            <a:chOff x="9144168" y="1082123"/>
            <a:chExt cx="2447734" cy="360000"/>
          </a:xfrm>
        </p:grpSpPr>
        <p:sp>
          <p:nvSpPr>
            <p:cNvPr id="91" name="Rectangle 90">
              <a:extLst>
                <a:ext uri="{FF2B5EF4-FFF2-40B4-BE49-F238E27FC236}">
                  <a16:creationId xmlns:a16="http://schemas.microsoft.com/office/drawing/2014/main" id="{7E390CA5-A789-44EE-9EBC-CCD1D053B5DD}"/>
                </a:ext>
              </a:extLst>
            </p:cNvPr>
            <p:cNvSpPr/>
            <p:nvPr/>
          </p:nvSpPr>
          <p:spPr>
            <a:xfrm>
              <a:off x="950682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95" name="Rectangle 94">
              <a:extLst>
                <a:ext uri="{FF2B5EF4-FFF2-40B4-BE49-F238E27FC236}">
                  <a16:creationId xmlns:a16="http://schemas.microsoft.com/office/drawing/2014/main" id="{B71833A5-DC0D-403A-B9A5-14678A696E02}"/>
                </a:ext>
              </a:extLst>
            </p:cNvPr>
            <p:cNvSpPr/>
            <p:nvPr/>
          </p:nvSpPr>
          <p:spPr>
            <a:xfrm>
              <a:off x="9935242"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98" name="Rectangle 97">
              <a:extLst>
                <a:ext uri="{FF2B5EF4-FFF2-40B4-BE49-F238E27FC236}">
                  <a16:creationId xmlns:a16="http://schemas.microsoft.com/office/drawing/2014/main" id="{B4533340-5FDF-4454-ADE6-2F18BC43EAFD}"/>
                </a:ext>
              </a:extLst>
            </p:cNvPr>
            <p:cNvSpPr/>
            <p:nvPr/>
          </p:nvSpPr>
          <p:spPr>
            <a:xfrm>
              <a:off x="10369540"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100" name="Rectangle 99">
              <a:extLst>
                <a:ext uri="{FF2B5EF4-FFF2-40B4-BE49-F238E27FC236}">
                  <a16:creationId xmlns:a16="http://schemas.microsoft.com/office/drawing/2014/main" id="{D9AC87E6-025D-4153-A25F-5E40FF935CBF}"/>
                </a:ext>
              </a:extLst>
            </p:cNvPr>
            <p:cNvSpPr/>
            <p:nvPr/>
          </p:nvSpPr>
          <p:spPr>
            <a:xfrm>
              <a:off x="10797248" y="1082123"/>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103" name="Rectangle 102">
              <a:extLst>
                <a:ext uri="{FF2B5EF4-FFF2-40B4-BE49-F238E27FC236}">
                  <a16:creationId xmlns:a16="http://schemas.microsoft.com/office/drawing/2014/main" id="{A9FEE66A-49E5-47CB-ACB5-6F8DABF48FA5}"/>
                </a:ext>
              </a:extLst>
            </p:cNvPr>
            <p:cNvSpPr/>
            <p:nvPr/>
          </p:nvSpPr>
          <p:spPr>
            <a:xfrm>
              <a:off x="1123190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111" name="Group 51">
              <a:extLst>
                <a:ext uri="{FF2B5EF4-FFF2-40B4-BE49-F238E27FC236}">
                  <a16:creationId xmlns:a16="http://schemas.microsoft.com/office/drawing/2014/main" id="{8E047FAE-ED58-4DF5-8864-29854DAA9C32}"/>
                </a:ext>
              </a:extLst>
            </p:cNvPr>
            <p:cNvGrpSpPr/>
            <p:nvPr/>
          </p:nvGrpSpPr>
          <p:grpSpPr>
            <a:xfrm>
              <a:off x="9144168" y="1097414"/>
              <a:ext cx="288000" cy="288000"/>
              <a:chOff x="1024834" y="3136678"/>
              <a:chExt cx="1791641" cy="1794690"/>
            </a:xfrm>
            <a:solidFill>
              <a:srgbClr val="013476"/>
            </a:solidFill>
          </p:grpSpPr>
          <p:sp>
            <p:nvSpPr>
              <p:cNvPr id="112" name="Rectangle 228">
                <a:extLst>
                  <a:ext uri="{FF2B5EF4-FFF2-40B4-BE49-F238E27FC236}">
                    <a16:creationId xmlns:a16="http://schemas.microsoft.com/office/drawing/2014/main" id="{1DF3E9A9-D9FD-47E6-AE61-D5ECB8A4DAD4}"/>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114" name="Group 53">
                <a:extLst>
                  <a:ext uri="{FF2B5EF4-FFF2-40B4-BE49-F238E27FC236}">
                    <a16:creationId xmlns:a16="http://schemas.microsoft.com/office/drawing/2014/main" id="{2620B44C-BF6C-41B4-A6C0-44EBF25AB3F9}"/>
                  </a:ext>
                </a:extLst>
              </p:cNvPr>
              <p:cNvGrpSpPr/>
              <p:nvPr/>
            </p:nvGrpSpPr>
            <p:grpSpPr>
              <a:xfrm>
                <a:off x="1024834" y="3136678"/>
                <a:ext cx="1791641" cy="1794690"/>
                <a:chOff x="1024834" y="3136678"/>
                <a:chExt cx="1791641" cy="1794690"/>
              </a:xfrm>
              <a:grpFill/>
            </p:grpSpPr>
            <p:sp>
              <p:nvSpPr>
                <p:cNvPr id="116" name="Rectangle 218">
                  <a:extLst>
                    <a:ext uri="{FF2B5EF4-FFF2-40B4-BE49-F238E27FC236}">
                      <a16:creationId xmlns:a16="http://schemas.microsoft.com/office/drawing/2014/main" id="{9204F538-E025-431D-BB87-E17F74F2D688}"/>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118" name="Group 55">
                  <a:extLst>
                    <a:ext uri="{FF2B5EF4-FFF2-40B4-BE49-F238E27FC236}">
                      <a16:creationId xmlns:a16="http://schemas.microsoft.com/office/drawing/2014/main" id="{2B97BB4B-80B7-4AC5-A817-78E3C3697C1E}"/>
                    </a:ext>
                  </a:extLst>
                </p:cNvPr>
                <p:cNvGrpSpPr/>
                <p:nvPr/>
              </p:nvGrpSpPr>
              <p:grpSpPr>
                <a:xfrm>
                  <a:off x="1024834" y="3136678"/>
                  <a:ext cx="1791641" cy="1695618"/>
                  <a:chOff x="5289671" y="2145561"/>
                  <a:chExt cx="255588" cy="241897"/>
                </a:xfrm>
                <a:grpFill/>
              </p:grpSpPr>
              <p:sp>
                <p:nvSpPr>
                  <p:cNvPr id="128" name="Freeform 227">
                    <a:extLst>
                      <a:ext uri="{FF2B5EF4-FFF2-40B4-BE49-F238E27FC236}">
                        <a16:creationId xmlns:a16="http://schemas.microsoft.com/office/drawing/2014/main" id="{014C24D3-5897-4670-9B6F-5959C813A644}"/>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130" name="Rectangle 228">
                    <a:extLst>
                      <a:ext uri="{FF2B5EF4-FFF2-40B4-BE49-F238E27FC236}">
                        <a16:creationId xmlns:a16="http://schemas.microsoft.com/office/drawing/2014/main" id="{61880232-7D0C-4285-9502-5336E4E6C794}"/>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32" name="Rectangle 229">
                    <a:extLst>
                      <a:ext uri="{FF2B5EF4-FFF2-40B4-BE49-F238E27FC236}">
                        <a16:creationId xmlns:a16="http://schemas.microsoft.com/office/drawing/2014/main" id="{E7BF6EC2-8B30-4EB3-8F8A-CC9D9E990C3B}"/>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120" name="Rectangle 119">
                  <a:extLst>
                    <a:ext uri="{FF2B5EF4-FFF2-40B4-BE49-F238E27FC236}">
                      <a16:creationId xmlns:a16="http://schemas.microsoft.com/office/drawing/2014/main" id="{67C20CBB-8F4F-4F45-A947-378F6540CDE0}"/>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122" name="Rectangle 121">
                  <a:extLst>
                    <a:ext uri="{FF2B5EF4-FFF2-40B4-BE49-F238E27FC236}">
                      <a16:creationId xmlns:a16="http://schemas.microsoft.com/office/drawing/2014/main" id="{4A793D72-B5C3-4BD7-B8BD-90636A596385}"/>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125" name="Rectangle 124">
                  <a:extLst>
                    <a:ext uri="{FF2B5EF4-FFF2-40B4-BE49-F238E27FC236}">
                      <a16:creationId xmlns:a16="http://schemas.microsoft.com/office/drawing/2014/main" id="{D728976B-187B-49D8-8762-FF0847FDE171}"/>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pic>
        <p:nvPicPr>
          <p:cNvPr id="139" name="Picture 138">
            <a:extLst>
              <a:ext uri="{FF2B5EF4-FFF2-40B4-BE49-F238E27FC236}">
                <a16:creationId xmlns:a16="http://schemas.microsoft.com/office/drawing/2014/main" id="{0226734E-E01B-404C-A36B-E641985700B6}"/>
              </a:ext>
            </a:extLst>
          </p:cNvPr>
          <p:cNvPicPr>
            <a:picLocks noChangeAspect="1"/>
          </p:cNvPicPr>
          <p:nvPr/>
        </p:nvPicPr>
        <p:blipFill rotWithShape="1">
          <a:blip r:embed="rId5"/>
          <a:srcRect l="14875" r="8962"/>
          <a:stretch/>
        </p:blipFill>
        <p:spPr>
          <a:xfrm>
            <a:off x="2950210" y="2484654"/>
            <a:ext cx="420418" cy="414000"/>
          </a:xfrm>
          <a:prstGeom prst="rect">
            <a:avLst/>
          </a:prstGeom>
        </p:spPr>
      </p:pic>
      <p:pic>
        <p:nvPicPr>
          <p:cNvPr id="141" name="Picture 140">
            <a:extLst>
              <a:ext uri="{FF2B5EF4-FFF2-40B4-BE49-F238E27FC236}">
                <a16:creationId xmlns:a16="http://schemas.microsoft.com/office/drawing/2014/main" id="{B3E7F54B-849B-40BD-80BA-FC8C23DD40E7}"/>
              </a:ext>
            </a:extLst>
          </p:cNvPr>
          <p:cNvPicPr>
            <a:picLocks noChangeAspect="1"/>
          </p:cNvPicPr>
          <p:nvPr/>
        </p:nvPicPr>
        <p:blipFill rotWithShape="1">
          <a:blip r:embed="rId5"/>
          <a:srcRect l="14875" r="8962"/>
          <a:stretch/>
        </p:blipFill>
        <p:spPr>
          <a:xfrm>
            <a:off x="3928830" y="4008291"/>
            <a:ext cx="420418" cy="414000"/>
          </a:xfrm>
          <a:prstGeom prst="rect">
            <a:avLst/>
          </a:prstGeom>
        </p:spPr>
      </p:pic>
      <p:pic>
        <p:nvPicPr>
          <p:cNvPr id="143" name="Picture 142">
            <a:extLst>
              <a:ext uri="{FF2B5EF4-FFF2-40B4-BE49-F238E27FC236}">
                <a16:creationId xmlns:a16="http://schemas.microsoft.com/office/drawing/2014/main" id="{C841FD5F-6A8C-46A7-9644-8F4AF785CDA7}"/>
              </a:ext>
            </a:extLst>
          </p:cNvPr>
          <p:cNvPicPr>
            <a:picLocks noChangeAspect="1"/>
          </p:cNvPicPr>
          <p:nvPr/>
        </p:nvPicPr>
        <p:blipFill rotWithShape="1">
          <a:blip r:embed="rId5"/>
          <a:srcRect l="14875" r="8962"/>
          <a:stretch/>
        </p:blipFill>
        <p:spPr>
          <a:xfrm>
            <a:off x="3629223" y="4845355"/>
            <a:ext cx="420418" cy="414000"/>
          </a:xfrm>
          <a:prstGeom prst="rect">
            <a:avLst/>
          </a:prstGeom>
        </p:spPr>
      </p:pic>
      <p:pic>
        <p:nvPicPr>
          <p:cNvPr id="145" name="Picture 144">
            <a:extLst>
              <a:ext uri="{FF2B5EF4-FFF2-40B4-BE49-F238E27FC236}">
                <a16:creationId xmlns:a16="http://schemas.microsoft.com/office/drawing/2014/main" id="{C413F0AD-EDC5-45BC-B8FD-BCE6BB457988}"/>
              </a:ext>
            </a:extLst>
          </p:cNvPr>
          <p:cNvPicPr>
            <a:picLocks noChangeAspect="1"/>
          </p:cNvPicPr>
          <p:nvPr/>
        </p:nvPicPr>
        <p:blipFill rotWithShape="1">
          <a:blip r:embed="rId5"/>
          <a:srcRect l="14875" r="8962"/>
          <a:stretch/>
        </p:blipFill>
        <p:spPr>
          <a:xfrm>
            <a:off x="6348681" y="4531682"/>
            <a:ext cx="420418" cy="414000"/>
          </a:xfrm>
          <a:prstGeom prst="rect">
            <a:avLst/>
          </a:prstGeom>
        </p:spPr>
      </p:pic>
      <p:pic>
        <p:nvPicPr>
          <p:cNvPr id="147" name="Picture 146">
            <a:extLst>
              <a:ext uri="{FF2B5EF4-FFF2-40B4-BE49-F238E27FC236}">
                <a16:creationId xmlns:a16="http://schemas.microsoft.com/office/drawing/2014/main" id="{80E20FDF-A5BF-43DD-A39F-5EE8308687B5}"/>
              </a:ext>
            </a:extLst>
          </p:cNvPr>
          <p:cNvPicPr>
            <a:picLocks noChangeAspect="1"/>
          </p:cNvPicPr>
          <p:nvPr/>
        </p:nvPicPr>
        <p:blipFill rotWithShape="1">
          <a:blip r:embed="rId5"/>
          <a:srcRect l="14875" r="8962"/>
          <a:stretch/>
        </p:blipFill>
        <p:spPr>
          <a:xfrm>
            <a:off x="5692523" y="1943610"/>
            <a:ext cx="420418" cy="414000"/>
          </a:xfrm>
          <a:prstGeom prst="rect">
            <a:avLst/>
          </a:prstGeom>
        </p:spPr>
      </p:pic>
      <p:pic>
        <p:nvPicPr>
          <p:cNvPr id="150" name="Picture 149">
            <a:extLst>
              <a:ext uri="{FF2B5EF4-FFF2-40B4-BE49-F238E27FC236}">
                <a16:creationId xmlns:a16="http://schemas.microsoft.com/office/drawing/2014/main" id="{0B9B98C5-EBDC-4C29-B7A4-97E254D75FBB}"/>
              </a:ext>
            </a:extLst>
          </p:cNvPr>
          <p:cNvPicPr>
            <a:picLocks noChangeAspect="1"/>
          </p:cNvPicPr>
          <p:nvPr/>
        </p:nvPicPr>
        <p:blipFill rotWithShape="1">
          <a:blip r:embed="rId5"/>
          <a:srcRect l="14875" r="8962"/>
          <a:stretch/>
        </p:blipFill>
        <p:spPr>
          <a:xfrm>
            <a:off x="6974949" y="1764665"/>
            <a:ext cx="420418" cy="414000"/>
          </a:xfrm>
          <a:prstGeom prst="rect">
            <a:avLst/>
          </a:prstGeom>
        </p:spPr>
      </p:pic>
      <p:pic>
        <p:nvPicPr>
          <p:cNvPr id="152" name="Picture 151">
            <a:extLst>
              <a:ext uri="{FF2B5EF4-FFF2-40B4-BE49-F238E27FC236}">
                <a16:creationId xmlns:a16="http://schemas.microsoft.com/office/drawing/2014/main" id="{26763E5F-33D2-44D7-AE23-17F8BF68AAE1}"/>
              </a:ext>
            </a:extLst>
          </p:cNvPr>
          <p:cNvPicPr>
            <a:picLocks noChangeAspect="1"/>
          </p:cNvPicPr>
          <p:nvPr/>
        </p:nvPicPr>
        <p:blipFill rotWithShape="1">
          <a:blip r:embed="rId5"/>
          <a:srcRect l="14875" r="8962"/>
          <a:stretch/>
        </p:blipFill>
        <p:spPr>
          <a:xfrm>
            <a:off x="6427994" y="2880689"/>
            <a:ext cx="420418" cy="414000"/>
          </a:xfrm>
          <a:prstGeom prst="rect">
            <a:avLst/>
          </a:prstGeom>
        </p:spPr>
      </p:pic>
      <p:pic>
        <p:nvPicPr>
          <p:cNvPr id="155" name="Picture 154">
            <a:extLst>
              <a:ext uri="{FF2B5EF4-FFF2-40B4-BE49-F238E27FC236}">
                <a16:creationId xmlns:a16="http://schemas.microsoft.com/office/drawing/2014/main" id="{49623982-CD83-47C0-B1B1-1240216A29FB}"/>
              </a:ext>
            </a:extLst>
          </p:cNvPr>
          <p:cNvPicPr>
            <a:picLocks noChangeAspect="1"/>
          </p:cNvPicPr>
          <p:nvPr/>
        </p:nvPicPr>
        <p:blipFill rotWithShape="1">
          <a:blip r:embed="rId5"/>
          <a:srcRect l="14875" r="8962"/>
          <a:stretch/>
        </p:blipFill>
        <p:spPr>
          <a:xfrm>
            <a:off x="7947212" y="2854969"/>
            <a:ext cx="420418" cy="414000"/>
          </a:xfrm>
          <a:prstGeom prst="rect">
            <a:avLst/>
          </a:prstGeom>
        </p:spPr>
      </p:pic>
      <p:pic>
        <p:nvPicPr>
          <p:cNvPr id="157" name="Picture 156">
            <a:extLst>
              <a:ext uri="{FF2B5EF4-FFF2-40B4-BE49-F238E27FC236}">
                <a16:creationId xmlns:a16="http://schemas.microsoft.com/office/drawing/2014/main" id="{6C309C2E-DB87-4110-8DD6-4D6BB1AB9AFB}"/>
              </a:ext>
            </a:extLst>
          </p:cNvPr>
          <p:cNvPicPr>
            <a:picLocks noChangeAspect="1"/>
          </p:cNvPicPr>
          <p:nvPr/>
        </p:nvPicPr>
        <p:blipFill rotWithShape="1">
          <a:blip r:embed="rId5"/>
          <a:srcRect l="14875" r="8962"/>
          <a:stretch/>
        </p:blipFill>
        <p:spPr>
          <a:xfrm>
            <a:off x="9694824" y="4445645"/>
            <a:ext cx="420418" cy="414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1D3C6D-C9FD-45B2-8D8C-05BFFDB06A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9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871D3C6D-C9FD-45B2-8D8C-05BFFDB06A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3D4835E-BB97-4166-A843-D94426367DA8}"/>
              </a:ext>
            </a:extLst>
          </p:cNvPr>
          <p:cNvPicPr>
            <a:picLocks noChangeAspect="1"/>
          </p:cNvPicPr>
          <p:nvPr/>
        </p:nvPicPr>
        <p:blipFill rotWithShape="1">
          <a:blip r:embed="rId7"/>
          <a:srcRect l="709" b="2406"/>
          <a:stretch/>
        </p:blipFill>
        <p:spPr>
          <a:xfrm>
            <a:off x="0" y="3148448"/>
            <a:ext cx="5959058" cy="3709552"/>
          </a:xfrm>
          <a:prstGeom prst="rtTriangle">
            <a:avLst/>
          </a:prstGeom>
        </p:spPr>
      </p:pic>
      <p:grpSp>
        <p:nvGrpSpPr>
          <p:cNvPr id="2" name="Group 1">
            <a:extLst>
              <a:ext uri="{FF2B5EF4-FFF2-40B4-BE49-F238E27FC236}">
                <a16:creationId xmlns:a16="http://schemas.microsoft.com/office/drawing/2014/main" id="{1C8E2AA0-F263-49A2-BD7F-3A96B447E7DC}"/>
              </a:ext>
            </a:extLst>
          </p:cNvPr>
          <p:cNvGrpSpPr/>
          <p:nvPr/>
        </p:nvGrpSpPr>
        <p:grpSpPr>
          <a:xfrm>
            <a:off x="5833525" y="2113266"/>
            <a:ext cx="5758021" cy="3365305"/>
            <a:chOff x="5892184" y="784196"/>
            <a:chExt cx="5959058" cy="3715262"/>
          </a:xfrm>
        </p:grpSpPr>
        <p:sp>
          <p:nvSpPr>
            <p:cNvPr id="109" name="Google Shape;109;p2"/>
            <p:cNvSpPr/>
            <p:nvPr/>
          </p:nvSpPr>
          <p:spPr>
            <a:xfrm>
              <a:off x="5892184" y="784196"/>
              <a:ext cx="5959058" cy="529534"/>
            </a:xfrm>
            <a:prstGeom prst="snip2DiagRect">
              <a:avLst>
                <a:gd name="adj1" fmla="val 0"/>
                <a:gd name="adj2" fmla="val 16667"/>
              </a:avLst>
            </a:prstGeom>
            <a:solidFill>
              <a:srgbClr val="013476"/>
            </a:solidFill>
            <a:ln>
              <a:noFill/>
            </a:ln>
          </p:spPr>
          <p:txBody>
            <a:bodyPr spcFirstLastPara="1" wrap="square" lIns="62325" tIns="31150" rIns="62325" bIns="31150" anchor="ctr" anchorCtr="0">
              <a:noAutofit/>
            </a:bodyPr>
            <a:lstStyle/>
            <a:p>
              <a:pPr marL="0" marR="0" lvl="0" indent="0" algn="l" rtl="0">
                <a:spcBef>
                  <a:spcPts val="0"/>
                </a:spcBef>
                <a:spcAft>
                  <a:spcPts val="0"/>
                </a:spcAft>
                <a:buNone/>
              </a:pPr>
              <a:r>
                <a:rPr lang="en-US" dirty="0">
                  <a:solidFill>
                    <a:schemeClr val="lt1"/>
                  </a:solidFill>
                  <a:latin typeface="Calibri"/>
                  <a:ea typeface="Calibri"/>
                  <a:cs typeface="Calibri"/>
                  <a:sym typeface="Calibri"/>
                </a:rPr>
                <a:t>1. </a:t>
              </a:r>
              <a:r>
                <a:rPr lang="el-GR" dirty="0">
                  <a:solidFill>
                    <a:schemeClr val="lt1"/>
                  </a:solidFill>
                  <a:latin typeface="Calibri"/>
                  <a:ea typeface="Calibri"/>
                  <a:cs typeface="Calibri"/>
                  <a:sym typeface="Calibri"/>
                </a:rPr>
                <a:t>Διάρθρωση Στρατηγικού και Επιχειρησιακού Σχεδίου</a:t>
              </a:r>
              <a:endParaRPr dirty="0"/>
            </a:p>
          </p:txBody>
        </p:sp>
        <p:sp>
          <p:nvSpPr>
            <p:cNvPr id="106" name="Google Shape;106;p2"/>
            <p:cNvSpPr/>
            <p:nvPr/>
          </p:nvSpPr>
          <p:spPr>
            <a:xfrm>
              <a:off x="5892184" y="1598455"/>
              <a:ext cx="5959058" cy="529534"/>
            </a:xfrm>
            <a:prstGeom prst="snip2DiagRect">
              <a:avLst>
                <a:gd name="adj1" fmla="val 0"/>
                <a:gd name="adj2" fmla="val 16667"/>
              </a:avLst>
            </a:prstGeom>
            <a:solidFill>
              <a:srgbClr val="1E5F9F"/>
            </a:solidFill>
            <a:ln>
              <a:noFill/>
            </a:ln>
          </p:spPr>
          <p:txBody>
            <a:bodyPr spcFirstLastPara="1" wrap="square" lIns="62325" tIns="31150" rIns="62325" bIns="31150" anchor="ctr" anchorCtr="0">
              <a:noAutofit/>
            </a:bodyPr>
            <a:lstStyle/>
            <a:p>
              <a:pPr marL="0" marR="0" lvl="0" indent="0" algn="l" rtl="0">
                <a:spcBef>
                  <a:spcPts val="0"/>
                </a:spcBef>
                <a:spcAft>
                  <a:spcPts val="0"/>
                </a:spcAft>
                <a:buNone/>
              </a:pPr>
              <a:r>
                <a:rPr lang="en-US" dirty="0">
                  <a:solidFill>
                    <a:srgbClr val="FFFFFF"/>
                  </a:solidFill>
                  <a:latin typeface="Calibri"/>
                  <a:ea typeface="Calibri"/>
                  <a:cs typeface="Calibri"/>
                  <a:sym typeface="Calibri"/>
                </a:rPr>
                <a:t>2. </a:t>
              </a:r>
              <a:r>
                <a:rPr lang="el-GR" dirty="0">
                  <a:solidFill>
                    <a:srgbClr val="FFFFFF"/>
                  </a:solidFill>
                  <a:latin typeface="Calibri"/>
                  <a:ea typeface="Calibri"/>
                  <a:cs typeface="Calibri"/>
                  <a:sym typeface="Calibri"/>
                </a:rPr>
                <a:t>Αξίες, Όραμα και Αποστολή  </a:t>
              </a:r>
              <a:endParaRPr dirty="0">
                <a:solidFill>
                  <a:srgbClr val="FFFFFF"/>
                </a:solidFill>
                <a:latin typeface="Calibri"/>
                <a:ea typeface="Calibri"/>
                <a:cs typeface="Calibri"/>
                <a:sym typeface="Calibri"/>
              </a:endParaRPr>
            </a:p>
          </p:txBody>
        </p:sp>
        <p:sp>
          <p:nvSpPr>
            <p:cNvPr id="105" name="Google Shape;105;p2"/>
            <p:cNvSpPr/>
            <p:nvPr/>
          </p:nvSpPr>
          <p:spPr>
            <a:xfrm>
              <a:off x="5892184" y="2412715"/>
              <a:ext cx="5959058" cy="529534"/>
            </a:xfrm>
            <a:prstGeom prst="snip2DiagRect">
              <a:avLst>
                <a:gd name="adj1" fmla="val 0"/>
                <a:gd name="adj2" fmla="val 16667"/>
              </a:avLst>
            </a:prstGeom>
            <a:solidFill>
              <a:srgbClr val="3477B2"/>
            </a:solidFill>
            <a:ln>
              <a:noFill/>
            </a:ln>
          </p:spPr>
          <p:txBody>
            <a:bodyPr spcFirstLastPara="1" wrap="square" lIns="62325" tIns="31150" rIns="62325" bIns="31150" anchor="ctr" anchorCtr="0">
              <a:noAutofit/>
            </a:bodyPr>
            <a:lstStyle/>
            <a:p>
              <a:pPr marL="0" marR="0" lvl="0" indent="0" algn="l" rtl="0">
                <a:spcBef>
                  <a:spcPts val="0"/>
                </a:spcBef>
                <a:spcAft>
                  <a:spcPts val="0"/>
                </a:spcAft>
                <a:buNone/>
              </a:pPr>
              <a:r>
                <a:rPr lang="en-US" b="0" i="0" u="none" strike="noStrike" cap="none" dirty="0">
                  <a:solidFill>
                    <a:schemeClr val="lt1"/>
                  </a:solidFill>
                  <a:latin typeface="Calibri"/>
                  <a:ea typeface="Calibri"/>
                  <a:cs typeface="Calibri"/>
                  <a:sym typeface="Calibri"/>
                </a:rPr>
                <a:t>3. </a:t>
              </a:r>
              <a:r>
                <a:rPr lang="el-GR" b="0" i="0" u="none" strike="noStrike" cap="none" dirty="0">
                  <a:solidFill>
                    <a:schemeClr val="lt1"/>
                  </a:solidFill>
                  <a:latin typeface="Calibri"/>
                  <a:ea typeface="Calibri"/>
                  <a:cs typeface="Calibri"/>
                  <a:sym typeface="Calibri"/>
                </a:rPr>
                <a:t>Στρατηγικοί Άξονες και Στόχοι  </a:t>
              </a:r>
              <a:endParaRPr dirty="0">
                <a:solidFill>
                  <a:schemeClr val="lt1"/>
                </a:solidFill>
                <a:latin typeface="Calibri"/>
                <a:ea typeface="Calibri"/>
                <a:cs typeface="Calibri"/>
                <a:sym typeface="Calibri"/>
              </a:endParaRPr>
            </a:p>
          </p:txBody>
        </p:sp>
        <p:sp>
          <p:nvSpPr>
            <p:cNvPr id="111" name="Google Shape;111;p2"/>
            <p:cNvSpPr/>
            <p:nvPr/>
          </p:nvSpPr>
          <p:spPr>
            <a:xfrm>
              <a:off x="5892184" y="3191319"/>
              <a:ext cx="5959058" cy="529534"/>
            </a:xfrm>
            <a:prstGeom prst="snip2DiagRect">
              <a:avLst>
                <a:gd name="adj1" fmla="val 0"/>
                <a:gd name="adj2" fmla="val 16667"/>
              </a:avLst>
            </a:prstGeom>
            <a:solidFill>
              <a:srgbClr val="3477B2"/>
            </a:solidFill>
            <a:ln>
              <a:noFill/>
            </a:ln>
          </p:spPr>
          <p:txBody>
            <a:bodyPr spcFirstLastPara="1" wrap="square" lIns="62325" tIns="31150" rIns="62325" bIns="31150" anchor="ctr" anchorCtr="0">
              <a:noAutofit/>
            </a:bodyPr>
            <a:lstStyle/>
            <a:p>
              <a:pPr marL="0" marR="0" lvl="0" indent="0" algn="l" rtl="0">
                <a:spcBef>
                  <a:spcPts val="0"/>
                </a:spcBef>
                <a:spcAft>
                  <a:spcPts val="0"/>
                </a:spcAft>
                <a:buNone/>
              </a:pPr>
              <a:r>
                <a:rPr lang="en-US" dirty="0">
                  <a:solidFill>
                    <a:schemeClr val="lt1"/>
                  </a:solidFill>
                  <a:latin typeface="Calibri"/>
                  <a:ea typeface="Calibri"/>
                  <a:cs typeface="Calibri"/>
                  <a:sym typeface="Calibri"/>
                </a:rPr>
                <a:t>4. </a:t>
              </a:r>
              <a:r>
                <a:rPr lang="el-GR" dirty="0">
                  <a:solidFill>
                    <a:schemeClr val="lt1"/>
                  </a:solidFill>
                  <a:latin typeface="Calibri"/>
                  <a:ea typeface="Calibri"/>
                  <a:cs typeface="Calibri"/>
                  <a:sym typeface="Calibri"/>
                </a:rPr>
                <a:t>Παρουσίαση Στόχων  </a:t>
              </a:r>
              <a:endParaRPr dirty="0">
                <a:solidFill>
                  <a:schemeClr val="lt1"/>
                </a:solidFill>
                <a:latin typeface="Calibri"/>
                <a:ea typeface="Calibri"/>
                <a:cs typeface="Calibri"/>
                <a:sym typeface="Calibri"/>
              </a:endParaRPr>
            </a:p>
          </p:txBody>
        </p:sp>
        <p:sp>
          <p:nvSpPr>
            <p:cNvPr id="107" name="Google Shape;107;p2"/>
            <p:cNvSpPr/>
            <p:nvPr/>
          </p:nvSpPr>
          <p:spPr>
            <a:xfrm>
              <a:off x="5892184" y="3969924"/>
              <a:ext cx="5959058" cy="529534"/>
            </a:xfrm>
            <a:prstGeom prst="snip2DiagRect">
              <a:avLst>
                <a:gd name="adj1" fmla="val 0"/>
                <a:gd name="adj2" fmla="val 16667"/>
              </a:avLst>
            </a:prstGeom>
            <a:solidFill>
              <a:schemeClr val="accent2"/>
            </a:solidFill>
            <a:ln>
              <a:noFill/>
            </a:ln>
          </p:spPr>
          <p:txBody>
            <a:bodyPr spcFirstLastPara="1" wrap="square" lIns="62325" tIns="31150" rIns="62325" bIns="31150" anchor="ctr" anchorCtr="0">
              <a:noAutofit/>
            </a:bodyPr>
            <a:lstStyle/>
            <a:p>
              <a:pPr marL="0" marR="0" lvl="0" indent="0" algn="l" rtl="0">
                <a:spcBef>
                  <a:spcPts val="0"/>
                </a:spcBef>
                <a:spcAft>
                  <a:spcPts val="0"/>
                </a:spcAft>
                <a:buNone/>
              </a:pPr>
              <a:r>
                <a:rPr lang="en-US" dirty="0">
                  <a:solidFill>
                    <a:schemeClr val="lt1"/>
                  </a:solidFill>
                  <a:latin typeface="Calibri"/>
                  <a:ea typeface="Calibri"/>
                  <a:cs typeface="Calibri"/>
                  <a:sym typeface="Calibri"/>
                </a:rPr>
                <a:t>5. </a:t>
              </a:r>
              <a:r>
                <a:rPr lang="el-GR" dirty="0">
                  <a:solidFill>
                    <a:schemeClr val="lt1"/>
                  </a:solidFill>
                  <a:latin typeface="Calibri"/>
                  <a:ea typeface="Calibri"/>
                  <a:cs typeface="Calibri"/>
                  <a:sym typeface="Calibri"/>
                </a:rPr>
                <a:t>Επιχειρησιακός Σχεδιασμός</a:t>
              </a:r>
              <a:r>
                <a:rPr lang="en-US" dirty="0">
                  <a:solidFill>
                    <a:schemeClr val="lt1"/>
                  </a:solidFill>
                  <a:latin typeface="Calibri"/>
                  <a:ea typeface="Calibri"/>
                  <a:cs typeface="Calibri"/>
                  <a:sym typeface="Calibri"/>
                </a:rPr>
                <a:t> </a:t>
              </a:r>
              <a:endParaRPr dirty="0">
                <a:solidFill>
                  <a:schemeClr val="lt1"/>
                </a:solidFill>
                <a:latin typeface="Calibri"/>
                <a:ea typeface="Calibri"/>
                <a:cs typeface="Calibri"/>
                <a:sym typeface="Calibri"/>
              </a:endParaRPr>
            </a:p>
          </p:txBody>
        </p:sp>
      </p:grpSp>
      <p:sp>
        <p:nvSpPr>
          <p:cNvPr id="13" name="Google Shape;116;p3">
            <a:extLst>
              <a:ext uri="{FF2B5EF4-FFF2-40B4-BE49-F238E27FC236}">
                <a16:creationId xmlns:a16="http://schemas.microsoft.com/office/drawing/2014/main" id="{260E657D-2BF9-4DC2-A92F-8B0395F9BCF5}"/>
              </a:ext>
            </a:extLst>
          </p:cNvPr>
          <p:cNvSpPr/>
          <p:nvPr/>
        </p:nvSpPr>
        <p:spPr>
          <a:xfrm>
            <a:off x="520090" y="394189"/>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sz="2400" dirty="0">
                <a:solidFill>
                  <a:srgbClr val="FFFFFF"/>
                </a:solidFill>
                <a:latin typeface="Calibri"/>
                <a:ea typeface="Calibri"/>
                <a:cs typeface="Calibri"/>
                <a:sym typeface="Calibri"/>
              </a:rPr>
              <a:t>Περιεχόμενα</a:t>
            </a:r>
          </a:p>
        </p:txBody>
      </p:sp>
    </p:spTree>
    <p:extLst>
      <p:ext uri="{BB962C8B-B14F-4D97-AF65-F5344CB8AC3E}">
        <p14:creationId xmlns:p14="http://schemas.microsoft.com/office/powerpoint/2010/main" val="23500836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4A76B4A-85CE-4736-B7C4-DDB42477FFE9}"/>
              </a:ext>
            </a:extLst>
          </p:cNvPr>
          <p:cNvGraphicFramePr>
            <a:graphicFrameLocks noChangeAspect="1"/>
          </p:cNvGraphicFramePr>
          <p:nvPr>
            <p:custDataLst>
              <p:tags r:id="rId2"/>
            </p:custDataLst>
            <p:extLst>
              <p:ext uri="{D42A27DB-BD31-4B8C-83A1-F6EECF244321}">
                <p14:modId xmlns:p14="http://schemas.microsoft.com/office/powerpoint/2010/main" val="3691401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3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 name="Group 2"/>
          <p:cNvGrpSpPr/>
          <p:nvPr/>
        </p:nvGrpSpPr>
        <p:grpSpPr>
          <a:xfrm>
            <a:off x="583862" y="1480528"/>
            <a:ext cx="4734621" cy="4608917"/>
            <a:chOff x="2051033" y="1835942"/>
            <a:chExt cx="4207588" cy="4095877"/>
          </a:xfrm>
        </p:grpSpPr>
        <p:sp>
          <p:nvSpPr>
            <p:cNvPr id="142" name="Freeform 141"/>
            <p:cNvSpPr/>
            <p:nvPr/>
          </p:nvSpPr>
          <p:spPr bwMode="ltGray">
            <a:xfrm>
              <a:off x="3127424" y="1835942"/>
              <a:ext cx="2052380" cy="2062519"/>
            </a:xfrm>
            <a:custGeom>
              <a:avLst/>
              <a:gdLst>
                <a:gd name="connsiteX0" fmla="*/ 1586873 w 2400145"/>
                <a:gd name="connsiteY0" fmla="*/ 1993692 h 2412001"/>
                <a:gd name="connsiteX1" fmla="*/ 1578064 w 2400145"/>
                <a:gd name="connsiteY1" fmla="*/ 2051411 h 2412001"/>
                <a:gd name="connsiteX2" fmla="*/ 1573509 w 2400145"/>
                <a:gd name="connsiteY2" fmla="*/ 2141616 h 2412001"/>
                <a:gd name="connsiteX3" fmla="*/ 1591433 w 2400145"/>
                <a:gd name="connsiteY3" fmla="*/ 2319420 h 2412001"/>
                <a:gd name="connsiteX4" fmla="*/ 1597367 w 2400145"/>
                <a:gd name="connsiteY4" fmla="*/ 2342497 h 2412001"/>
                <a:gd name="connsiteX5" fmla="*/ 1555607 w 2400145"/>
                <a:gd name="connsiteY5" fmla="*/ 2357782 h 2412001"/>
                <a:gd name="connsiteX6" fmla="*/ 1320286 w 2400145"/>
                <a:gd name="connsiteY6" fmla="*/ 2405775 h 2412001"/>
                <a:gd name="connsiteX7" fmla="*/ 1280210 w 2400145"/>
                <a:gd name="connsiteY7" fmla="*/ 2407799 h 2412001"/>
                <a:gd name="connsiteX8" fmla="*/ 1196981 w 2400145"/>
                <a:gd name="connsiteY8" fmla="*/ 2412001 h 2412001"/>
                <a:gd name="connsiteX9" fmla="*/ 1113751 w 2400145"/>
                <a:gd name="connsiteY9" fmla="*/ 2407799 h 2412001"/>
                <a:gd name="connsiteX10" fmla="*/ 1119699 w 2400145"/>
                <a:gd name="connsiteY10" fmla="*/ 2384666 h 2412001"/>
                <a:gd name="connsiteX11" fmla="*/ 1144201 w 2400145"/>
                <a:gd name="connsiteY11" fmla="*/ 2141615 h 2412001"/>
                <a:gd name="connsiteX12" fmla="*/ 1141365 w 2400145"/>
                <a:gd name="connsiteY12" fmla="*/ 2085444 h 2412001"/>
                <a:gd name="connsiteX13" fmla="*/ 1196982 w 2400145"/>
                <a:gd name="connsiteY13" fmla="*/ 2088253 h 2412001"/>
                <a:gd name="connsiteX14" fmla="*/ 1252595 w 2400145"/>
                <a:gd name="connsiteY14" fmla="*/ 2085445 h 2412001"/>
                <a:gd name="connsiteX15" fmla="*/ 1287186 w 2400145"/>
                <a:gd name="connsiteY15" fmla="*/ 2083698 h 2412001"/>
                <a:gd name="connsiteX16" fmla="*/ 1540393 w 2400145"/>
                <a:gd name="connsiteY16" fmla="*/ 2018921 h 2412001"/>
                <a:gd name="connsiteX17" fmla="*/ 2400145 w 2400145"/>
                <a:gd name="connsiteY17" fmla="*/ 1262172 h 2412001"/>
                <a:gd name="connsiteX18" fmla="*/ 2396755 w 2400145"/>
                <a:gd name="connsiteY18" fmla="*/ 1329306 h 2412001"/>
                <a:gd name="connsiteX19" fmla="*/ 1666410 w 2400145"/>
                <a:gd name="connsiteY19" fmla="*/ 2317226 h 2412001"/>
                <a:gd name="connsiteX20" fmla="*/ 1597368 w 2400145"/>
                <a:gd name="connsiteY20" fmla="*/ 2342496 h 2412001"/>
                <a:gd name="connsiteX21" fmla="*/ 1591434 w 2400145"/>
                <a:gd name="connsiteY21" fmla="*/ 2319419 h 2412001"/>
                <a:gd name="connsiteX22" fmla="*/ 1573510 w 2400145"/>
                <a:gd name="connsiteY22" fmla="*/ 2141615 h 2412001"/>
                <a:gd name="connsiteX23" fmla="*/ 1578065 w 2400145"/>
                <a:gd name="connsiteY23" fmla="*/ 2051410 h 2412001"/>
                <a:gd name="connsiteX24" fmla="*/ 1586874 w 2400145"/>
                <a:gd name="connsiteY24" fmla="*/ 1993691 h 2412001"/>
                <a:gd name="connsiteX25" fmla="*/ 1690257 w 2400145"/>
                <a:gd name="connsiteY25" fmla="*/ 1937577 h 2412001"/>
                <a:gd name="connsiteX26" fmla="*/ 2061309 w 2400145"/>
                <a:gd name="connsiteY26" fmla="*/ 1383805 h 2412001"/>
                <a:gd name="connsiteX27" fmla="*/ 2065870 w 2400145"/>
                <a:gd name="connsiteY27" fmla="*/ 1353924 h 2412001"/>
                <a:gd name="connsiteX28" fmla="*/ 2112349 w 2400145"/>
                <a:gd name="connsiteY28" fmla="*/ 1328696 h 2412001"/>
                <a:gd name="connsiteX29" fmla="*/ 2365556 w 2400145"/>
                <a:gd name="connsiteY29" fmla="*/ 1263919 h 2412001"/>
                <a:gd name="connsiteX30" fmla="*/ 2835 w 2400145"/>
                <a:gd name="connsiteY30" fmla="*/ 1262172 h 2412001"/>
                <a:gd name="connsiteX31" fmla="*/ 37424 w 2400145"/>
                <a:gd name="connsiteY31" fmla="*/ 1263919 h 2412001"/>
                <a:gd name="connsiteX32" fmla="*/ 290631 w 2400145"/>
                <a:gd name="connsiteY32" fmla="*/ 1328696 h 2412001"/>
                <a:gd name="connsiteX33" fmla="*/ 337110 w 2400145"/>
                <a:gd name="connsiteY33" fmla="*/ 1353924 h 2412001"/>
                <a:gd name="connsiteX34" fmla="*/ 341671 w 2400145"/>
                <a:gd name="connsiteY34" fmla="*/ 1383805 h 2412001"/>
                <a:gd name="connsiteX35" fmla="*/ 712723 w 2400145"/>
                <a:gd name="connsiteY35" fmla="*/ 1937577 h 2412001"/>
                <a:gd name="connsiteX36" fmla="*/ 816106 w 2400145"/>
                <a:gd name="connsiteY36" fmla="*/ 1993691 h 2412001"/>
                <a:gd name="connsiteX37" fmla="*/ 824915 w 2400145"/>
                <a:gd name="connsiteY37" fmla="*/ 2051410 h 2412001"/>
                <a:gd name="connsiteX38" fmla="*/ 829470 w 2400145"/>
                <a:gd name="connsiteY38" fmla="*/ 2141615 h 2412001"/>
                <a:gd name="connsiteX39" fmla="*/ 811546 w 2400145"/>
                <a:gd name="connsiteY39" fmla="*/ 2319419 h 2412001"/>
                <a:gd name="connsiteX40" fmla="*/ 805612 w 2400145"/>
                <a:gd name="connsiteY40" fmla="*/ 2342496 h 2412001"/>
                <a:gd name="connsiteX41" fmla="*/ 736570 w 2400145"/>
                <a:gd name="connsiteY41" fmla="*/ 2317226 h 2412001"/>
                <a:gd name="connsiteX42" fmla="*/ 6225 w 2400145"/>
                <a:gd name="connsiteY42" fmla="*/ 1329306 h 2412001"/>
                <a:gd name="connsiteX43" fmla="*/ 1196980 w 2400145"/>
                <a:gd name="connsiteY43" fmla="*/ 0 h 2412001"/>
                <a:gd name="connsiteX44" fmla="*/ 2348761 w 2400145"/>
                <a:gd name="connsiteY44" fmla="*/ 847373 h 2412001"/>
                <a:gd name="connsiteX45" fmla="*/ 2372530 w 2400145"/>
                <a:gd name="connsiteY45" fmla="*/ 939816 h 2412001"/>
                <a:gd name="connsiteX46" fmla="*/ 2332453 w 2400145"/>
                <a:gd name="connsiteY46" fmla="*/ 941840 h 2412001"/>
                <a:gd name="connsiteX47" fmla="*/ 2097132 w 2400145"/>
                <a:gd name="connsiteY47" fmla="*/ 989833 h 2412001"/>
                <a:gd name="connsiteX48" fmla="*/ 2055374 w 2400145"/>
                <a:gd name="connsiteY48" fmla="*/ 1005117 h 2412001"/>
                <a:gd name="connsiteX49" fmla="*/ 2039568 w 2400145"/>
                <a:gd name="connsiteY49" fmla="*/ 943646 h 2412001"/>
                <a:gd name="connsiteX50" fmla="*/ 1196981 w 2400145"/>
                <a:gd name="connsiteY50" fmla="*/ 323750 h 2412001"/>
                <a:gd name="connsiteX51" fmla="*/ 354394 w 2400145"/>
                <a:gd name="connsiteY51" fmla="*/ 943646 h 2412001"/>
                <a:gd name="connsiteX52" fmla="*/ 339364 w 2400145"/>
                <a:gd name="connsiteY52" fmla="*/ 1002100 h 2412001"/>
                <a:gd name="connsiteX53" fmla="*/ 347606 w 2400145"/>
                <a:gd name="connsiteY53" fmla="*/ 1005117 h 2412001"/>
                <a:gd name="connsiteX54" fmla="*/ 341672 w 2400145"/>
                <a:gd name="connsiteY54" fmla="*/ 1028197 h 2412001"/>
                <a:gd name="connsiteX55" fmla="*/ 323748 w 2400145"/>
                <a:gd name="connsiteY55" fmla="*/ 1206001 h 2412001"/>
                <a:gd name="connsiteX56" fmla="*/ 328303 w 2400145"/>
                <a:gd name="connsiteY56" fmla="*/ 1296206 h 2412001"/>
                <a:gd name="connsiteX57" fmla="*/ 337111 w 2400145"/>
                <a:gd name="connsiteY57" fmla="*/ 1353924 h 2412001"/>
                <a:gd name="connsiteX58" fmla="*/ 290632 w 2400145"/>
                <a:gd name="connsiteY58" fmla="*/ 1328696 h 2412001"/>
                <a:gd name="connsiteX59" fmla="*/ 37425 w 2400145"/>
                <a:gd name="connsiteY59" fmla="*/ 1263919 h 2412001"/>
                <a:gd name="connsiteX60" fmla="*/ 2836 w 2400145"/>
                <a:gd name="connsiteY60" fmla="*/ 1262172 h 2412001"/>
                <a:gd name="connsiteX61" fmla="*/ 0 w 2400145"/>
                <a:gd name="connsiteY61" fmla="*/ 1206000 h 2412001"/>
                <a:gd name="connsiteX62" fmla="*/ 24502 w 2400145"/>
                <a:gd name="connsiteY62" fmla="*/ 962949 h 2412001"/>
                <a:gd name="connsiteX63" fmla="*/ 30334 w 2400145"/>
                <a:gd name="connsiteY63" fmla="*/ 940266 h 2412001"/>
                <a:gd name="connsiteX64" fmla="*/ 21430 w 2400145"/>
                <a:gd name="connsiteY64" fmla="*/ 939816 h 2412001"/>
                <a:gd name="connsiteX65" fmla="*/ 45199 w 2400145"/>
                <a:gd name="connsiteY65" fmla="*/ 847373 h 2412001"/>
                <a:gd name="connsiteX66" fmla="*/ 1196980 w 2400145"/>
                <a:gd name="connsiteY66" fmla="*/ 0 h 24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400145" h="2412001">
                  <a:moveTo>
                    <a:pt x="1586873" y="1993692"/>
                  </a:moveTo>
                  <a:lnTo>
                    <a:pt x="1578064" y="2051411"/>
                  </a:lnTo>
                  <a:cubicBezTo>
                    <a:pt x="1575052" y="2081070"/>
                    <a:pt x="1573509" y="2111162"/>
                    <a:pt x="1573509" y="2141616"/>
                  </a:cubicBezTo>
                  <a:cubicBezTo>
                    <a:pt x="1573509" y="2202523"/>
                    <a:pt x="1579681" y="2261988"/>
                    <a:pt x="1591433" y="2319420"/>
                  </a:cubicBezTo>
                  <a:lnTo>
                    <a:pt x="1597367" y="2342497"/>
                  </a:lnTo>
                  <a:lnTo>
                    <a:pt x="1555607" y="2357782"/>
                  </a:lnTo>
                  <a:cubicBezTo>
                    <a:pt x="1480081" y="2381273"/>
                    <a:pt x="1401371" y="2397540"/>
                    <a:pt x="1320286" y="2405775"/>
                  </a:cubicBezTo>
                  <a:lnTo>
                    <a:pt x="1280210" y="2407799"/>
                  </a:lnTo>
                  <a:lnTo>
                    <a:pt x="1196981" y="2412001"/>
                  </a:lnTo>
                  <a:lnTo>
                    <a:pt x="1113751" y="2407799"/>
                  </a:lnTo>
                  <a:lnTo>
                    <a:pt x="1119699" y="2384666"/>
                  </a:lnTo>
                  <a:cubicBezTo>
                    <a:pt x="1135764" y="2306158"/>
                    <a:pt x="1144201" y="2224872"/>
                    <a:pt x="1144201" y="2141615"/>
                  </a:cubicBezTo>
                  <a:lnTo>
                    <a:pt x="1141365" y="2085444"/>
                  </a:lnTo>
                  <a:lnTo>
                    <a:pt x="1196982" y="2088253"/>
                  </a:lnTo>
                  <a:lnTo>
                    <a:pt x="1252595" y="2085445"/>
                  </a:lnTo>
                  <a:lnTo>
                    <a:pt x="1287186" y="2083698"/>
                  </a:lnTo>
                  <a:cubicBezTo>
                    <a:pt x="1376162" y="2074662"/>
                    <a:pt x="1461230" y="2052404"/>
                    <a:pt x="1540393" y="2018921"/>
                  </a:cubicBezTo>
                  <a:close/>
                  <a:moveTo>
                    <a:pt x="2400145" y="1262172"/>
                  </a:moveTo>
                  <a:lnTo>
                    <a:pt x="2396755" y="1329306"/>
                  </a:lnTo>
                  <a:cubicBezTo>
                    <a:pt x="2351465" y="1775270"/>
                    <a:pt x="2063191" y="2149402"/>
                    <a:pt x="1666410" y="2317226"/>
                  </a:cubicBezTo>
                  <a:lnTo>
                    <a:pt x="1597368" y="2342496"/>
                  </a:lnTo>
                  <a:lnTo>
                    <a:pt x="1591434" y="2319419"/>
                  </a:lnTo>
                  <a:cubicBezTo>
                    <a:pt x="1579682" y="2261987"/>
                    <a:pt x="1573510" y="2202522"/>
                    <a:pt x="1573510" y="2141615"/>
                  </a:cubicBezTo>
                  <a:cubicBezTo>
                    <a:pt x="1573510" y="2111161"/>
                    <a:pt x="1575053" y="2081069"/>
                    <a:pt x="1578065" y="2051410"/>
                  </a:cubicBezTo>
                  <a:lnTo>
                    <a:pt x="1586874" y="1993691"/>
                  </a:lnTo>
                  <a:lnTo>
                    <a:pt x="1690257" y="1937577"/>
                  </a:lnTo>
                  <a:cubicBezTo>
                    <a:pt x="1878001" y="1810740"/>
                    <a:pt x="2014300" y="1613535"/>
                    <a:pt x="2061309" y="1383805"/>
                  </a:cubicBezTo>
                  <a:lnTo>
                    <a:pt x="2065870" y="1353924"/>
                  </a:lnTo>
                  <a:lnTo>
                    <a:pt x="2112349" y="1328696"/>
                  </a:lnTo>
                  <a:cubicBezTo>
                    <a:pt x="2191513" y="1295212"/>
                    <a:pt x="2276580" y="1272955"/>
                    <a:pt x="2365556" y="1263919"/>
                  </a:cubicBezTo>
                  <a:close/>
                  <a:moveTo>
                    <a:pt x="2835" y="1262172"/>
                  </a:moveTo>
                  <a:lnTo>
                    <a:pt x="37424" y="1263919"/>
                  </a:lnTo>
                  <a:cubicBezTo>
                    <a:pt x="126400" y="1272955"/>
                    <a:pt x="211467" y="1295212"/>
                    <a:pt x="290631" y="1328696"/>
                  </a:cubicBezTo>
                  <a:lnTo>
                    <a:pt x="337110" y="1353924"/>
                  </a:lnTo>
                  <a:lnTo>
                    <a:pt x="341671" y="1383805"/>
                  </a:lnTo>
                  <a:cubicBezTo>
                    <a:pt x="388680" y="1613535"/>
                    <a:pt x="524979" y="1810740"/>
                    <a:pt x="712723" y="1937577"/>
                  </a:cubicBezTo>
                  <a:lnTo>
                    <a:pt x="816106" y="1993691"/>
                  </a:lnTo>
                  <a:lnTo>
                    <a:pt x="824915" y="2051410"/>
                  </a:lnTo>
                  <a:cubicBezTo>
                    <a:pt x="827927" y="2081069"/>
                    <a:pt x="829470" y="2111161"/>
                    <a:pt x="829470" y="2141615"/>
                  </a:cubicBezTo>
                  <a:cubicBezTo>
                    <a:pt x="829470" y="2202522"/>
                    <a:pt x="823298" y="2261987"/>
                    <a:pt x="811546" y="2319419"/>
                  </a:cubicBezTo>
                  <a:lnTo>
                    <a:pt x="805612" y="2342496"/>
                  </a:lnTo>
                  <a:lnTo>
                    <a:pt x="736570" y="2317226"/>
                  </a:lnTo>
                  <a:cubicBezTo>
                    <a:pt x="339789" y="2149402"/>
                    <a:pt x="51515" y="1775270"/>
                    <a:pt x="6225" y="1329306"/>
                  </a:cubicBezTo>
                  <a:close/>
                  <a:moveTo>
                    <a:pt x="1196980" y="0"/>
                  </a:moveTo>
                  <a:cubicBezTo>
                    <a:pt x="1738150" y="0"/>
                    <a:pt x="2196067" y="356448"/>
                    <a:pt x="2348761" y="847373"/>
                  </a:cubicBezTo>
                  <a:lnTo>
                    <a:pt x="2372530" y="939816"/>
                  </a:lnTo>
                  <a:lnTo>
                    <a:pt x="2332453" y="941840"/>
                  </a:lnTo>
                  <a:cubicBezTo>
                    <a:pt x="2251368" y="950075"/>
                    <a:pt x="2172659" y="966342"/>
                    <a:pt x="2097132" y="989833"/>
                  </a:cubicBezTo>
                  <a:lnTo>
                    <a:pt x="2055374" y="1005117"/>
                  </a:lnTo>
                  <a:lnTo>
                    <a:pt x="2039568" y="943646"/>
                  </a:lnTo>
                  <a:cubicBezTo>
                    <a:pt x="1927865" y="584510"/>
                    <a:pt x="1592875" y="323750"/>
                    <a:pt x="1196981" y="323750"/>
                  </a:cubicBezTo>
                  <a:cubicBezTo>
                    <a:pt x="801087" y="323750"/>
                    <a:pt x="466097" y="584510"/>
                    <a:pt x="354394" y="943646"/>
                  </a:cubicBezTo>
                  <a:lnTo>
                    <a:pt x="339364" y="1002100"/>
                  </a:lnTo>
                  <a:lnTo>
                    <a:pt x="347606" y="1005117"/>
                  </a:lnTo>
                  <a:lnTo>
                    <a:pt x="341672" y="1028197"/>
                  </a:lnTo>
                  <a:cubicBezTo>
                    <a:pt x="329920" y="1085629"/>
                    <a:pt x="323748" y="1145094"/>
                    <a:pt x="323748" y="1206001"/>
                  </a:cubicBezTo>
                  <a:cubicBezTo>
                    <a:pt x="323748" y="1236454"/>
                    <a:pt x="325291" y="1266547"/>
                    <a:pt x="328303" y="1296206"/>
                  </a:cubicBezTo>
                  <a:lnTo>
                    <a:pt x="337111" y="1353924"/>
                  </a:lnTo>
                  <a:lnTo>
                    <a:pt x="290632" y="1328696"/>
                  </a:lnTo>
                  <a:cubicBezTo>
                    <a:pt x="211468" y="1295212"/>
                    <a:pt x="126401" y="1272955"/>
                    <a:pt x="37425" y="1263919"/>
                  </a:cubicBezTo>
                  <a:lnTo>
                    <a:pt x="2836" y="1262172"/>
                  </a:lnTo>
                  <a:lnTo>
                    <a:pt x="0" y="1206000"/>
                  </a:lnTo>
                  <a:cubicBezTo>
                    <a:pt x="0" y="1122743"/>
                    <a:pt x="8436" y="1041457"/>
                    <a:pt x="24502" y="962949"/>
                  </a:cubicBezTo>
                  <a:lnTo>
                    <a:pt x="30334" y="940266"/>
                  </a:lnTo>
                  <a:lnTo>
                    <a:pt x="21430" y="939816"/>
                  </a:lnTo>
                  <a:lnTo>
                    <a:pt x="45199" y="847373"/>
                  </a:lnTo>
                  <a:cubicBezTo>
                    <a:pt x="197893" y="356448"/>
                    <a:pt x="655810" y="0"/>
                    <a:pt x="1196980" y="0"/>
                  </a:cubicBez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endParaRPr>
            </a:p>
          </p:txBody>
        </p:sp>
        <p:sp>
          <p:nvSpPr>
            <p:cNvPr id="146" name="Freeform 145"/>
            <p:cNvSpPr/>
            <p:nvPr/>
          </p:nvSpPr>
          <p:spPr bwMode="ltGray">
            <a:xfrm>
              <a:off x="4198528" y="2635993"/>
              <a:ext cx="2060093" cy="2062517"/>
            </a:xfrm>
            <a:custGeom>
              <a:avLst/>
              <a:gdLst>
                <a:gd name="connsiteX0" fmla="*/ 344771 w 2409164"/>
                <a:gd name="connsiteY0" fmla="*/ 1406882 h 2411999"/>
                <a:gd name="connsiteX1" fmla="*/ 360577 w 2409164"/>
                <a:gd name="connsiteY1" fmla="*/ 1468356 h 2411999"/>
                <a:gd name="connsiteX2" fmla="*/ 370819 w 2409164"/>
                <a:gd name="connsiteY2" fmla="*/ 1496340 h 2411999"/>
                <a:gd name="connsiteX3" fmla="*/ 390245 w 2409164"/>
                <a:gd name="connsiteY3" fmla="*/ 1549413 h 2411999"/>
                <a:gd name="connsiteX4" fmla="*/ 471588 w 2409164"/>
                <a:gd name="connsiteY4" fmla="*/ 1699276 h 2411999"/>
                <a:gd name="connsiteX5" fmla="*/ 543127 w 2409164"/>
                <a:gd name="connsiteY5" fmla="*/ 1785983 h 2411999"/>
                <a:gd name="connsiteX6" fmla="*/ 543128 w 2409164"/>
                <a:gd name="connsiteY6" fmla="*/ 1785983 h 2411999"/>
                <a:gd name="connsiteX7" fmla="*/ 579318 w 2409164"/>
                <a:gd name="connsiteY7" fmla="*/ 1829846 h 2411999"/>
                <a:gd name="connsiteX8" fmla="*/ 1203164 w 2409164"/>
                <a:gd name="connsiteY8" fmla="*/ 2088251 h 2411999"/>
                <a:gd name="connsiteX9" fmla="*/ 1380968 w 2409164"/>
                <a:gd name="connsiteY9" fmla="*/ 2070327 h 2411999"/>
                <a:gd name="connsiteX10" fmla="*/ 1388835 w 2409164"/>
                <a:gd name="connsiteY10" fmla="*/ 2068304 h 2411999"/>
                <a:gd name="connsiteX11" fmla="*/ 1460375 w 2409164"/>
                <a:gd name="connsiteY11" fmla="*/ 2155012 h 2411999"/>
                <a:gd name="connsiteX12" fmla="*/ 1541718 w 2409164"/>
                <a:gd name="connsiteY12" fmla="*/ 2304875 h 2411999"/>
                <a:gd name="connsiteX13" fmla="*/ 1561143 w 2409164"/>
                <a:gd name="connsiteY13" fmla="*/ 2357947 h 2411999"/>
                <a:gd name="connsiteX14" fmla="*/ 1446214 w 2409164"/>
                <a:gd name="connsiteY14" fmla="*/ 2387497 h 2411999"/>
                <a:gd name="connsiteX15" fmla="*/ 1203163 w 2409164"/>
                <a:gd name="connsiteY15" fmla="*/ 2411999 h 2411999"/>
                <a:gd name="connsiteX16" fmla="*/ 272555 w 2409164"/>
                <a:gd name="connsiteY16" fmla="*/ 1973127 h 2411999"/>
                <a:gd name="connsiteX17" fmla="*/ 232336 w 2409164"/>
                <a:gd name="connsiteY17" fmla="*/ 1919343 h 2411999"/>
                <a:gd name="connsiteX18" fmla="*/ 232335 w 2409164"/>
                <a:gd name="connsiteY18" fmla="*/ 1919343 h 2411999"/>
                <a:gd name="connsiteX19" fmla="*/ 203129 w 2409164"/>
                <a:gd name="connsiteY19" fmla="*/ 1880286 h 2411999"/>
                <a:gd name="connsiteX20" fmla="*/ 91937 w 2409164"/>
                <a:gd name="connsiteY20" fmla="*/ 1675429 h 2411999"/>
                <a:gd name="connsiteX21" fmla="*/ 76992 w 2409164"/>
                <a:gd name="connsiteY21" fmla="*/ 1634597 h 2411999"/>
                <a:gd name="connsiteX22" fmla="*/ 51382 w 2409164"/>
                <a:gd name="connsiteY22" fmla="*/ 1564627 h 2411999"/>
                <a:gd name="connsiteX23" fmla="*/ 27613 w 2409164"/>
                <a:gd name="connsiteY23" fmla="*/ 1472184 h 2411999"/>
                <a:gd name="connsiteX24" fmla="*/ 67690 w 2409164"/>
                <a:gd name="connsiteY24" fmla="*/ 1470160 h 2411999"/>
                <a:gd name="connsiteX25" fmla="*/ 303011 w 2409164"/>
                <a:gd name="connsiteY25" fmla="*/ 1422167 h 2411999"/>
                <a:gd name="connsiteX26" fmla="*/ 1119934 w 2409164"/>
                <a:gd name="connsiteY26" fmla="*/ 4201 h 2411999"/>
                <a:gd name="connsiteX27" fmla="*/ 1125882 w 2409164"/>
                <a:gd name="connsiteY27" fmla="*/ 27334 h 2411999"/>
                <a:gd name="connsiteX28" fmla="*/ 1150384 w 2409164"/>
                <a:gd name="connsiteY28" fmla="*/ 270385 h 2411999"/>
                <a:gd name="connsiteX29" fmla="*/ 1147548 w 2409164"/>
                <a:gd name="connsiteY29" fmla="*/ 326557 h 2411999"/>
                <a:gd name="connsiteX30" fmla="*/ 1112959 w 2409164"/>
                <a:gd name="connsiteY30" fmla="*/ 328304 h 2411999"/>
                <a:gd name="connsiteX31" fmla="*/ 859752 w 2409164"/>
                <a:gd name="connsiteY31" fmla="*/ 393081 h 2411999"/>
                <a:gd name="connsiteX32" fmla="*/ 813275 w 2409164"/>
                <a:gd name="connsiteY32" fmla="*/ 418308 h 2411999"/>
                <a:gd name="connsiteX33" fmla="*/ 813274 w 2409164"/>
                <a:gd name="connsiteY33" fmla="*/ 418310 h 2411999"/>
                <a:gd name="connsiteX34" fmla="*/ 709890 w 2409164"/>
                <a:gd name="connsiteY34" fmla="*/ 474425 h 2411999"/>
                <a:gd name="connsiteX35" fmla="*/ 338838 w 2409164"/>
                <a:gd name="connsiteY35" fmla="*/ 1028197 h 2411999"/>
                <a:gd name="connsiteX36" fmla="*/ 334278 w 2409164"/>
                <a:gd name="connsiteY36" fmla="*/ 1058077 h 2411999"/>
                <a:gd name="connsiteX37" fmla="*/ 287798 w 2409164"/>
                <a:gd name="connsiteY37" fmla="*/ 1083306 h 2411999"/>
                <a:gd name="connsiteX38" fmla="*/ 34591 w 2409164"/>
                <a:gd name="connsiteY38" fmla="*/ 1148083 h 2411999"/>
                <a:gd name="connsiteX39" fmla="*/ 0 w 2409164"/>
                <a:gd name="connsiteY39" fmla="*/ 1149830 h 2411999"/>
                <a:gd name="connsiteX40" fmla="*/ 3390 w 2409164"/>
                <a:gd name="connsiteY40" fmla="*/ 1082694 h 2411999"/>
                <a:gd name="connsiteX41" fmla="*/ 733735 w 2409164"/>
                <a:gd name="connsiteY41" fmla="*/ 94774 h 2411999"/>
                <a:gd name="connsiteX42" fmla="*/ 802779 w 2409164"/>
                <a:gd name="connsiteY42" fmla="*/ 69503 h 2411999"/>
                <a:gd name="connsiteX43" fmla="*/ 802778 w 2409164"/>
                <a:gd name="connsiteY43" fmla="*/ 69502 h 2411999"/>
                <a:gd name="connsiteX44" fmla="*/ 844536 w 2409164"/>
                <a:gd name="connsiteY44" fmla="*/ 54218 h 2411999"/>
                <a:gd name="connsiteX45" fmla="*/ 1079857 w 2409164"/>
                <a:gd name="connsiteY45" fmla="*/ 6225 h 2411999"/>
                <a:gd name="connsiteX46" fmla="*/ 1203164 w 2409164"/>
                <a:gd name="connsiteY46" fmla="*/ 0 h 2411999"/>
                <a:gd name="connsiteX47" fmla="*/ 2409164 w 2409164"/>
                <a:gd name="connsiteY47" fmla="*/ 1206000 h 2411999"/>
                <a:gd name="connsiteX48" fmla="*/ 1877450 w 2409164"/>
                <a:gd name="connsiteY48" fmla="*/ 2206034 h 2411999"/>
                <a:gd name="connsiteX49" fmla="*/ 1854971 w 2409164"/>
                <a:gd name="connsiteY49" fmla="*/ 2219691 h 2411999"/>
                <a:gd name="connsiteX50" fmla="*/ 1840025 w 2409164"/>
                <a:gd name="connsiteY50" fmla="*/ 2178858 h 2411999"/>
                <a:gd name="connsiteX51" fmla="*/ 1728833 w 2409164"/>
                <a:gd name="connsiteY51" fmla="*/ 1974001 h 2411999"/>
                <a:gd name="connsiteX52" fmla="*/ 1699629 w 2409164"/>
                <a:gd name="connsiteY52" fmla="*/ 1934947 h 2411999"/>
                <a:gd name="connsiteX53" fmla="*/ 1827011 w 2409164"/>
                <a:gd name="connsiteY53" fmla="*/ 1829847 h 2411999"/>
                <a:gd name="connsiteX54" fmla="*/ 2085416 w 2409164"/>
                <a:gd name="connsiteY54" fmla="*/ 1206001 h 2411999"/>
                <a:gd name="connsiteX55" fmla="*/ 1203165 w 2409164"/>
                <a:gd name="connsiteY55" fmla="*/ 323750 h 2411999"/>
                <a:gd name="connsiteX56" fmla="*/ 1147549 w 2409164"/>
                <a:gd name="connsiteY56" fmla="*/ 326558 h 2411999"/>
                <a:gd name="connsiteX57" fmla="*/ 1150385 w 2409164"/>
                <a:gd name="connsiteY57" fmla="*/ 270386 h 2411999"/>
                <a:gd name="connsiteX58" fmla="*/ 1125883 w 2409164"/>
                <a:gd name="connsiteY58" fmla="*/ 27335 h 2411999"/>
                <a:gd name="connsiteX59" fmla="*/ 1119935 w 2409164"/>
                <a:gd name="connsiteY59" fmla="*/ 4202 h 241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409164" h="2411999">
                  <a:moveTo>
                    <a:pt x="344771" y="1406882"/>
                  </a:moveTo>
                  <a:lnTo>
                    <a:pt x="360577" y="1468356"/>
                  </a:lnTo>
                  <a:lnTo>
                    <a:pt x="370819" y="1496340"/>
                  </a:lnTo>
                  <a:lnTo>
                    <a:pt x="390245" y="1549413"/>
                  </a:lnTo>
                  <a:cubicBezTo>
                    <a:pt x="412567" y="1602189"/>
                    <a:pt x="439878" y="1652340"/>
                    <a:pt x="471588" y="1699276"/>
                  </a:cubicBezTo>
                  <a:lnTo>
                    <a:pt x="543127" y="1785983"/>
                  </a:lnTo>
                  <a:lnTo>
                    <a:pt x="543128" y="1785983"/>
                  </a:lnTo>
                  <a:lnTo>
                    <a:pt x="579318" y="1829846"/>
                  </a:lnTo>
                  <a:cubicBezTo>
                    <a:pt x="738974" y="1989502"/>
                    <a:pt x="959537" y="2088251"/>
                    <a:pt x="1203164" y="2088251"/>
                  </a:cubicBezTo>
                  <a:cubicBezTo>
                    <a:pt x="1264071" y="2088251"/>
                    <a:pt x="1323536" y="2082079"/>
                    <a:pt x="1380968" y="2070327"/>
                  </a:cubicBezTo>
                  <a:lnTo>
                    <a:pt x="1388835" y="2068304"/>
                  </a:lnTo>
                  <a:lnTo>
                    <a:pt x="1460375" y="2155012"/>
                  </a:lnTo>
                  <a:cubicBezTo>
                    <a:pt x="1492085" y="2201948"/>
                    <a:pt x="1519396" y="2252100"/>
                    <a:pt x="1541718" y="2304875"/>
                  </a:cubicBezTo>
                  <a:lnTo>
                    <a:pt x="1561143" y="2357947"/>
                  </a:lnTo>
                  <a:lnTo>
                    <a:pt x="1446214" y="2387497"/>
                  </a:lnTo>
                  <a:cubicBezTo>
                    <a:pt x="1367707" y="2403563"/>
                    <a:pt x="1286420" y="2411999"/>
                    <a:pt x="1203163" y="2411999"/>
                  </a:cubicBezTo>
                  <a:cubicBezTo>
                    <a:pt x="828507" y="2411999"/>
                    <a:pt x="493753" y="2241157"/>
                    <a:pt x="272555" y="1973127"/>
                  </a:cubicBezTo>
                  <a:lnTo>
                    <a:pt x="232336" y="1919343"/>
                  </a:lnTo>
                  <a:lnTo>
                    <a:pt x="232335" y="1919343"/>
                  </a:lnTo>
                  <a:lnTo>
                    <a:pt x="203129" y="1880286"/>
                  </a:lnTo>
                  <a:cubicBezTo>
                    <a:pt x="159784" y="1816127"/>
                    <a:pt x="122450" y="1747572"/>
                    <a:pt x="91937" y="1675429"/>
                  </a:cubicBezTo>
                  <a:lnTo>
                    <a:pt x="76992" y="1634597"/>
                  </a:lnTo>
                  <a:lnTo>
                    <a:pt x="51382" y="1564627"/>
                  </a:lnTo>
                  <a:lnTo>
                    <a:pt x="27613" y="1472184"/>
                  </a:lnTo>
                  <a:lnTo>
                    <a:pt x="67690" y="1470160"/>
                  </a:lnTo>
                  <a:cubicBezTo>
                    <a:pt x="148775" y="1461925"/>
                    <a:pt x="227485" y="1445658"/>
                    <a:pt x="303011" y="1422167"/>
                  </a:cubicBezTo>
                  <a:close/>
                  <a:moveTo>
                    <a:pt x="1119934" y="4201"/>
                  </a:moveTo>
                  <a:lnTo>
                    <a:pt x="1125882" y="27334"/>
                  </a:lnTo>
                  <a:cubicBezTo>
                    <a:pt x="1141948" y="105842"/>
                    <a:pt x="1150384" y="187128"/>
                    <a:pt x="1150384" y="270385"/>
                  </a:cubicBezTo>
                  <a:lnTo>
                    <a:pt x="1147548" y="326557"/>
                  </a:lnTo>
                  <a:lnTo>
                    <a:pt x="1112959" y="328304"/>
                  </a:lnTo>
                  <a:cubicBezTo>
                    <a:pt x="1023983" y="337340"/>
                    <a:pt x="938916" y="359597"/>
                    <a:pt x="859752" y="393081"/>
                  </a:cubicBezTo>
                  <a:lnTo>
                    <a:pt x="813275" y="418308"/>
                  </a:lnTo>
                  <a:lnTo>
                    <a:pt x="813274" y="418310"/>
                  </a:lnTo>
                  <a:lnTo>
                    <a:pt x="709890" y="474425"/>
                  </a:lnTo>
                  <a:cubicBezTo>
                    <a:pt x="522146" y="601262"/>
                    <a:pt x="385848" y="798467"/>
                    <a:pt x="338838" y="1028197"/>
                  </a:cubicBezTo>
                  <a:lnTo>
                    <a:pt x="334278" y="1058077"/>
                  </a:lnTo>
                  <a:lnTo>
                    <a:pt x="287798" y="1083306"/>
                  </a:lnTo>
                  <a:cubicBezTo>
                    <a:pt x="208635" y="1116789"/>
                    <a:pt x="123567" y="1139047"/>
                    <a:pt x="34591" y="1148083"/>
                  </a:cubicBezTo>
                  <a:lnTo>
                    <a:pt x="0" y="1149830"/>
                  </a:lnTo>
                  <a:lnTo>
                    <a:pt x="3390" y="1082694"/>
                  </a:lnTo>
                  <a:cubicBezTo>
                    <a:pt x="48681" y="636730"/>
                    <a:pt x="336954" y="262598"/>
                    <a:pt x="733735" y="94774"/>
                  </a:cubicBezTo>
                  <a:lnTo>
                    <a:pt x="802779" y="69503"/>
                  </a:lnTo>
                  <a:lnTo>
                    <a:pt x="802778" y="69502"/>
                  </a:lnTo>
                  <a:lnTo>
                    <a:pt x="844536" y="54218"/>
                  </a:lnTo>
                  <a:cubicBezTo>
                    <a:pt x="920063" y="30727"/>
                    <a:pt x="998772" y="14460"/>
                    <a:pt x="1079857" y="6225"/>
                  </a:cubicBezTo>
                  <a:close/>
                  <a:moveTo>
                    <a:pt x="1203164" y="0"/>
                  </a:moveTo>
                  <a:cubicBezTo>
                    <a:pt x="1869219" y="0"/>
                    <a:pt x="2409164" y="539945"/>
                    <a:pt x="2409164" y="1206000"/>
                  </a:cubicBezTo>
                  <a:cubicBezTo>
                    <a:pt x="2409164" y="1622285"/>
                    <a:pt x="2198248" y="1989307"/>
                    <a:pt x="1877450" y="2206034"/>
                  </a:cubicBezTo>
                  <a:lnTo>
                    <a:pt x="1854971" y="2219691"/>
                  </a:lnTo>
                  <a:lnTo>
                    <a:pt x="1840025" y="2178858"/>
                  </a:lnTo>
                  <a:cubicBezTo>
                    <a:pt x="1809512" y="2106716"/>
                    <a:pt x="1772179" y="2038161"/>
                    <a:pt x="1728833" y="1974001"/>
                  </a:cubicBezTo>
                  <a:lnTo>
                    <a:pt x="1699629" y="1934947"/>
                  </a:lnTo>
                  <a:lnTo>
                    <a:pt x="1827011" y="1829847"/>
                  </a:lnTo>
                  <a:cubicBezTo>
                    <a:pt x="1986667" y="1670191"/>
                    <a:pt x="2085416" y="1449628"/>
                    <a:pt x="2085416" y="1206001"/>
                  </a:cubicBezTo>
                  <a:cubicBezTo>
                    <a:pt x="2085416" y="718747"/>
                    <a:pt x="1690419" y="323750"/>
                    <a:pt x="1203165" y="323750"/>
                  </a:cubicBezTo>
                  <a:lnTo>
                    <a:pt x="1147549" y="326558"/>
                  </a:lnTo>
                  <a:lnTo>
                    <a:pt x="1150385" y="270386"/>
                  </a:lnTo>
                  <a:cubicBezTo>
                    <a:pt x="1150385" y="187129"/>
                    <a:pt x="1141949" y="105843"/>
                    <a:pt x="1125883" y="27335"/>
                  </a:cubicBezTo>
                  <a:lnTo>
                    <a:pt x="1119935" y="4202"/>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endParaRPr>
            </a:p>
          </p:txBody>
        </p:sp>
        <p:sp>
          <p:nvSpPr>
            <p:cNvPr id="145" name="Freeform 144"/>
            <p:cNvSpPr/>
            <p:nvPr/>
          </p:nvSpPr>
          <p:spPr bwMode="ltGray">
            <a:xfrm>
              <a:off x="3790470" y="3869301"/>
              <a:ext cx="2062517" cy="2062518"/>
            </a:xfrm>
            <a:custGeom>
              <a:avLst/>
              <a:gdLst>
                <a:gd name="connsiteX0" fmla="*/ 2176830 w 2411999"/>
                <a:gd name="connsiteY0" fmla="*/ 492661 h 2412000"/>
                <a:gd name="connsiteX1" fmla="*/ 2206034 w 2411999"/>
                <a:gd name="connsiteY1" fmla="*/ 531715 h 2412000"/>
                <a:gd name="connsiteX2" fmla="*/ 2317226 w 2411999"/>
                <a:gd name="connsiteY2" fmla="*/ 736572 h 2412000"/>
                <a:gd name="connsiteX3" fmla="*/ 2332172 w 2411999"/>
                <a:gd name="connsiteY3" fmla="*/ 777405 h 2412000"/>
                <a:gd name="connsiteX4" fmla="*/ 2332172 w 2411999"/>
                <a:gd name="connsiteY4" fmla="*/ 777406 h 2412000"/>
                <a:gd name="connsiteX5" fmla="*/ 2357780 w 2411999"/>
                <a:gd name="connsiteY5" fmla="*/ 847373 h 2412000"/>
                <a:gd name="connsiteX6" fmla="*/ 2411999 w 2411999"/>
                <a:gd name="connsiteY6" fmla="*/ 1206000 h 2412000"/>
                <a:gd name="connsiteX7" fmla="*/ 1205999 w 2411999"/>
                <a:gd name="connsiteY7" fmla="*/ 2412000 h 2412000"/>
                <a:gd name="connsiteX8" fmla="*/ 438871 w 2411999"/>
                <a:gd name="connsiteY8" fmla="*/ 2136608 h 2412000"/>
                <a:gd name="connsiteX9" fmla="*/ 420909 w 2411999"/>
                <a:gd name="connsiteY9" fmla="*/ 2120283 h 2412000"/>
                <a:gd name="connsiteX10" fmla="*/ 488589 w 2411999"/>
                <a:gd name="connsiteY10" fmla="*/ 2058771 h 2412000"/>
                <a:gd name="connsiteX11" fmla="*/ 635852 w 2411999"/>
                <a:gd name="connsiteY11" fmla="*/ 1880286 h 2412000"/>
                <a:gd name="connsiteX12" fmla="*/ 638335 w 2411999"/>
                <a:gd name="connsiteY12" fmla="*/ 1876200 h 2412000"/>
                <a:gd name="connsiteX13" fmla="*/ 712725 w 2411999"/>
                <a:gd name="connsiteY13" fmla="*/ 1937577 h 2412000"/>
                <a:gd name="connsiteX14" fmla="*/ 1206000 w 2411999"/>
                <a:gd name="connsiteY14" fmla="*/ 2088252 h 2412000"/>
                <a:gd name="connsiteX15" fmla="*/ 2088251 w 2411999"/>
                <a:gd name="connsiteY15" fmla="*/ 1206001 h 2412000"/>
                <a:gd name="connsiteX16" fmla="*/ 2048587 w 2411999"/>
                <a:gd name="connsiteY16" fmla="*/ 943646 h 2412000"/>
                <a:gd name="connsiteX17" fmla="*/ 2038344 w 2411999"/>
                <a:gd name="connsiteY17" fmla="*/ 915661 h 2412000"/>
                <a:gd name="connsiteX18" fmla="*/ 2038345 w 2411999"/>
                <a:gd name="connsiteY18" fmla="*/ 915661 h 2412000"/>
                <a:gd name="connsiteX19" fmla="*/ 2018920 w 2411999"/>
                <a:gd name="connsiteY19" fmla="*/ 862590 h 2412000"/>
                <a:gd name="connsiteX20" fmla="*/ 1937577 w 2411999"/>
                <a:gd name="connsiteY20" fmla="*/ 712727 h 2412000"/>
                <a:gd name="connsiteX21" fmla="*/ 1866037 w 2411999"/>
                <a:gd name="connsiteY21" fmla="*/ 626019 h 2412000"/>
                <a:gd name="connsiteX22" fmla="*/ 1942721 w 2411999"/>
                <a:gd name="connsiteY22" fmla="*/ 606302 h 2412000"/>
                <a:gd name="connsiteX23" fmla="*/ 2173641 w 2411999"/>
                <a:gd name="connsiteY23" fmla="*/ 495291 h 2412000"/>
                <a:gd name="connsiteX24" fmla="*/ 420909 w 2411999"/>
                <a:gd name="connsiteY24" fmla="*/ 291719 h 2412000"/>
                <a:gd name="connsiteX25" fmla="*/ 488589 w 2411999"/>
                <a:gd name="connsiteY25" fmla="*/ 353230 h 2412000"/>
                <a:gd name="connsiteX26" fmla="*/ 635852 w 2411999"/>
                <a:gd name="connsiteY26" fmla="*/ 531715 h 2412000"/>
                <a:gd name="connsiteX27" fmla="*/ 638335 w 2411999"/>
                <a:gd name="connsiteY27" fmla="*/ 535803 h 2412000"/>
                <a:gd name="connsiteX28" fmla="*/ 582154 w 2411999"/>
                <a:gd name="connsiteY28" fmla="*/ 582156 h 2412000"/>
                <a:gd name="connsiteX29" fmla="*/ 474424 w 2411999"/>
                <a:gd name="connsiteY29" fmla="*/ 712727 h 2412000"/>
                <a:gd name="connsiteX30" fmla="*/ 420911 w 2411999"/>
                <a:gd name="connsiteY30" fmla="*/ 811319 h 2412000"/>
                <a:gd name="connsiteX31" fmla="*/ 420911 w 2411999"/>
                <a:gd name="connsiteY31" fmla="*/ 811319 h 2412000"/>
                <a:gd name="connsiteX32" fmla="*/ 393082 w 2411999"/>
                <a:gd name="connsiteY32" fmla="*/ 862589 h 2412000"/>
                <a:gd name="connsiteX33" fmla="*/ 323750 w 2411999"/>
                <a:gd name="connsiteY33" fmla="*/ 1206001 h 2412000"/>
                <a:gd name="connsiteX34" fmla="*/ 393082 w 2411999"/>
                <a:gd name="connsiteY34" fmla="*/ 1549413 h 2412000"/>
                <a:gd name="connsiteX35" fmla="*/ 420911 w 2411999"/>
                <a:gd name="connsiteY35" fmla="*/ 1600683 h 2412000"/>
                <a:gd name="connsiteX36" fmla="*/ 367396 w 2411999"/>
                <a:gd name="connsiteY36" fmla="*/ 1699276 h 2412000"/>
                <a:gd name="connsiteX37" fmla="*/ 259666 w 2411999"/>
                <a:gd name="connsiteY37" fmla="*/ 1829847 h 2412000"/>
                <a:gd name="connsiteX38" fmla="*/ 203484 w 2411999"/>
                <a:gd name="connsiteY38" fmla="*/ 1876201 h 2412000"/>
                <a:gd name="connsiteX39" fmla="*/ 145558 w 2411999"/>
                <a:gd name="connsiteY39" fmla="*/ 1780851 h 2412000"/>
                <a:gd name="connsiteX40" fmla="*/ 0 w 2411999"/>
                <a:gd name="connsiteY40" fmla="*/ 1206000 h 2412000"/>
                <a:gd name="connsiteX41" fmla="*/ 145558 w 2411999"/>
                <a:gd name="connsiteY41" fmla="*/ 631149 h 2412000"/>
                <a:gd name="connsiteX42" fmla="*/ 203483 w 2411999"/>
                <a:gd name="connsiteY42" fmla="*/ 535802 h 2412000"/>
                <a:gd name="connsiteX43" fmla="*/ 203483 w 2411999"/>
                <a:gd name="connsiteY43" fmla="*/ 535802 h 2412000"/>
                <a:gd name="connsiteX44" fmla="*/ 205965 w 2411999"/>
                <a:gd name="connsiteY44" fmla="*/ 531715 h 2412000"/>
                <a:gd name="connsiteX45" fmla="*/ 353228 w 2411999"/>
                <a:gd name="connsiteY45" fmla="*/ 353230 h 2412000"/>
                <a:gd name="connsiteX46" fmla="*/ 554194 w 2411999"/>
                <a:gd name="connsiteY46" fmla="*/ 192310 h 2412000"/>
                <a:gd name="connsiteX47" fmla="*/ 569139 w 2411999"/>
                <a:gd name="connsiteY47" fmla="*/ 233142 h 2412000"/>
                <a:gd name="connsiteX48" fmla="*/ 680331 w 2411999"/>
                <a:gd name="connsiteY48" fmla="*/ 437999 h 2412000"/>
                <a:gd name="connsiteX49" fmla="*/ 709537 w 2411999"/>
                <a:gd name="connsiteY49" fmla="*/ 477056 h 2412000"/>
                <a:gd name="connsiteX50" fmla="*/ 638336 w 2411999"/>
                <a:gd name="connsiteY50" fmla="*/ 535802 h 2412000"/>
                <a:gd name="connsiteX51" fmla="*/ 635853 w 2411999"/>
                <a:gd name="connsiteY51" fmla="*/ 531714 h 2412000"/>
                <a:gd name="connsiteX52" fmla="*/ 488590 w 2411999"/>
                <a:gd name="connsiteY52" fmla="*/ 353229 h 2412000"/>
                <a:gd name="connsiteX53" fmla="*/ 420910 w 2411999"/>
                <a:gd name="connsiteY53" fmla="*/ 291718 h 2412000"/>
                <a:gd name="connsiteX54" fmla="*/ 438872 w 2411999"/>
                <a:gd name="connsiteY54" fmla="*/ 275392 h 2412000"/>
                <a:gd name="connsiteX55" fmla="*/ 531714 w 2411999"/>
                <a:gd name="connsiteY55" fmla="*/ 205966 h 2412000"/>
                <a:gd name="connsiteX56" fmla="*/ 1206000 w 2411999"/>
                <a:gd name="connsiteY56" fmla="*/ 0 h 2412000"/>
                <a:gd name="connsiteX57" fmla="*/ 2136608 w 2411999"/>
                <a:gd name="connsiteY57" fmla="*/ 438872 h 2412000"/>
                <a:gd name="connsiteX58" fmla="*/ 2176830 w 2411999"/>
                <a:gd name="connsiteY58" fmla="*/ 492660 h 2412000"/>
                <a:gd name="connsiteX59" fmla="*/ 2173641 w 2411999"/>
                <a:gd name="connsiteY59" fmla="*/ 495290 h 2412000"/>
                <a:gd name="connsiteX60" fmla="*/ 1942721 w 2411999"/>
                <a:gd name="connsiteY60" fmla="*/ 606301 h 2412000"/>
                <a:gd name="connsiteX61" fmla="*/ 1866037 w 2411999"/>
                <a:gd name="connsiteY61" fmla="*/ 626018 h 2412000"/>
                <a:gd name="connsiteX62" fmla="*/ 1829847 w 2411999"/>
                <a:gd name="connsiteY62" fmla="*/ 582155 h 2412000"/>
                <a:gd name="connsiteX63" fmla="*/ 1206001 w 2411999"/>
                <a:gd name="connsiteY63" fmla="*/ 323750 h 2412000"/>
                <a:gd name="connsiteX64" fmla="*/ 1028197 w 2411999"/>
                <a:gd name="connsiteY64" fmla="*/ 341674 h 2412000"/>
                <a:gd name="connsiteX65" fmla="*/ 1020330 w 2411999"/>
                <a:gd name="connsiteY65" fmla="*/ 343697 h 2412000"/>
                <a:gd name="connsiteX66" fmla="*/ 948790 w 2411999"/>
                <a:gd name="connsiteY66" fmla="*/ 256989 h 2412000"/>
                <a:gd name="connsiteX67" fmla="*/ 867447 w 2411999"/>
                <a:gd name="connsiteY67" fmla="*/ 107126 h 2412000"/>
                <a:gd name="connsiteX68" fmla="*/ 848021 w 2411999"/>
                <a:gd name="connsiteY68" fmla="*/ 54053 h 2412000"/>
                <a:gd name="connsiteX69" fmla="*/ 962949 w 2411999"/>
                <a:gd name="connsiteY69" fmla="*/ 24502 h 2412000"/>
                <a:gd name="connsiteX70" fmla="*/ 1206000 w 2411999"/>
                <a:gd name="connsiteY70" fmla="*/ 0 h 241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411999" h="2412000">
                  <a:moveTo>
                    <a:pt x="2176830" y="492661"/>
                  </a:moveTo>
                  <a:lnTo>
                    <a:pt x="2206034" y="531715"/>
                  </a:lnTo>
                  <a:cubicBezTo>
                    <a:pt x="2249380" y="595875"/>
                    <a:pt x="2286713" y="664430"/>
                    <a:pt x="2317226" y="736572"/>
                  </a:cubicBezTo>
                  <a:lnTo>
                    <a:pt x="2332172" y="777405"/>
                  </a:lnTo>
                  <a:lnTo>
                    <a:pt x="2332172" y="777406"/>
                  </a:lnTo>
                  <a:lnTo>
                    <a:pt x="2357780" y="847373"/>
                  </a:lnTo>
                  <a:cubicBezTo>
                    <a:pt x="2393017" y="960663"/>
                    <a:pt x="2411999" y="1081115"/>
                    <a:pt x="2411999" y="1206000"/>
                  </a:cubicBezTo>
                  <a:cubicBezTo>
                    <a:pt x="2411999" y="1872055"/>
                    <a:pt x="1872054" y="2412000"/>
                    <a:pt x="1205999" y="2412000"/>
                  </a:cubicBezTo>
                  <a:cubicBezTo>
                    <a:pt x="914600" y="2412000"/>
                    <a:pt x="647339" y="2308651"/>
                    <a:pt x="438871" y="2136608"/>
                  </a:cubicBezTo>
                  <a:lnTo>
                    <a:pt x="420909" y="2120283"/>
                  </a:lnTo>
                  <a:lnTo>
                    <a:pt x="488589" y="2058771"/>
                  </a:lnTo>
                  <a:cubicBezTo>
                    <a:pt x="543150" y="2004210"/>
                    <a:pt x="592507" y="1944446"/>
                    <a:pt x="635852" y="1880286"/>
                  </a:cubicBezTo>
                  <a:lnTo>
                    <a:pt x="638335" y="1876200"/>
                  </a:lnTo>
                  <a:lnTo>
                    <a:pt x="712725" y="1937577"/>
                  </a:lnTo>
                  <a:cubicBezTo>
                    <a:pt x="853533" y="2032706"/>
                    <a:pt x="1023280" y="2088252"/>
                    <a:pt x="1206000" y="2088252"/>
                  </a:cubicBezTo>
                  <a:cubicBezTo>
                    <a:pt x="1693254" y="2088252"/>
                    <a:pt x="2088251" y="1693255"/>
                    <a:pt x="2088251" y="1206001"/>
                  </a:cubicBezTo>
                  <a:cubicBezTo>
                    <a:pt x="2088251" y="1114641"/>
                    <a:pt x="2074365" y="1026524"/>
                    <a:pt x="2048587" y="943646"/>
                  </a:cubicBezTo>
                  <a:lnTo>
                    <a:pt x="2038344" y="915661"/>
                  </a:lnTo>
                  <a:lnTo>
                    <a:pt x="2038345" y="915661"/>
                  </a:lnTo>
                  <a:lnTo>
                    <a:pt x="2018920" y="862590"/>
                  </a:lnTo>
                  <a:cubicBezTo>
                    <a:pt x="1996598" y="809815"/>
                    <a:pt x="1969287" y="759663"/>
                    <a:pt x="1937577" y="712727"/>
                  </a:cubicBezTo>
                  <a:lnTo>
                    <a:pt x="1866037" y="626019"/>
                  </a:lnTo>
                  <a:lnTo>
                    <a:pt x="1942721" y="606302"/>
                  </a:lnTo>
                  <a:cubicBezTo>
                    <a:pt x="2025598" y="580524"/>
                    <a:pt x="2103237" y="542856"/>
                    <a:pt x="2173641" y="495291"/>
                  </a:cubicBezTo>
                  <a:close/>
                  <a:moveTo>
                    <a:pt x="420909" y="291719"/>
                  </a:moveTo>
                  <a:lnTo>
                    <a:pt x="488589" y="353230"/>
                  </a:lnTo>
                  <a:cubicBezTo>
                    <a:pt x="543150" y="407791"/>
                    <a:pt x="592507" y="467556"/>
                    <a:pt x="635852" y="531715"/>
                  </a:cubicBezTo>
                  <a:lnTo>
                    <a:pt x="638335" y="535803"/>
                  </a:lnTo>
                  <a:lnTo>
                    <a:pt x="582154" y="582156"/>
                  </a:lnTo>
                  <a:cubicBezTo>
                    <a:pt x="542240" y="622070"/>
                    <a:pt x="506133" y="665791"/>
                    <a:pt x="474424" y="712727"/>
                  </a:cubicBezTo>
                  <a:lnTo>
                    <a:pt x="420911" y="811319"/>
                  </a:lnTo>
                  <a:lnTo>
                    <a:pt x="420911" y="811319"/>
                  </a:lnTo>
                  <a:lnTo>
                    <a:pt x="393082" y="862589"/>
                  </a:lnTo>
                  <a:cubicBezTo>
                    <a:pt x="348437" y="968140"/>
                    <a:pt x="323750" y="1084188"/>
                    <a:pt x="323750" y="1206001"/>
                  </a:cubicBezTo>
                  <a:cubicBezTo>
                    <a:pt x="323750" y="1327815"/>
                    <a:pt x="348437" y="1443862"/>
                    <a:pt x="393082" y="1549413"/>
                  </a:cubicBezTo>
                  <a:lnTo>
                    <a:pt x="420911" y="1600683"/>
                  </a:lnTo>
                  <a:lnTo>
                    <a:pt x="367396" y="1699276"/>
                  </a:lnTo>
                  <a:cubicBezTo>
                    <a:pt x="335687" y="1746212"/>
                    <a:pt x="299580" y="1789933"/>
                    <a:pt x="259666" y="1829847"/>
                  </a:cubicBezTo>
                  <a:lnTo>
                    <a:pt x="203484" y="1876201"/>
                  </a:lnTo>
                  <a:lnTo>
                    <a:pt x="145558" y="1780851"/>
                  </a:lnTo>
                  <a:cubicBezTo>
                    <a:pt x="52729" y="1609969"/>
                    <a:pt x="0" y="1414142"/>
                    <a:pt x="0" y="1206000"/>
                  </a:cubicBezTo>
                  <a:cubicBezTo>
                    <a:pt x="0" y="997858"/>
                    <a:pt x="52729" y="802031"/>
                    <a:pt x="145558" y="631149"/>
                  </a:cubicBezTo>
                  <a:lnTo>
                    <a:pt x="203483" y="535802"/>
                  </a:lnTo>
                  <a:lnTo>
                    <a:pt x="203483" y="535802"/>
                  </a:lnTo>
                  <a:lnTo>
                    <a:pt x="205965" y="531715"/>
                  </a:lnTo>
                  <a:cubicBezTo>
                    <a:pt x="249310" y="467556"/>
                    <a:pt x="298668" y="407791"/>
                    <a:pt x="353228" y="353230"/>
                  </a:cubicBezTo>
                  <a:close/>
                  <a:moveTo>
                    <a:pt x="554194" y="192310"/>
                  </a:moveTo>
                  <a:lnTo>
                    <a:pt x="569139" y="233142"/>
                  </a:lnTo>
                  <a:cubicBezTo>
                    <a:pt x="599652" y="305285"/>
                    <a:pt x="636986" y="373840"/>
                    <a:pt x="680331" y="437999"/>
                  </a:cubicBezTo>
                  <a:lnTo>
                    <a:pt x="709537" y="477056"/>
                  </a:lnTo>
                  <a:lnTo>
                    <a:pt x="638336" y="535802"/>
                  </a:lnTo>
                  <a:lnTo>
                    <a:pt x="635853" y="531714"/>
                  </a:lnTo>
                  <a:cubicBezTo>
                    <a:pt x="592508" y="467555"/>
                    <a:pt x="543151" y="407790"/>
                    <a:pt x="488590" y="353229"/>
                  </a:cubicBezTo>
                  <a:lnTo>
                    <a:pt x="420910" y="291718"/>
                  </a:lnTo>
                  <a:lnTo>
                    <a:pt x="438872" y="275392"/>
                  </a:lnTo>
                  <a:cubicBezTo>
                    <a:pt x="468653" y="250815"/>
                    <a:pt x="499634" y="227639"/>
                    <a:pt x="531714" y="205966"/>
                  </a:cubicBezTo>
                  <a:close/>
                  <a:moveTo>
                    <a:pt x="1206000" y="0"/>
                  </a:moveTo>
                  <a:cubicBezTo>
                    <a:pt x="1580656" y="0"/>
                    <a:pt x="1915410" y="170842"/>
                    <a:pt x="2136608" y="438872"/>
                  </a:cubicBezTo>
                  <a:lnTo>
                    <a:pt x="2176830" y="492660"/>
                  </a:lnTo>
                  <a:lnTo>
                    <a:pt x="2173641" y="495290"/>
                  </a:lnTo>
                  <a:cubicBezTo>
                    <a:pt x="2103237" y="542855"/>
                    <a:pt x="2025598" y="580523"/>
                    <a:pt x="1942721" y="606301"/>
                  </a:cubicBezTo>
                  <a:lnTo>
                    <a:pt x="1866037" y="626018"/>
                  </a:lnTo>
                  <a:lnTo>
                    <a:pt x="1829847" y="582155"/>
                  </a:lnTo>
                  <a:cubicBezTo>
                    <a:pt x="1670191" y="422499"/>
                    <a:pt x="1449628" y="323750"/>
                    <a:pt x="1206001" y="323750"/>
                  </a:cubicBezTo>
                  <a:cubicBezTo>
                    <a:pt x="1145094" y="323750"/>
                    <a:pt x="1085629" y="329922"/>
                    <a:pt x="1028197" y="341674"/>
                  </a:cubicBezTo>
                  <a:lnTo>
                    <a:pt x="1020330" y="343697"/>
                  </a:lnTo>
                  <a:lnTo>
                    <a:pt x="948790" y="256989"/>
                  </a:lnTo>
                  <a:cubicBezTo>
                    <a:pt x="917080" y="210053"/>
                    <a:pt x="889769" y="159902"/>
                    <a:pt x="867447" y="107126"/>
                  </a:cubicBezTo>
                  <a:lnTo>
                    <a:pt x="848021" y="54053"/>
                  </a:lnTo>
                  <a:lnTo>
                    <a:pt x="962949" y="24502"/>
                  </a:lnTo>
                  <a:cubicBezTo>
                    <a:pt x="1041457" y="8437"/>
                    <a:pt x="1122743" y="0"/>
                    <a:pt x="1206000" y="0"/>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endParaRPr>
            </a:p>
          </p:txBody>
        </p:sp>
        <p:sp>
          <p:nvSpPr>
            <p:cNvPr id="143" name="Freeform 142"/>
            <p:cNvSpPr/>
            <p:nvPr/>
          </p:nvSpPr>
          <p:spPr bwMode="ltGray">
            <a:xfrm flipH="1">
              <a:off x="2051033" y="2635993"/>
              <a:ext cx="2062519" cy="2062517"/>
            </a:xfrm>
            <a:custGeom>
              <a:avLst/>
              <a:gdLst>
                <a:gd name="connsiteX0" fmla="*/ 545965 w 2412001"/>
                <a:gd name="connsiteY0" fmla="*/ 1785983 h 2411999"/>
                <a:gd name="connsiteX1" fmla="*/ 469281 w 2412001"/>
                <a:gd name="connsiteY1" fmla="*/ 1805700 h 2411999"/>
                <a:gd name="connsiteX2" fmla="*/ 238361 w 2412001"/>
                <a:gd name="connsiteY2" fmla="*/ 1916711 h 2411999"/>
                <a:gd name="connsiteX3" fmla="*/ 235172 w 2412001"/>
                <a:gd name="connsiteY3" fmla="*/ 1919342 h 2411999"/>
                <a:gd name="connsiteX4" fmla="*/ 275392 w 2412001"/>
                <a:gd name="connsiteY4" fmla="*/ 1973127 h 2411999"/>
                <a:gd name="connsiteX5" fmla="*/ 1206000 w 2412001"/>
                <a:gd name="connsiteY5" fmla="*/ 2411999 h 2411999"/>
                <a:gd name="connsiteX6" fmla="*/ 1449051 w 2412001"/>
                <a:gd name="connsiteY6" fmla="*/ 2387497 h 2411999"/>
                <a:gd name="connsiteX7" fmla="*/ 1563980 w 2412001"/>
                <a:gd name="connsiteY7" fmla="*/ 2357947 h 2411999"/>
                <a:gd name="connsiteX8" fmla="*/ 1544555 w 2412001"/>
                <a:gd name="connsiteY8" fmla="*/ 2304875 h 2411999"/>
                <a:gd name="connsiteX9" fmla="*/ 1463212 w 2412001"/>
                <a:gd name="connsiteY9" fmla="*/ 2155012 h 2411999"/>
                <a:gd name="connsiteX10" fmla="*/ 1391672 w 2412001"/>
                <a:gd name="connsiteY10" fmla="*/ 2068304 h 2411999"/>
                <a:gd name="connsiteX11" fmla="*/ 1383805 w 2412001"/>
                <a:gd name="connsiteY11" fmla="*/ 2070327 h 2411999"/>
                <a:gd name="connsiteX12" fmla="*/ 1206001 w 2412001"/>
                <a:gd name="connsiteY12" fmla="*/ 2088251 h 2411999"/>
                <a:gd name="connsiteX13" fmla="*/ 582155 w 2412001"/>
                <a:gd name="connsiteY13" fmla="*/ 1829846 h 2411999"/>
                <a:gd name="connsiteX14" fmla="*/ 805616 w 2412001"/>
                <a:gd name="connsiteY14" fmla="*/ 69503 h 2411999"/>
                <a:gd name="connsiteX15" fmla="*/ 736572 w 2412001"/>
                <a:gd name="connsiteY15" fmla="*/ 94774 h 2411999"/>
                <a:gd name="connsiteX16" fmla="*/ 6227 w 2412001"/>
                <a:gd name="connsiteY16" fmla="*/ 1082694 h 2411999"/>
                <a:gd name="connsiteX17" fmla="*/ 2837 w 2412001"/>
                <a:gd name="connsiteY17" fmla="*/ 1149830 h 2411999"/>
                <a:gd name="connsiteX18" fmla="*/ 2836 w 2412001"/>
                <a:gd name="connsiteY18" fmla="*/ 1149830 h 2411999"/>
                <a:gd name="connsiteX19" fmla="*/ 0 w 2412001"/>
                <a:gd name="connsiteY19" fmla="*/ 1206000 h 2411999"/>
                <a:gd name="connsiteX20" fmla="*/ 24502 w 2412001"/>
                <a:gd name="connsiteY20" fmla="*/ 1449051 h 2411999"/>
                <a:gd name="connsiteX21" fmla="*/ 30450 w 2412001"/>
                <a:gd name="connsiteY21" fmla="*/ 1472184 h 2411999"/>
                <a:gd name="connsiteX22" fmla="*/ 54219 w 2412001"/>
                <a:gd name="connsiteY22" fmla="*/ 1564627 h 2411999"/>
                <a:gd name="connsiteX23" fmla="*/ 79829 w 2412001"/>
                <a:gd name="connsiteY23" fmla="*/ 1634597 h 2411999"/>
                <a:gd name="connsiteX24" fmla="*/ 156784 w 2412001"/>
                <a:gd name="connsiteY24" fmla="*/ 1587845 h 2411999"/>
                <a:gd name="connsiteX25" fmla="*/ 373008 w 2412001"/>
                <a:gd name="connsiteY25" fmla="*/ 1496506 h 2411999"/>
                <a:gd name="connsiteX26" fmla="*/ 373656 w 2412001"/>
                <a:gd name="connsiteY26" fmla="*/ 1496340 h 2411999"/>
                <a:gd name="connsiteX27" fmla="*/ 363414 w 2412001"/>
                <a:gd name="connsiteY27" fmla="*/ 1468356 h 2411999"/>
                <a:gd name="connsiteX28" fmla="*/ 347608 w 2412001"/>
                <a:gd name="connsiteY28" fmla="*/ 1406882 h 2411999"/>
                <a:gd name="connsiteX29" fmla="*/ 341674 w 2412001"/>
                <a:gd name="connsiteY29" fmla="*/ 1383805 h 2411999"/>
                <a:gd name="connsiteX30" fmla="*/ 323750 w 2412001"/>
                <a:gd name="connsiteY30" fmla="*/ 1206001 h 2411999"/>
                <a:gd name="connsiteX31" fmla="*/ 328305 w 2412001"/>
                <a:gd name="connsiteY31" fmla="*/ 1115796 h 2411999"/>
                <a:gd name="connsiteX32" fmla="*/ 337114 w 2412001"/>
                <a:gd name="connsiteY32" fmla="*/ 1058077 h 2411999"/>
                <a:gd name="connsiteX33" fmla="*/ 337115 w 2412001"/>
                <a:gd name="connsiteY33" fmla="*/ 1058077 h 2411999"/>
                <a:gd name="connsiteX34" fmla="*/ 341675 w 2412001"/>
                <a:gd name="connsiteY34" fmla="*/ 1028197 h 2411999"/>
                <a:gd name="connsiteX35" fmla="*/ 712727 w 2412001"/>
                <a:gd name="connsiteY35" fmla="*/ 474425 h 2411999"/>
                <a:gd name="connsiteX36" fmla="*/ 816111 w 2412001"/>
                <a:gd name="connsiteY36" fmla="*/ 418310 h 2411999"/>
                <a:gd name="connsiteX37" fmla="*/ 824919 w 2412001"/>
                <a:gd name="connsiteY37" fmla="*/ 360592 h 2411999"/>
                <a:gd name="connsiteX38" fmla="*/ 829474 w 2412001"/>
                <a:gd name="connsiteY38" fmla="*/ 270387 h 2411999"/>
                <a:gd name="connsiteX39" fmla="*/ 811550 w 2412001"/>
                <a:gd name="connsiteY39" fmla="*/ 92583 h 2411999"/>
                <a:gd name="connsiteX40" fmla="*/ 1206001 w 2412001"/>
                <a:gd name="connsiteY40" fmla="*/ 0 h 2411999"/>
                <a:gd name="connsiteX41" fmla="*/ 1122772 w 2412001"/>
                <a:gd name="connsiteY41" fmla="*/ 4202 h 2411999"/>
                <a:gd name="connsiteX42" fmla="*/ 1128720 w 2412001"/>
                <a:gd name="connsiteY42" fmla="*/ 27335 h 2411999"/>
                <a:gd name="connsiteX43" fmla="*/ 1153222 w 2412001"/>
                <a:gd name="connsiteY43" fmla="*/ 270386 h 2411999"/>
                <a:gd name="connsiteX44" fmla="*/ 1150386 w 2412001"/>
                <a:gd name="connsiteY44" fmla="*/ 326558 h 2411999"/>
                <a:gd name="connsiteX45" fmla="*/ 1206002 w 2412001"/>
                <a:gd name="connsiteY45" fmla="*/ 323750 h 2411999"/>
                <a:gd name="connsiteX46" fmla="*/ 2088253 w 2412001"/>
                <a:gd name="connsiteY46" fmla="*/ 1206001 h 2411999"/>
                <a:gd name="connsiteX47" fmla="*/ 1829848 w 2412001"/>
                <a:gd name="connsiteY47" fmla="*/ 1829847 h 2411999"/>
                <a:gd name="connsiteX48" fmla="*/ 1702466 w 2412001"/>
                <a:gd name="connsiteY48" fmla="*/ 1934947 h 2411999"/>
                <a:gd name="connsiteX49" fmla="*/ 1699277 w 2412001"/>
                <a:gd name="connsiteY49" fmla="*/ 1937577 h 2411999"/>
                <a:gd name="connsiteX50" fmla="*/ 1468357 w 2412001"/>
                <a:gd name="connsiteY50" fmla="*/ 2048588 h 2411999"/>
                <a:gd name="connsiteX51" fmla="*/ 1391673 w 2412001"/>
                <a:gd name="connsiteY51" fmla="*/ 2068305 h 2411999"/>
                <a:gd name="connsiteX52" fmla="*/ 1463213 w 2412001"/>
                <a:gd name="connsiteY52" fmla="*/ 2155013 h 2411999"/>
                <a:gd name="connsiteX53" fmla="*/ 1544556 w 2412001"/>
                <a:gd name="connsiteY53" fmla="*/ 2304876 h 2411999"/>
                <a:gd name="connsiteX54" fmla="*/ 1563981 w 2412001"/>
                <a:gd name="connsiteY54" fmla="*/ 2357948 h 2411999"/>
                <a:gd name="connsiteX55" fmla="*/ 1564628 w 2412001"/>
                <a:gd name="connsiteY55" fmla="*/ 2357781 h 2411999"/>
                <a:gd name="connsiteX56" fmla="*/ 1780852 w 2412001"/>
                <a:gd name="connsiteY56" fmla="*/ 2266442 h 2411999"/>
                <a:gd name="connsiteX57" fmla="*/ 1857808 w 2412001"/>
                <a:gd name="connsiteY57" fmla="*/ 2219691 h 2411999"/>
                <a:gd name="connsiteX58" fmla="*/ 1880287 w 2412001"/>
                <a:gd name="connsiteY58" fmla="*/ 2206034 h 2411999"/>
                <a:gd name="connsiteX59" fmla="*/ 2412001 w 2412001"/>
                <a:gd name="connsiteY59" fmla="*/ 1206000 h 2411999"/>
                <a:gd name="connsiteX60" fmla="*/ 1206001 w 2412001"/>
                <a:gd name="connsiteY60" fmla="*/ 0 h 241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412001" h="2411999">
                  <a:moveTo>
                    <a:pt x="545965" y="1785983"/>
                  </a:moveTo>
                  <a:lnTo>
                    <a:pt x="469281" y="1805700"/>
                  </a:lnTo>
                  <a:cubicBezTo>
                    <a:pt x="386404" y="1831478"/>
                    <a:pt x="308765" y="1869147"/>
                    <a:pt x="238361" y="1916711"/>
                  </a:cubicBezTo>
                  <a:lnTo>
                    <a:pt x="235172" y="1919342"/>
                  </a:lnTo>
                  <a:lnTo>
                    <a:pt x="275392" y="1973127"/>
                  </a:lnTo>
                  <a:cubicBezTo>
                    <a:pt x="496590" y="2241157"/>
                    <a:pt x="831344" y="2411999"/>
                    <a:pt x="1206000" y="2411999"/>
                  </a:cubicBezTo>
                  <a:cubicBezTo>
                    <a:pt x="1289257" y="2411999"/>
                    <a:pt x="1370544" y="2403563"/>
                    <a:pt x="1449051" y="2387497"/>
                  </a:cubicBezTo>
                  <a:lnTo>
                    <a:pt x="1563980" y="2357947"/>
                  </a:lnTo>
                  <a:lnTo>
                    <a:pt x="1544555" y="2304875"/>
                  </a:lnTo>
                  <a:cubicBezTo>
                    <a:pt x="1522233" y="2252100"/>
                    <a:pt x="1494922" y="2201948"/>
                    <a:pt x="1463212" y="2155012"/>
                  </a:cubicBezTo>
                  <a:lnTo>
                    <a:pt x="1391672" y="2068304"/>
                  </a:lnTo>
                  <a:lnTo>
                    <a:pt x="1383805" y="2070327"/>
                  </a:lnTo>
                  <a:cubicBezTo>
                    <a:pt x="1326373" y="2082079"/>
                    <a:pt x="1266908" y="2088251"/>
                    <a:pt x="1206001" y="2088251"/>
                  </a:cubicBezTo>
                  <a:cubicBezTo>
                    <a:pt x="962374" y="2088251"/>
                    <a:pt x="741811" y="1989502"/>
                    <a:pt x="582155" y="1829846"/>
                  </a:cubicBezTo>
                  <a:close/>
                  <a:moveTo>
                    <a:pt x="805616" y="69503"/>
                  </a:moveTo>
                  <a:lnTo>
                    <a:pt x="736572" y="94774"/>
                  </a:lnTo>
                  <a:cubicBezTo>
                    <a:pt x="339791" y="262598"/>
                    <a:pt x="51518" y="636730"/>
                    <a:pt x="6227" y="1082694"/>
                  </a:cubicBezTo>
                  <a:lnTo>
                    <a:pt x="2837" y="1149830"/>
                  </a:lnTo>
                  <a:lnTo>
                    <a:pt x="2836" y="1149830"/>
                  </a:lnTo>
                  <a:lnTo>
                    <a:pt x="0" y="1206000"/>
                  </a:lnTo>
                  <a:cubicBezTo>
                    <a:pt x="0" y="1289257"/>
                    <a:pt x="8437" y="1370543"/>
                    <a:pt x="24502" y="1449051"/>
                  </a:cubicBezTo>
                  <a:lnTo>
                    <a:pt x="30450" y="1472184"/>
                  </a:lnTo>
                  <a:lnTo>
                    <a:pt x="54219" y="1564627"/>
                  </a:lnTo>
                  <a:lnTo>
                    <a:pt x="79829" y="1634597"/>
                  </a:lnTo>
                  <a:lnTo>
                    <a:pt x="156784" y="1587845"/>
                  </a:lnTo>
                  <a:cubicBezTo>
                    <a:pt x="225137" y="1550714"/>
                    <a:pt x="297481" y="1519998"/>
                    <a:pt x="373008" y="1496506"/>
                  </a:cubicBezTo>
                  <a:lnTo>
                    <a:pt x="373656" y="1496340"/>
                  </a:lnTo>
                  <a:lnTo>
                    <a:pt x="363414" y="1468356"/>
                  </a:lnTo>
                  <a:lnTo>
                    <a:pt x="347608" y="1406882"/>
                  </a:lnTo>
                  <a:lnTo>
                    <a:pt x="341674" y="1383805"/>
                  </a:lnTo>
                  <a:cubicBezTo>
                    <a:pt x="329922" y="1326373"/>
                    <a:pt x="323750" y="1266908"/>
                    <a:pt x="323750" y="1206001"/>
                  </a:cubicBezTo>
                  <a:cubicBezTo>
                    <a:pt x="323750" y="1175547"/>
                    <a:pt x="325293" y="1145455"/>
                    <a:pt x="328305" y="1115796"/>
                  </a:cubicBezTo>
                  <a:lnTo>
                    <a:pt x="337114" y="1058077"/>
                  </a:lnTo>
                  <a:lnTo>
                    <a:pt x="337115" y="1058077"/>
                  </a:lnTo>
                  <a:lnTo>
                    <a:pt x="341675" y="1028197"/>
                  </a:lnTo>
                  <a:cubicBezTo>
                    <a:pt x="388685" y="798467"/>
                    <a:pt x="524983" y="601262"/>
                    <a:pt x="712727" y="474425"/>
                  </a:cubicBezTo>
                  <a:lnTo>
                    <a:pt x="816111" y="418310"/>
                  </a:lnTo>
                  <a:lnTo>
                    <a:pt x="824919" y="360592"/>
                  </a:lnTo>
                  <a:cubicBezTo>
                    <a:pt x="827931" y="330933"/>
                    <a:pt x="829474" y="300840"/>
                    <a:pt x="829474" y="270387"/>
                  </a:cubicBezTo>
                  <a:cubicBezTo>
                    <a:pt x="829474" y="209480"/>
                    <a:pt x="823302" y="150015"/>
                    <a:pt x="811550" y="92583"/>
                  </a:cubicBezTo>
                  <a:close/>
                  <a:moveTo>
                    <a:pt x="1206001" y="0"/>
                  </a:moveTo>
                  <a:lnTo>
                    <a:pt x="1122772" y="4202"/>
                  </a:lnTo>
                  <a:lnTo>
                    <a:pt x="1128720" y="27335"/>
                  </a:lnTo>
                  <a:cubicBezTo>
                    <a:pt x="1144786" y="105843"/>
                    <a:pt x="1153222" y="187129"/>
                    <a:pt x="1153222" y="270386"/>
                  </a:cubicBezTo>
                  <a:lnTo>
                    <a:pt x="1150386" y="326558"/>
                  </a:lnTo>
                  <a:lnTo>
                    <a:pt x="1206002" y="323750"/>
                  </a:lnTo>
                  <a:cubicBezTo>
                    <a:pt x="1693256" y="323750"/>
                    <a:pt x="2088253" y="718747"/>
                    <a:pt x="2088253" y="1206001"/>
                  </a:cubicBezTo>
                  <a:cubicBezTo>
                    <a:pt x="2088253" y="1449628"/>
                    <a:pt x="1989504" y="1670191"/>
                    <a:pt x="1829848" y="1829847"/>
                  </a:cubicBezTo>
                  <a:lnTo>
                    <a:pt x="1702466" y="1934947"/>
                  </a:lnTo>
                  <a:lnTo>
                    <a:pt x="1699277" y="1937577"/>
                  </a:lnTo>
                  <a:cubicBezTo>
                    <a:pt x="1628873" y="1985142"/>
                    <a:pt x="1551234" y="2022810"/>
                    <a:pt x="1468357" y="2048588"/>
                  </a:cubicBezTo>
                  <a:lnTo>
                    <a:pt x="1391673" y="2068305"/>
                  </a:lnTo>
                  <a:lnTo>
                    <a:pt x="1463213" y="2155013"/>
                  </a:lnTo>
                  <a:cubicBezTo>
                    <a:pt x="1494923" y="2201949"/>
                    <a:pt x="1522234" y="2252101"/>
                    <a:pt x="1544556" y="2304876"/>
                  </a:cubicBezTo>
                  <a:lnTo>
                    <a:pt x="1563981" y="2357948"/>
                  </a:lnTo>
                  <a:lnTo>
                    <a:pt x="1564628" y="2357781"/>
                  </a:lnTo>
                  <a:cubicBezTo>
                    <a:pt x="1640155" y="2334290"/>
                    <a:pt x="1712499" y="2303574"/>
                    <a:pt x="1780852" y="2266442"/>
                  </a:cubicBezTo>
                  <a:lnTo>
                    <a:pt x="1857808" y="2219691"/>
                  </a:lnTo>
                  <a:lnTo>
                    <a:pt x="1880287" y="2206034"/>
                  </a:lnTo>
                  <a:cubicBezTo>
                    <a:pt x="2201085" y="1989307"/>
                    <a:pt x="2412001" y="1622285"/>
                    <a:pt x="2412001" y="1206000"/>
                  </a:cubicBezTo>
                  <a:cubicBezTo>
                    <a:pt x="2412001" y="539945"/>
                    <a:pt x="1872056" y="0"/>
                    <a:pt x="1206001" y="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endParaRPr>
            </a:p>
          </p:txBody>
        </p:sp>
        <p:sp>
          <p:nvSpPr>
            <p:cNvPr id="144" name="Freeform 143"/>
            <p:cNvSpPr/>
            <p:nvPr/>
          </p:nvSpPr>
          <p:spPr bwMode="ltGray">
            <a:xfrm flipH="1">
              <a:off x="2447798" y="3869301"/>
              <a:ext cx="2062517" cy="2062518"/>
            </a:xfrm>
            <a:custGeom>
              <a:avLst/>
              <a:gdLst>
                <a:gd name="connsiteX0" fmla="*/ 203483 w 2411999"/>
                <a:gd name="connsiteY0" fmla="*/ 535802 h 2412000"/>
                <a:gd name="connsiteX1" fmla="*/ 145558 w 2411999"/>
                <a:gd name="connsiteY1" fmla="*/ 631149 h 2412000"/>
                <a:gd name="connsiteX2" fmla="*/ 0 w 2411999"/>
                <a:gd name="connsiteY2" fmla="*/ 1206000 h 2412000"/>
                <a:gd name="connsiteX3" fmla="*/ 145558 w 2411999"/>
                <a:gd name="connsiteY3" fmla="*/ 1780851 h 2412000"/>
                <a:gd name="connsiteX4" fmla="*/ 203483 w 2411999"/>
                <a:gd name="connsiteY4" fmla="*/ 1876200 h 2412000"/>
                <a:gd name="connsiteX5" fmla="*/ 205966 w 2411999"/>
                <a:gd name="connsiteY5" fmla="*/ 1880286 h 2412000"/>
                <a:gd name="connsiteX6" fmla="*/ 353229 w 2411999"/>
                <a:gd name="connsiteY6" fmla="*/ 2058771 h 2412000"/>
                <a:gd name="connsiteX7" fmla="*/ 420908 w 2411999"/>
                <a:gd name="connsiteY7" fmla="*/ 2120283 h 2412000"/>
                <a:gd name="connsiteX8" fmla="*/ 420908 w 2411999"/>
                <a:gd name="connsiteY8" fmla="*/ 2120283 h 2412000"/>
                <a:gd name="connsiteX9" fmla="*/ 438871 w 2411999"/>
                <a:gd name="connsiteY9" fmla="*/ 2136608 h 2412000"/>
                <a:gd name="connsiteX10" fmla="*/ 1205999 w 2411999"/>
                <a:gd name="connsiteY10" fmla="*/ 2412000 h 2412000"/>
                <a:gd name="connsiteX11" fmla="*/ 2411999 w 2411999"/>
                <a:gd name="connsiteY11" fmla="*/ 1206000 h 2412000"/>
                <a:gd name="connsiteX12" fmla="*/ 2357780 w 2411999"/>
                <a:gd name="connsiteY12" fmla="*/ 847373 h 2412000"/>
                <a:gd name="connsiteX13" fmla="*/ 2331924 w 2411999"/>
                <a:gd name="connsiteY13" fmla="*/ 776732 h 2412000"/>
                <a:gd name="connsiteX14" fmla="*/ 2253863 w 2411999"/>
                <a:gd name="connsiteY14" fmla="*/ 824155 h 2412000"/>
                <a:gd name="connsiteX15" fmla="*/ 2148441 w 2411999"/>
                <a:gd name="connsiteY15" fmla="*/ 874939 h 2412000"/>
                <a:gd name="connsiteX16" fmla="*/ 2038205 w 2411999"/>
                <a:gd name="connsiteY16" fmla="*/ 915287 h 2412000"/>
                <a:gd name="connsiteX17" fmla="*/ 2048585 w 2411999"/>
                <a:gd name="connsiteY17" fmla="*/ 943646 h 2412000"/>
                <a:gd name="connsiteX18" fmla="*/ 2088249 w 2411999"/>
                <a:gd name="connsiteY18" fmla="*/ 1206001 h 2412000"/>
                <a:gd name="connsiteX19" fmla="*/ 1205998 w 2411999"/>
                <a:gd name="connsiteY19" fmla="*/ 2088252 h 2412000"/>
                <a:gd name="connsiteX20" fmla="*/ 712723 w 2411999"/>
                <a:gd name="connsiteY20" fmla="*/ 1937577 h 2412000"/>
                <a:gd name="connsiteX21" fmla="*/ 638335 w 2411999"/>
                <a:gd name="connsiteY21" fmla="*/ 1876202 h 2412000"/>
                <a:gd name="connsiteX22" fmla="*/ 638335 w 2411999"/>
                <a:gd name="connsiteY22" fmla="*/ 1876201 h 2412000"/>
                <a:gd name="connsiteX23" fmla="*/ 582153 w 2411999"/>
                <a:gd name="connsiteY23" fmla="*/ 1829847 h 2412000"/>
                <a:gd name="connsiteX24" fmla="*/ 474423 w 2411999"/>
                <a:gd name="connsiteY24" fmla="*/ 1699276 h 2412000"/>
                <a:gd name="connsiteX25" fmla="*/ 420908 w 2411999"/>
                <a:gd name="connsiteY25" fmla="*/ 1600683 h 2412000"/>
                <a:gd name="connsiteX26" fmla="*/ 393080 w 2411999"/>
                <a:gd name="connsiteY26" fmla="*/ 1549413 h 2412000"/>
                <a:gd name="connsiteX27" fmla="*/ 323748 w 2411999"/>
                <a:gd name="connsiteY27" fmla="*/ 1206001 h 2412000"/>
                <a:gd name="connsiteX28" fmla="*/ 393080 w 2411999"/>
                <a:gd name="connsiteY28" fmla="*/ 862589 h 2412000"/>
                <a:gd name="connsiteX29" fmla="*/ 420908 w 2411999"/>
                <a:gd name="connsiteY29" fmla="*/ 811319 h 2412000"/>
                <a:gd name="connsiteX30" fmla="*/ 367394 w 2411999"/>
                <a:gd name="connsiteY30" fmla="*/ 712726 h 2412000"/>
                <a:gd name="connsiteX31" fmla="*/ 259664 w 2411999"/>
                <a:gd name="connsiteY31" fmla="*/ 582155 h 2412000"/>
                <a:gd name="connsiteX32" fmla="*/ 837648 w 2411999"/>
                <a:gd name="connsiteY32" fmla="*/ 54054 h 2412000"/>
                <a:gd name="connsiteX33" fmla="*/ 837000 w 2411999"/>
                <a:gd name="connsiteY33" fmla="*/ 54220 h 2412000"/>
                <a:gd name="connsiteX34" fmla="*/ 620776 w 2411999"/>
                <a:gd name="connsiteY34" fmla="*/ 145559 h 2412000"/>
                <a:gd name="connsiteX35" fmla="*/ 543821 w 2411999"/>
                <a:gd name="connsiteY35" fmla="*/ 192311 h 2412000"/>
                <a:gd name="connsiteX36" fmla="*/ 545708 w 2411999"/>
                <a:gd name="connsiteY36" fmla="*/ 197466 h 2412000"/>
                <a:gd name="connsiteX37" fmla="*/ 531713 w 2411999"/>
                <a:gd name="connsiteY37" fmla="*/ 205967 h 2412000"/>
                <a:gd name="connsiteX38" fmla="*/ 438871 w 2411999"/>
                <a:gd name="connsiteY38" fmla="*/ 275393 h 2412000"/>
                <a:gd name="connsiteX39" fmla="*/ 420908 w 2411999"/>
                <a:gd name="connsiteY39" fmla="*/ 291719 h 2412000"/>
                <a:gd name="connsiteX40" fmla="*/ 488589 w 2411999"/>
                <a:gd name="connsiteY40" fmla="*/ 353230 h 2412000"/>
                <a:gd name="connsiteX41" fmla="*/ 635852 w 2411999"/>
                <a:gd name="connsiteY41" fmla="*/ 531715 h 2412000"/>
                <a:gd name="connsiteX42" fmla="*/ 638334 w 2411999"/>
                <a:gd name="connsiteY42" fmla="*/ 535802 h 2412000"/>
                <a:gd name="connsiteX43" fmla="*/ 708699 w 2411999"/>
                <a:gd name="connsiteY43" fmla="*/ 477746 h 2412000"/>
                <a:gd name="connsiteX44" fmla="*/ 705055 w 2411999"/>
                <a:gd name="connsiteY44" fmla="*/ 472873 h 2412000"/>
                <a:gd name="connsiteX45" fmla="*/ 813136 w 2411999"/>
                <a:gd name="connsiteY45" fmla="*/ 410751 h 2412000"/>
                <a:gd name="connsiteX46" fmla="*/ 933273 w 2411999"/>
                <a:gd name="connsiteY46" fmla="*/ 363415 h 2412000"/>
                <a:gd name="connsiteX47" fmla="*/ 1009957 w 2411999"/>
                <a:gd name="connsiteY47" fmla="*/ 343698 h 2412000"/>
                <a:gd name="connsiteX48" fmla="*/ 938417 w 2411999"/>
                <a:gd name="connsiteY48" fmla="*/ 256990 h 2412000"/>
                <a:gd name="connsiteX49" fmla="*/ 857074 w 2411999"/>
                <a:gd name="connsiteY49" fmla="*/ 107127 h 2412000"/>
                <a:gd name="connsiteX50" fmla="*/ 1195628 w 2411999"/>
                <a:gd name="connsiteY50" fmla="*/ 0 h 2412000"/>
                <a:gd name="connsiteX51" fmla="*/ 952577 w 2411999"/>
                <a:gd name="connsiteY51" fmla="*/ 24502 h 2412000"/>
                <a:gd name="connsiteX52" fmla="*/ 837649 w 2411999"/>
                <a:gd name="connsiteY52" fmla="*/ 54053 h 2412000"/>
                <a:gd name="connsiteX53" fmla="*/ 857075 w 2411999"/>
                <a:gd name="connsiteY53" fmla="*/ 107126 h 2412000"/>
                <a:gd name="connsiteX54" fmla="*/ 938418 w 2411999"/>
                <a:gd name="connsiteY54" fmla="*/ 256989 h 2412000"/>
                <a:gd name="connsiteX55" fmla="*/ 1009958 w 2411999"/>
                <a:gd name="connsiteY55" fmla="*/ 343697 h 2412000"/>
                <a:gd name="connsiteX56" fmla="*/ 1017825 w 2411999"/>
                <a:gd name="connsiteY56" fmla="*/ 341674 h 2412000"/>
                <a:gd name="connsiteX57" fmla="*/ 1195629 w 2411999"/>
                <a:gd name="connsiteY57" fmla="*/ 323750 h 2412000"/>
                <a:gd name="connsiteX58" fmla="*/ 1819475 w 2411999"/>
                <a:gd name="connsiteY58" fmla="*/ 582155 h 2412000"/>
                <a:gd name="connsiteX59" fmla="*/ 1855665 w 2411999"/>
                <a:gd name="connsiteY59" fmla="*/ 626018 h 2412000"/>
                <a:gd name="connsiteX60" fmla="*/ 1932349 w 2411999"/>
                <a:gd name="connsiteY60" fmla="*/ 606301 h 2412000"/>
                <a:gd name="connsiteX61" fmla="*/ 2163269 w 2411999"/>
                <a:gd name="connsiteY61" fmla="*/ 495290 h 2412000"/>
                <a:gd name="connsiteX62" fmla="*/ 2166458 w 2411999"/>
                <a:gd name="connsiteY62" fmla="*/ 492660 h 2412000"/>
                <a:gd name="connsiteX63" fmla="*/ 2126236 w 2411999"/>
                <a:gd name="connsiteY63" fmla="*/ 438872 h 2412000"/>
                <a:gd name="connsiteX64" fmla="*/ 1195628 w 2411999"/>
                <a:gd name="connsiteY64" fmla="*/ 0 h 241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11999" h="2412000">
                  <a:moveTo>
                    <a:pt x="203483" y="535802"/>
                  </a:moveTo>
                  <a:lnTo>
                    <a:pt x="145558" y="631149"/>
                  </a:lnTo>
                  <a:cubicBezTo>
                    <a:pt x="52729" y="802031"/>
                    <a:pt x="0" y="997858"/>
                    <a:pt x="0" y="1206000"/>
                  </a:cubicBezTo>
                  <a:cubicBezTo>
                    <a:pt x="0" y="1414142"/>
                    <a:pt x="52729" y="1609969"/>
                    <a:pt x="145558" y="1780851"/>
                  </a:cubicBezTo>
                  <a:lnTo>
                    <a:pt x="203483" y="1876200"/>
                  </a:lnTo>
                  <a:lnTo>
                    <a:pt x="205966" y="1880286"/>
                  </a:lnTo>
                  <a:cubicBezTo>
                    <a:pt x="249311" y="1944446"/>
                    <a:pt x="298668" y="2004210"/>
                    <a:pt x="353229" y="2058771"/>
                  </a:cubicBezTo>
                  <a:lnTo>
                    <a:pt x="420908" y="2120283"/>
                  </a:lnTo>
                  <a:lnTo>
                    <a:pt x="420908" y="2120283"/>
                  </a:lnTo>
                  <a:lnTo>
                    <a:pt x="438871" y="2136608"/>
                  </a:lnTo>
                  <a:cubicBezTo>
                    <a:pt x="647339" y="2308651"/>
                    <a:pt x="914600" y="2412000"/>
                    <a:pt x="1205999" y="2412000"/>
                  </a:cubicBezTo>
                  <a:cubicBezTo>
                    <a:pt x="1872054" y="2412000"/>
                    <a:pt x="2411999" y="1872055"/>
                    <a:pt x="2411999" y="1206000"/>
                  </a:cubicBezTo>
                  <a:cubicBezTo>
                    <a:pt x="2411999" y="1081115"/>
                    <a:pt x="2393016" y="960663"/>
                    <a:pt x="2357780" y="847373"/>
                  </a:cubicBezTo>
                  <a:lnTo>
                    <a:pt x="2331924" y="776732"/>
                  </a:lnTo>
                  <a:lnTo>
                    <a:pt x="2253863" y="824155"/>
                  </a:lnTo>
                  <a:cubicBezTo>
                    <a:pt x="2219687" y="842721"/>
                    <a:pt x="2184512" y="859683"/>
                    <a:pt x="2148441" y="874939"/>
                  </a:cubicBezTo>
                  <a:lnTo>
                    <a:pt x="2038205" y="915287"/>
                  </a:lnTo>
                  <a:lnTo>
                    <a:pt x="2048585" y="943646"/>
                  </a:lnTo>
                  <a:cubicBezTo>
                    <a:pt x="2074362" y="1026524"/>
                    <a:pt x="2088249" y="1114641"/>
                    <a:pt x="2088249" y="1206001"/>
                  </a:cubicBezTo>
                  <a:cubicBezTo>
                    <a:pt x="2088249" y="1693255"/>
                    <a:pt x="1693252" y="2088252"/>
                    <a:pt x="1205998" y="2088252"/>
                  </a:cubicBezTo>
                  <a:cubicBezTo>
                    <a:pt x="1023278" y="2088252"/>
                    <a:pt x="853531" y="2032706"/>
                    <a:pt x="712723" y="1937577"/>
                  </a:cubicBezTo>
                  <a:lnTo>
                    <a:pt x="638335" y="1876202"/>
                  </a:lnTo>
                  <a:lnTo>
                    <a:pt x="638335" y="1876201"/>
                  </a:lnTo>
                  <a:lnTo>
                    <a:pt x="582153" y="1829847"/>
                  </a:lnTo>
                  <a:cubicBezTo>
                    <a:pt x="542239" y="1789933"/>
                    <a:pt x="506132" y="1746212"/>
                    <a:pt x="474423" y="1699276"/>
                  </a:cubicBezTo>
                  <a:lnTo>
                    <a:pt x="420908" y="1600683"/>
                  </a:lnTo>
                  <a:lnTo>
                    <a:pt x="393080" y="1549413"/>
                  </a:lnTo>
                  <a:cubicBezTo>
                    <a:pt x="348435" y="1443862"/>
                    <a:pt x="323748" y="1327815"/>
                    <a:pt x="323748" y="1206001"/>
                  </a:cubicBezTo>
                  <a:cubicBezTo>
                    <a:pt x="323748" y="1084188"/>
                    <a:pt x="348435" y="968140"/>
                    <a:pt x="393080" y="862589"/>
                  </a:cubicBezTo>
                  <a:lnTo>
                    <a:pt x="420908" y="811319"/>
                  </a:lnTo>
                  <a:lnTo>
                    <a:pt x="367394" y="712726"/>
                  </a:lnTo>
                  <a:cubicBezTo>
                    <a:pt x="335685" y="665790"/>
                    <a:pt x="299578" y="622069"/>
                    <a:pt x="259664" y="582155"/>
                  </a:cubicBezTo>
                  <a:close/>
                  <a:moveTo>
                    <a:pt x="837648" y="54054"/>
                  </a:moveTo>
                  <a:lnTo>
                    <a:pt x="837000" y="54220"/>
                  </a:lnTo>
                  <a:cubicBezTo>
                    <a:pt x="761473" y="77712"/>
                    <a:pt x="689129" y="108428"/>
                    <a:pt x="620776" y="145559"/>
                  </a:cubicBezTo>
                  <a:lnTo>
                    <a:pt x="543821" y="192311"/>
                  </a:lnTo>
                  <a:lnTo>
                    <a:pt x="545708" y="197466"/>
                  </a:lnTo>
                  <a:lnTo>
                    <a:pt x="531713" y="205967"/>
                  </a:lnTo>
                  <a:cubicBezTo>
                    <a:pt x="499633" y="227640"/>
                    <a:pt x="468652" y="250816"/>
                    <a:pt x="438871" y="275393"/>
                  </a:cubicBezTo>
                  <a:lnTo>
                    <a:pt x="420908" y="291719"/>
                  </a:lnTo>
                  <a:lnTo>
                    <a:pt x="488589" y="353230"/>
                  </a:lnTo>
                  <a:cubicBezTo>
                    <a:pt x="543149" y="407791"/>
                    <a:pt x="592507" y="467556"/>
                    <a:pt x="635852" y="531715"/>
                  </a:cubicBezTo>
                  <a:lnTo>
                    <a:pt x="638334" y="535802"/>
                  </a:lnTo>
                  <a:lnTo>
                    <a:pt x="708699" y="477746"/>
                  </a:lnTo>
                  <a:lnTo>
                    <a:pt x="705055" y="472873"/>
                  </a:lnTo>
                  <a:lnTo>
                    <a:pt x="813136" y="410751"/>
                  </a:lnTo>
                  <a:cubicBezTo>
                    <a:pt x="851706" y="392166"/>
                    <a:pt x="891835" y="376304"/>
                    <a:pt x="933273" y="363415"/>
                  </a:cubicBezTo>
                  <a:lnTo>
                    <a:pt x="1009957" y="343698"/>
                  </a:lnTo>
                  <a:lnTo>
                    <a:pt x="938417" y="256990"/>
                  </a:lnTo>
                  <a:cubicBezTo>
                    <a:pt x="906707" y="210054"/>
                    <a:pt x="879396" y="159903"/>
                    <a:pt x="857074" y="107127"/>
                  </a:cubicBezTo>
                  <a:close/>
                  <a:moveTo>
                    <a:pt x="1195628" y="0"/>
                  </a:moveTo>
                  <a:cubicBezTo>
                    <a:pt x="1112371" y="0"/>
                    <a:pt x="1031085" y="8437"/>
                    <a:pt x="952577" y="24502"/>
                  </a:cubicBezTo>
                  <a:lnTo>
                    <a:pt x="837649" y="54053"/>
                  </a:lnTo>
                  <a:lnTo>
                    <a:pt x="857075" y="107126"/>
                  </a:lnTo>
                  <a:cubicBezTo>
                    <a:pt x="879397" y="159902"/>
                    <a:pt x="906708" y="210053"/>
                    <a:pt x="938418" y="256989"/>
                  </a:cubicBezTo>
                  <a:lnTo>
                    <a:pt x="1009958" y="343697"/>
                  </a:lnTo>
                  <a:lnTo>
                    <a:pt x="1017825" y="341674"/>
                  </a:lnTo>
                  <a:cubicBezTo>
                    <a:pt x="1075257" y="329922"/>
                    <a:pt x="1134722" y="323750"/>
                    <a:pt x="1195629" y="323750"/>
                  </a:cubicBezTo>
                  <a:cubicBezTo>
                    <a:pt x="1439256" y="323750"/>
                    <a:pt x="1659819" y="422499"/>
                    <a:pt x="1819475" y="582155"/>
                  </a:cubicBezTo>
                  <a:lnTo>
                    <a:pt x="1855665" y="626018"/>
                  </a:lnTo>
                  <a:lnTo>
                    <a:pt x="1932349" y="606301"/>
                  </a:lnTo>
                  <a:cubicBezTo>
                    <a:pt x="2015226" y="580523"/>
                    <a:pt x="2092865" y="542855"/>
                    <a:pt x="2163269" y="495290"/>
                  </a:cubicBezTo>
                  <a:lnTo>
                    <a:pt x="2166458" y="492660"/>
                  </a:lnTo>
                  <a:lnTo>
                    <a:pt x="2126236" y="438872"/>
                  </a:lnTo>
                  <a:cubicBezTo>
                    <a:pt x="1905038" y="170842"/>
                    <a:pt x="1570284" y="0"/>
                    <a:pt x="1195628" y="0"/>
                  </a:cubicBezTo>
                  <a:close/>
                </a:path>
              </a:pathLst>
            </a:cu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endParaRPr>
            </a:p>
          </p:txBody>
        </p:sp>
        <p:sp>
          <p:nvSpPr>
            <p:cNvPr id="147" name="Rectangle 146"/>
            <p:cNvSpPr/>
            <p:nvPr/>
          </p:nvSpPr>
          <p:spPr>
            <a:xfrm>
              <a:off x="3319341" y="2029402"/>
              <a:ext cx="1668544" cy="1277887"/>
            </a:xfrm>
            <a:prstGeom prst="rect">
              <a:avLst/>
            </a:prstGeom>
          </p:spPr>
          <p:txBody>
            <a:bodyPr wrap="none">
              <a:prstTxWarp prst="textArchUp">
                <a:avLst/>
              </a:prstTxWarp>
              <a:spAutoFit/>
            </a:bodyPr>
            <a:lstStyle/>
            <a:p>
              <a:pPr algn="ctr" defTabSz="682749" eaLnBrk="0" hangingPunct="0">
                <a:spcAft>
                  <a:spcPts val="171"/>
                </a:spcAft>
                <a:defRPr/>
              </a:pPr>
              <a:r>
                <a:rPr lang="el-GR" sz="1400" b="1" kern="0" dirty="0">
                  <a:solidFill>
                    <a:srgbClr val="FFFFFF"/>
                  </a:solidFill>
                  <a:cs typeface="Arial" charset="0"/>
                </a:rPr>
                <a:t>Στόχος 5.1</a:t>
              </a:r>
              <a:endParaRPr lang="en-GB" sz="1400" b="1" kern="0" dirty="0">
                <a:solidFill>
                  <a:srgbClr val="FFFFFF"/>
                </a:solidFill>
                <a:cs typeface="Arial" charset="0"/>
              </a:endParaRPr>
            </a:p>
          </p:txBody>
        </p:sp>
        <p:sp>
          <p:nvSpPr>
            <p:cNvPr id="148" name="Rectangle 147"/>
            <p:cNvSpPr/>
            <p:nvPr/>
          </p:nvSpPr>
          <p:spPr>
            <a:xfrm rot="5400000">
              <a:off x="4587226" y="3011585"/>
              <a:ext cx="1668544" cy="1277887"/>
            </a:xfrm>
            <a:prstGeom prst="rect">
              <a:avLst/>
            </a:prstGeom>
          </p:spPr>
          <p:txBody>
            <a:bodyPr wrap="none">
              <a:prstTxWarp prst="textArchUp">
                <a:avLst/>
              </a:prstTxWarp>
              <a:spAutoFit/>
            </a:bodyPr>
            <a:lstStyle/>
            <a:p>
              <a:pPr algn="ctr" defTabSz="682749" eaLnBrk="0" hangingPunct="0">
                <a:spcAft>
                  <a:spcPts val="171"/>
                </a:spcAft>
                <a:defRPr/>
              </a:pPr>
              <a:r>
                <a:rPr lang="el-GR" sz="1400" b="1" kern="0" dirty="0">
                  <a:solidFill>
                    <a:srgbClr val="FFFFFF"/>
                  </a:solidFill>
                  <a:cs typeface="Arial" charset="0"/>
                </a:rPr>
                <a:t>Στόχος 5.2</a:t>
              </a:r>
              <a:endParaRPr lang="en-GB" sz="1400" b="1" kern="0" dirty="0">
                <a:solidFill>
                  <a:srgbClr val="FFFFFF"/>
                </a:solidFill>
                <a:cs typeface="Arial" charset="0"/>
              </a:endParaRPr>
            </a:p>
          </p:txBody>
        </p:sp>
        <p:sp>
          <p:nvSpPr>
            <p:cNvPr id="151" name="Rectangle 150"/>
            <p:cNvSpPr/>
            <p:nvPr/>
          </p:nvSpPr>
          <p:spPr>
            <a:xfrm rot="19195103">
              <a:off x="4153616" y="4492825"/>
              <a:ext cx="1668543" cy="1277887"/>
            </a:xfrm>
            <a:prstGeom prst="rect">
              <a:avLst/>
            </a:prstGeom>
          </p:spPr>
          <p:txBody>
            <a:bodyPr wrap="none">
              <a:prstTxWarp prst="textArchDown">
                <a:avLst/>
              </a:prstTxWarp>
              <a:spAutoFit/>
            </a:bodyPr>
            <a:lstStyle/>
            <a:p>
              <a:pPr algn="ctr" defTabSz="682749" eaLnBrk="0" hangingPunct="0">
                <a:spcAft>
                  <a:spcPts val="171"/>
                </a:spcAft>
                <a:defRPr/>
              </a:pPr>
              <a:r>
                <a:rPr lang="el-GR" sz="1400" b="1" kern="0" dirty="0">
                  <a:solidFill>
                    <a:srgbClr val="FFFFFF"/>
                  </a:solidFill>
                  <a:cs typeface="Arial" charset="0"/>
                </a:rPr>
                <a:t>Στόχος 5.3</a:t>
              </a:r>
              <a:endParaRPr lang="en-GB" sz="1400" b="1" kern="0" dirty="0">
                <a:solidFill>
                  <a:srgbClr val="FFFFFF"/>
                </a:solidFill>
                <a:cs typeface="Arial" charset="0"/>
              </a:endParaRPr>
            </a:p>
          </p:txBody>
        </p:sp>
        <p:sp>
          <p:nvSpPr>
            <p:cNvPr id="152" name="Rectangle 151"/>
            <p:cNvSpPr/>
            <p:nvPr/>
          </p:nvSpPr>
          <p:spPr>
            <a:xfrm rot="2518133">
              <a:off x="2428049" y="4429135"/>
              <a:ext cx="1668543" cy="1277887"/>
            </a:xfrm>
            <a:prstGeom prst="rect">
              <a:avLst/>
            </a:prstGeom>
          </p:spPr>
          <p:txBody>
            <a:bodyPr wrap="none">
              <a:prstTxWarp prst="textArchDown">
                <a:avLst/>
              </a:prstTxWarp>
              <a:spAutoFit/>
            </a:bodyPr>
            <a:lstStyle/>
            <a:p>
              <a:pPr algn="ctr" defTabSz="682749" eaLnBrk="0" hangingPunct="0">
                <a:spcAft>
                  <a:spcPts val="171"/>
                </a:spcAft>
                <a:defRPr/>
              </a:pPr>
              <a:r>
                <a:rPr lang="el-GR" sz="1400" b="1" kern="0" dirty="0">
                  <a:cs typeface="Arial" charset="0"/>
                </a:rPr>
                <a:t>Στόχος 5.4</a:t>
              </a:r>
              <a:endParaRPr lang="en-GB" sz="1400" b="1" kern="0" dirty="0">
                <a:cs typeface="Arial" charset="0"/>
              </a:endParaRPr>
            </a:p>
          </p:txBody>
        </p:sp>
        <p:sp>
          <p:nvSpPr>
            <p:cNvPr id="153" name="Rectangle 152"/>
            <p:cNvSpPr/>
            <p:nvPr/>
          </p:nvSpPr>
          <p:spPr>
            <a:xfrm rot="16200000">
              <a:off x="2025521" y="3017632"/>
              <a:ext cx="1668544" cy="1277887"/>
            </a:xfrm>
            <a:prstGeom prst="rect">
              <a:avLst/>
            </a:prstGeom>
          </p:spPr>
          <p:txBody>
            <a:bodyPr wrap="none">
              <a:prstTxWarp prst="textArchUp">
                <a:avLst/>
              </a:prstTxWarp>
              <a:spAutoFit/>
            </a:bodyPr>
            <a:lstStyle/>
            <a:p>
              <a:pPr algn="ctr" defTabSz="682749" eaLnBrk="0" hangingPunct="0">
                <a:spcAft>
                  <a:spcPts val="171"/>
                </a:spcAft>
                <a:defRPr/>
              </a:pPr>
              <a:r>
                <a:rPr lang="el-GR" sz="1400" b="1" kern="0" dirty="0">
                  <a:solidFill>
                    <a:srgbClr val="FFFFFF"/>
                  </a:solidFill>
                  <a:cs typeface="Arial" charset="0"/>
                </a:rPr>
                <a:t>Στόχος 5.5</a:t>
              </a:r>
              <a:endParaRPr lang="en-GB" sz="1400" b="1" kern="0" dirty="0">
                <a:solidFill>
                  <a:srgbClr val="FFFFFF"/>
                </a:solidFill>
                <a:cs typeface="Arial" charset="0"/>
              </a:endParaRPr>
            </a:p>
          </p:txBody>
        </p:sp>
      </p:grpSp>
      <p:sp>
        <p:nvSpPr>
          <p:cNvPr id="6" name="Oval 5"/>
          <p:cNvSpPr/>
          <p:nvPr/>
        </p:nvSpPr>
        <p:spPr bwMode="ltGray">
          <a:xfrm>
            <a:off x="6095257" y="1765522"/>
            <a:ext cx="189058" cy="189058"/>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err="1">
              <a:solidFill>
                <a:schemeClr val="bg1"/>
              </a:solidFill>
            </a:endParaRPr>
          </a:p>
        </p:txBody>
      </p:sp>
      <p:sp>
        <p:nvSpPr>
          <p:cNvPr id="154" name="Oval 153"/>
          <p:cNvSpPr/>
          <p:nvPr/>
        </p:nvSpPr>
        <p:spPr bwMode="ltGray">
          <a:xfrm>
            <a:off x="6095257" y="2579784"/>
            <a:ext cx="189058" cy="189058"/>
          </a:xfrm>
          <a:prstGeom prst="ellipse">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err="1">
              <a:solidFill>
                <a:schemeClr val="bg1"/>
              </a:solidFill>
            </a:endParaRPr>
          </a:p>
        </p:txBody>
      </p:sp>
      <p:sp>
        <p:nvSpPr>
          <p:cNvPr id="155" name="Oval 154"/>
          <p:cNvSpPr/>
          <p:nvPr/>
        </p:nvSpPr>
        <p:spPr bwMode="ltGray">
          <a:xfrm>
            <a:off x="6095257" y="3394042"/>
            <a:ext cx="189058" cy="189058"/>
          </a:xfrm>
          <a:prstGeom prst="ellipse">
            <a:avLst/>
          </a:pr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err="1">
              <a:solidFill>
                <a:schemeClr val="bg1"/>
              </a:solidFill>
            </a:endParaRPr>
          </a:p>
        </p:txBody>
      </p:sp>
      <p:sp>
        <p:nvSpPr>
          <p:cNvPr id="156" name="Oval 155"/>
          <p:cNvSpPr/>
          <p:nvPr/>
        </p:nvSpPr>
        <p:spPr bwMode="ltGray">
          <a:xfrm>
            <a:off x="6095257" y="4208300"/>
            <a:ext cx="189058" cy="189058"/>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err="1">
              <a:solidFill>
                <a:schemeClr val="bg1"/>
              </a:solidFill>
            </a:endParaRPr>
          </a:p>
        </p:txBody>
      </p:sp>
      <p:sp>
        <p:nvSpPr>
          <p:cNvPr id="157" name="Oval 156"/>
          <p:cNvSpPr/>
          <p:nvPr/>
        </p:nvSpPr>
        <p:spPr bwMode="ltGray">
          <a:xfrm>
            <a:off x="6095257" y="5022558"/>
            <a:ext cx="189058" cy="189058"/>
          </a:xfrm>
          <a:prstGeom prst="ellipse">
            <a:avLst/>
          </a:prstGeom>
          <a:no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err="1">
              <a:solidFill>
                <a:schemeClr val="bg1"/>
              </a:solidFill>
            </a:endParaRPr>
          </a:p>
        </p:txBody>
      </p:sp>
      <p:sp>
        <p:nvSpPr>
          <p:cNvPr id="158" name="Rectangle 157"/>
          <p:cNvSpPr/>
          <p:nvPr/>
        </p:nvSpPr>
        <p:spPr>
          <a:xfrm>
            <a:off x="6440622" y="1719798"/>
            <a:ext cx="5283947" cy="538609"/>
          </a:xfrm>
          <a:prstGeom prst="rect">
            <a:avLst/>
          </a:prstGeom>
          <a:noFill/>
        </p:spPr>
        <p:txBody>
          <a:bodyPr wrap="square" lIns="0" tIns="0" rIns="0">
            <a:spAutoFit/>
          </a:bodyPr>
          <a:lstStyle/>
          <a:p>
            <a:pPr defTabSz="781835">
              <a:defRPr/>
            </a:pPr>
            <a:r>
              <a:rPr lang="el-GR" sz="1600" b="1" kern="0" dirty="0">
                <a:solidFill>
                  <a:schemeClr val="accent3"/>
                </a:solidFill>
              </a:rPr>
              <a:t>Στόχος 5.1 </a:t>
            </a:r>
            <a:endParaRPr lang="en-GB" sz="1600" b="1" kern="0" dirty="0">
              <a:solidFill>
                <a:schemeClr val="accent3"/>
              </a:solidFill>
            </a:endParaRPr>
          </a:p>
          <a:p>
            <a:pPr defTabSz="781835">
              <a:defRPr/>
            </a:pPr>
            <a:r>
              <a:rPr lang="el-GR" sz="1600" b="1" kern="0" dirty="0">
                <a:solidFill>
                  <a:srgbClr val="000000"/>
                </a:solidFill>
              </a:rPr>
              <a:t>Πλήρης εφαρμογή του νέου Οργανισμού του ΥΠΕΞ</a:t>
            </a:r>
          </a:p>
        </p:txBody>
      </p:sp>
      <p:sp>
        <p:nvSpPr>
          <p:cNvPr id="159" name="Rectangle 158"/>
          <p:cNvSpPr/>
          <p:nvPr/>
        </p:nvSpPr>
        <p:spPr>
          <a:xfrm>
            <a:off x="6425665" y="2534060"/>
            <a:ext cx="5283947" cy="538609"/>
          </a:xfrm>
          <a:prstGeom prst="rect">
            <a:avLst/>
          </a:prstGeom>
          <a:noFill/>
        </p:spPr>
        <p:txBody>
          <a:bodyPr wrap="square" lIns="0" tIns="0" rIns="0">
            <a:spAutoFit/>
          </a:bodyPr>
          <a:lstStyle/>
          <a:p>
            <a:pPr defTabSz="781835">
              <a:defRPr/>
            </a:pPr>
            <a:r>
              <a:rPr lang="el-GR" sz="1600" b="1" kern="0" dirty="0">
                <a:solidFill>
                  <a:schemeClr val="accent5"/>
                </a:solidFill>
              </a:rPr>
              <a:t>Στόχος 5.2</a:t>
            </a:r>
            <a:endParaRPr lang="en-GB" sz="1600" b="1" kern="0" dirty="0">
              <a:solidFill>
                <a:schemeClr val="accent5"/>
              </a:solidFill>
            </a:endParaRPr>
          </a:p>
          <a:p>
            <a:pPr defTabSz="781835">
              <a:defRPr/>
            </a:pPr>
            <a:r>
              <a:rPr lang="el-GR" sz="1600" b="1" kern="0" dirty="0">
                <a:solidFill>
                  <a:srgbClr val="000000"/>
                </a:solidFill>
              </a:rPr>
              <a:t>Ανάπτυξη Ανθρώπινου Δυναμικού</a:t>
            </a:r>
          </a:p>
        </p:txBody>
      </p:sp>
      <p:sp>
        <p:nvSpPr>
          <p:cNvPr id="160" name="Rectangle 159"/>
          <p:cNvSpPr/>
          <p:nvPr/>
        </p:nvSpPr>
        <p:spPr>
          <a:xfrm>
            <a:off x="6425665" y="3348318"/>
            <a:ext cx="5283947" cy="538609"/>
          </a:xfrm>
          <a:prstGeom prst="rect">
            <a:avLst/>
          </a:prstGeom>
          <a:noFill/>
        </p:spPr>
        <p:txBody>
          <a:bodyPr wrap="square" lIns="0" tIns="0" rIns="0">
            <a:spAutoFit/>
          </a:bodyPr>
          <a:lstStyle/>
          <a:p>
            <a:pPr defTabSz="781835">
              <a:defRPr/>
            </a:pPr>
            <a:r>
              <a:rPr lang="el-GR" sz="1600" b="1" kern="0" dirty="0">
                <a:solidFill>
                  <a:srgbClr val="7F8FA9"/>
                </a:solidFill>
              </a:rPr>
              <a:t>Στόχος 5.3</a:t>
            </a:r>
            <a:endParaRPr lang="en-GB" sz="1600" b="1" kern="0" dirty="0">
              <a:solidFill>
                <a:srgbClr val="7F8FA9"/>
              </a:solidFill>
            </a:endParaRPr>
          </a:p>
          <a:p>
            <a:pPr defTabSz="781835">
              <a:defRPr/>
            </a:pPr>
            <a:r>
              <a:rPr lang="el-GR" sz="1600" b="1" kern="0" dirty="0"/>
              <a:t>Αναβάθμιση Οικονομικής Διαχείρισης</a:t>
            </a:r>
          </a:p>
        </p:txBody>
      </p:sp>
      <p:sp>
        <p:nvSpPr>
          <p:cNvPr id="161" name="Rectangle 160"/>
          <p:cNvSpPr/>
          <p:nvPr/>
        </p:nvSpPr>
        <p:spPr>
          <a:xfrm>
            <a:off x="6425665" y="4162576"/>
            <a:ext cx="5283947" cy="538609"/>
          </a:xfrm>
          <a:prstGeom prst="rect">
            <a:avLst/>
          </a:prstGeom>
          <a:noFill/>
        </p:spPr>
        <p:txBody>
          <a:bodyPr wrap="square" lIns="0" tIns="0" rIns="0">
            <a:spAutoFit/>
          </a:bodyPr>
          <a:lstStyle/>
          <a:p>
            <a:pPr defTabSz="781835">
              <a:defRPr/>
            </a:pPr>
            <a:r>
              <a:rPr lang="el-GR" sz="1600" b="1" kern="0" dirty="0">
                <a:solidFill>
                  <a:schemeClr val="accent1"/>
                </a:solidFill>
              </a:rPr>
              <a:t>Στόχος 5.4</a:t>
            </a:r>
          </a:p>
          <a:p>
            <a:pPr defTabSz="781835">
              <a:defRPr/>
            </a:pPr>
            <a:r>
              <a:rPr lang="el-GR" sz="1600" b="1" kern="0" dirty="0" err="1"/>
              <a:t>Ψηφιοποίηση</a:t>
            </a:r>
            <a:r>
              <a:rPr lang="el-GR" sz="1600" b="1" kern="0" dirty="0"/>
              <a:t> λειτουργιών ΥΠΕΞ</a:t>
            </a:r>
            <a:endParaRPr lang="en-GB" sz="1600" b="1" kern="0" dirty="0"/>
          </a:p>
        </p:txBody>
      </p:sp>
      <p:sp>
        <p:nvSpPr>
          <p:cNvPr id="162" name="Rectangle 161"/>
          <p:cNvSpPr/>
          <p:nvPr/>
        </p:nvSpPr>
        <p:spPr>
          <a:xfrm>
            <a:off x="6425665" y="4995126"/>
            <a:ext cx="5283947" cy="1031051"/>
          </a:xfrm>
          <a:prstGeom prst="rect">
            <a:avLst/>
          </a:prstGeom>
          <a:noFill/>
        </p:spPr>
        <p:txBody>
          <a:bodyPr wrap="square" lIns="0" tIns="0" rIns="0">
            <a:spAutoFit/>
          </a:bodyPr>
          <a:lstStyle/>
          <a:p>
            <a:pPr defTabSz="781835">
              <a:defRPr/>
            </a:pPr>
            <a:r>
              <a:rPr lang="el-GR" sz="1600" b="1" kern="0" dirty="0">
                <a:solidFill>
                  <a:schemeClr val="tx2"/>
                </a:solidFill>
              </a:rPr>
              <a:t>Στόχος 5.5</a:t>
            </a:r>
            <a:endParaRPr lang="en-GB" sz="1600" b="1" kern="0" dirty="0">
              <a:solidFill>
                <a:schemeClr val="tx2"/>
              </a:solidFill>
            </a:endParaRPr>
          </a:p>
          <a:p>
            <a:pPr defTabSz="781835">
              <a:defRPr/>
            </a:pPr>
            <a:r>
              <a:rPr lang="el-GR" sz="1600" b="1" kern="0" dirty="0">
                <a:solidFill>
                  <a:srgbClr val="000000"/>
                </a:solidFill>
              </a:rPr>
              <a:t>Εξορθολογισμός στελέχωσης και γεωγραφικής κατανομής Αρχών Εξωτερικής Υπηρεσίας και διαρκής βελτίωση στις δομές και στη λειτουργία του ΥΠΕΞ</a:t>
            </a:r>
          </a:p>
        </p:txBody>
      </p:sp>
      <p:sp>
        <p:nvSpPr>
          <p:cNvPr id="45" name="Freeform 89">
            <a:extLst>
              <a:ext uri="{FF2B5EF4-FFF2-40B4-BE49-F238E27FC236}">
                <a16:creationId xmlns:a16="http://schemas.microsoft.com/office/drawing/2014/main" id="{B26095F2-1A54-4DED-A001-405C5AE42EC9}"/>
              </a:ext>
            </a:extLst>
          </p:cNvPr>
          <p:cNvSpPr>
            <a:spLocks noChangeAspect="1" noEditPoints="1"/>
          </p:cNvSpPr>
          <p:nvPr/>
        </p:nvSpPr>
        <p:spPr bwMode="auto">
          <a:xfrm>
            <a:off x="2676774" y="1923592"/>
            <a:ext cx="455905" cy="457200"/>
          </a:xfrm>
          <a:custGeom>
            <a:avLst/>
            <a:gdLst>
              <a:gd name="T0" fmla="*/ 337 w 704"/>
              <a:gd name="T1" fmla="*/ 488 h 706"/>
              <a:gd name="T2" fmla="*/ 367 w 704"/>
              <a:gd name="T3" fmla="*/ 488 h 706"/>
              <a:gd name="T4" fmla="*/ 492 w 704"/>
              <a:gd name="T5" fmla="*/ 623 h 706"/>
              <a:gd name="T6" fmla="*/ 367 w 704"/>
              <a:gd name="T7" fmla="*/ 373 h 706"/>
              <a:gd name="T8" fmla="*/ 285 w 704"/>
              <a:gd name="T9" fmla="*/ 217 h 706"/>
              <a:gd name="T10" fmla="*/ 78 w 704"/>
              <a:gd name="T11" fmla="*/ 488 h 706"/>
              <a:gd name="T12" fmla="*/ 315 w 704"/>
              <a:gd name="T13" fmla="*/ 592 h 706"/>
              <a:gd name="T14" fmla="*/ 522 w 704"/>
              <a:gd name="T15" fmla="*/ 592 h 706"/>
              <a:gd name="T16" fmla="*/ 107 w 704"/>
              <a:gd name="T17" fmla="*/ 592 h 706"/>
              <a:gd name="T18" fmla="*/ 704 w 704"/>
              <a:gd name="T19" fmla="*/ 29 h 706"/>
              <a:gd name="T20" fmla="*/ 43 w 704"/>
              <a:gd name="T21" fmla="*/ 29 h 706"/>
              <a:gd name="T22" fmla="*/ 211 w 704"/>
              <a:gd name="T23" fmla="*/ 29 h 706"/>
              <a:gd name="T24" fmla="*/ 422 w 704"/>
              <a:gd name="T25" fmla="*/ 29 h 706"/>
              <a:gd name="T26" fmla="*/ 337 w 704"/>
              <a:gd name="T27" fmla="*/ 29 h 706"/>
              <a:gd name="T28" fmla="*/ 296 w 704"/>
              <a:gd name="T29" fmla="*/ 29 h 706"/>
              <a:gd name="T30" fmla="*/ 464 w 704"/>
              <a:gd name="T31" fmla="*/ 29 h 706"/>
              <a:gd name="T32" fmla="*/ 253 w 704"/>
              <a:gd name="T33" fmla="*/ 29 h 706"/>
              <a:gd name="T34" fmla="*/ 84 w 704"/>
              <a:gd name="T35" fmla="*/ 29 h 706"/>
              <a:gd name="T36" fmla="*/ 169 w 704"/>
              <a:gd name="T37" fmla="*/ 29 h 706"/>
              <a:gd name="T38" fmla="*/ 127 w 704"/>
              <a:gd name="T39" fmla="*/ 29 h 706"/>
              <a:gd name="T40" fmla="*/ 380 w 704"/>
              <a:gd name="T41" fmla="*/ 29 h 706"/>
              <a:gd name="T42" fmla="*/ 590 w 704"/>
              <a:gd name="T43" fmla="*/ 29 h 706"/>
              <a:gd name="T44" fmla="*/ 506 w 704"/>
              <a:gd name="T45" fmla="*/ 29 h 706"/>
              <a:gd name="T46" fmla="*/ 633 w 704"/>
              <a:gd name="T47" fmla="*/ 29 h 706"/>
              <a:gd name="T48" fmla="*/ 549 w 704"/>
              <a:gd name="T49" fmla="*/ 29 h 706"/>
              <a:gd name="T50" fmla="*/ 0 w 704"/>
              <a:gd name="T51" fmla="*/ 29 h 706"/>
              <a:gd name="T52" fmla="*/ 0 w 704"/>
              <a:gd name="T53" fmla="*/ 108 h 706"/>
              <a:gd name="T54" fmla="*/ 0 w 704"/>
              <a:gd name="T55" fmla="*/ 69 h 706"/>
              <a:gd name="T56" fmla="*/ 0 w 704"/>
              <a:gd name="T57" fmla="*/ 267 h 706"/>
              <a:gd name="T58" fmla="*/ 0 w 704"/>
              <a:gd name="T59" fmla="*/ 228 h 706"/>
              <a:gd name="T60" fmla="*/ 0 w 704"/>
              <a:gd name="T61" fmla="*/ 148 h 706"/>
              <a:gd name="T62" fmla="*/ 0 w 704"/>
              <a:gd name="T63" fmla="*/ 188 h 706"/>
              <a:gd name="T64" fmla="*/ 590 w 704"/>
              <a:gd name="T65" fmla="*/ 310 h 706"/>
              <a:gd name="T66" fmla="*/ 464 w 704"/>
              <a:gd name="T67" fmla="*/ 310 h 706"/>
              <a:gd name="T68" fmla="*/ 549 w 704"/>
              <a:gd name="T69" fmla="*/ 310 h 706"/>
              <a:gd name="T70" fmla="*/ 506 w 704"/>
              <a:gd name="T71" fmla="*/ 310 h 706"/>
              <a:gd name="T72" fmla="*/ 422 w 704"/>
              <a:gd name="T73" fmla="*/ 310 h 706"/>
              <a:gd name="T74" fmla="*/ 633 w 704"/>
              <a:gd name="T75" fmla="*/ 310 h 706"/>
              <a:gd name="T76" fmla="*/ 324 w 704"/>
              <a:gd name="T77" fmla="*/ 310 h 706"/>
              <a:gd name="T78" fmla="*/ 380 w 704"/>
              <a:gd name="T79" fmla="*/ 279 h 706"/>
              <a:gd name="T80" fmla="*/ 84 w 704"/>
              <a:gd name="T81" fmla="*/ 310 h 706"/>
              <a:gd name="T82" fmla="*/ 43 w 704"/>
              <a:gd name="T83" fmla="*/ 310 h 706"/>
              <a:gd name="T84" fmla="*/ 253 w 704"/>
              <a:gd name="T85" fmla="*/ 310 h 706"/>
              <a:gd name="T86" fmla="*/ 211 w 704"/>
              <a:gd name="T87" fmla="*/ 310 h 706"/>
              <a:gd name="T88" fmla="*/ 169 w 704"/>
              <a:gd name="T89" fmla="*/ 310 h 706"/>
              <a:gd name="T90" fmla="*/ 127 w 704"/>
              <a:gd name="T91" fmla="*/ 310 h 706"/>
              <a:gd name="T92" fmla="*/ 704 w 704"/>
              <a:gd name="T93" fmla="*/ 279 h 706"/>
              <a:gd name="T94" fmla="*/ 0 w 704"/>
              <a:gd name="T95" fmla="*/ 310 h 706"/>
              <a:gd name="T96" fmla="*/ 29 w 704"/>
              <a:gd name="T97" fmla="*/ 313 h 706"/>
              <a:gd name="T98" fmla="*/ 673 w 704"/>
              <a:gd name="T99" fmla="*/ 279 h 706"/>
              <a:gd name="T100" fmla="*/ 673 w 704"/>
              <a:gd name="T101" fmla="*/ 162 h 706"/>
              <a:gd name="T102" fmla="*/ 673 w 704"/>
              <a:gd name="T103" fmla="*/ 82 h 706"/>
              <a:gd name="T104" fmla="*/ 673 w 704"/>
              <a:gd name="T105" fmla="*/ 121 h 706"/>
              <a:gd name="T106" fmla="*/ 673 w 704"/>
              <a:gd name="T107" fmla="*/ 201 h 706"/>
              <a:gd name="T108" fmla="*/ 673 w 704"/>
              <a:gd name="T109" fmla="*/ 42 h 706"/>
              <a:gd name="T110" fmla="*/ 673 w 704"/>
              <a:gd name="T111" fmla="*/ 241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706">
                <a:moveTo>
                  <a:pt x="211" y="488"/>
                </a:moveTo>
                <a:lnTo>
                  <a:pt x="159" y="488"/>
                </a:lnTo>
                <a:lnTo>
                  <a:pt x="159" y="402"/>
                </a:lnTo>
                <a:lnTo>
                  <a:pt x="337" y="402"/>
                </a:lnTo>
                <a:lnTo>
                  <a:pt x="337" y="488"/>
                </a:lnTo>
                <a:lnTo>
                  <a:pt x="285" y="488"/>
                </a:lnTo>
                <a:lnTo>
                  <a:pt x="285" y="623"/>
                </a:lnTo>
                <a:lnTo>
                  <a:pt x="419" y="623"/>
                </a:lnTo>
                <a:lnTo>
                  <a:pt x="419" y="488"/>
                </a:lnTo>
                <a:lnTo>
                  <a:pt x="367" y="488"/>
                </a:lnTo>
                <a:lnTo>
                  <a:pt x="367" y="402"/>
                </a:lnTo>
                <a:lnTo>
                  <a:pt x="544" y="402"/>
                </a:lnTo>
                <a:lnTo>
                  <a:pt x="544" y="488"/>
                </a:lnTo>
                <a:lnTo>
                  <a:pt x="492" y="488"/>
                </a:lnTo>
                <a:lnTo>
                  <a:pt x="492" y="623"/>
                </a:lnTo>
                <a:lnTo>
                  <a:pt x="626" y="623"/>
                </a:lnTo>
                <a:lnTo>
                  <a:pt x="626" y="488"/>
                </a:lnTo>
                <a:lnTo>
                  <a:pt x="574" y="488"/>
                </a:lnTo>
                <a:lnTo>
                  <a:pt x="574" y="373"/>
                </a:lnTo>
                <a:lnTo>
                  <a:pt x="367" y="373"/>
                </a:lnTo>
                <a:lnTo>
                  <a:pt x="367" y="217"/>
                </a:lnTo>
                <a:lnTo>
                  <a:pt x="419" y="217"/>
                </a:lnTo>
                <a:lnTo>
                  <a:pt x="419" y="83"/>
                </a:lnTo>
                <a:lnTo>
                  <a:pt x="285" y="83"/>
                </a:lnTo>
                <a:lnTo>
                  <a:pt x="285" y="217"/>
                </a:lnTo>
                <a:lnTo>
                  <a:pt x="337" y="217"/>
                </a:lnTo>
                <a:lnTo>
                  <a:pt x="337" y="373"/>
                </a:lnTo>
                <a:lnTo>
                  <a:pt x="129" y="373"/>
                </a:lnTo>
                <a:lnTo>
                  <a:pt x="129" y="488"/>
                </a:lnTo>
                <a:lnTo>
                  <a:pt x="78" y="488"/>
                </a:lnTo>
                <a:lnTo>
                  <a:pt x="78" y="623"/>
                </a:lnTo>
                <a:lnTo>
                  <a:pt x="211" y="623"/>
                </a:lnTo>
                <a:lnTo>
                  <a:pt x="211" y="488"/>
                </a:lnTo>
                <a:close/>
                <a:moveTo>
                  <a:pt x="389" y="592"/>
                </a:moveTo>
                <a:lnTo>
                  <a:pt x="315" y="592"/>
                </a:lnTo>
                <a:lnTo>
                  <a:pt x="315" y="518"/>
                </a:lnTo>
                <a:lnTo>
                  <a:pt x="389" y="518"/>
                </a:lnTo>
                <a:lnTo>
                  <a:pt x="389" y="592"/>
                </a:lnTo>
                <a:close/>
                <a:moveTo>
                  <a:pt x="596" y="592"/>
                </a:moveTo>
                <a:lnTo>
                  <a:pt x="522" y="592"/>
                </a:lnTo>
                <a:lnTo>
                  <a:pt x="522" y="518"/>
                </a:lnTo>
                <a:lnTo>
                  <a:pt x="596" y="518"/>
                </a:lnTo>
                <a:lnTo>
                  <a:pt x="596" y="592"/>
                </a:lnTo>
                <a:close/>
                <a:moveTo>
                  <a:pt x="181" y="592"/>
                </a:moveTo>
                <a:lnTo>
                  <a:pt x="107" y="592"/>
                </a:lnTo>
                <a:lnTo>
                  <a:pt x="107" y="518"/>
                </a:lnTo>
                <a:lnTo>
                  <a:pt x="181" y="518"/>
                </a:lnTo>
                <a:lnTo>
                  <a:pt x="181" y="592"/>
                </a:lnTo>
                <a:close/>
                <a:moveTo>
                  <a:pt x="704" y="0"/>
                </a:moveTo>
                <a:lnTo>
                  <a:pt x="704" y="29"/>
                </a:lnTo>
                <a:lnTo>
                  <a:pt x="673" y="29"/>
                </a:lnTo>
                <a:lnTo>
                  <a:pt x="673" y="0"/>
                </a:lnTo>
                <a:lnTo>
                  <a:pt x="704" y="0"/>
                </a:lnTo>
                <a:close/>
                <a:moveTo>
                  <a:pt x="71" y="29"/>
                </a:moveTo>
                <a:lnTo>
                  <a:pt x="43" y="29"/>
                </a:lnTo>
                <a:lnTo>
                  <a:pt x="43" y="0"/>
                </a:lnTo>
                <a:lnTo>
                  <a:pt x="71" y="0"/>
                </a:lnTo>
                <a:lnTo>
                  <a:pt x="71" y="29"/>
                </a:lnTo>
                <a:close/>
                <a:moveTo>
                  <a:pt x="239" y="29"/>
                </a:moveTo>
                <a:lnTo>
                  <a:pt x="211" y="29"/>
                </a:lnTo>
                <a:lnTo>
                  <a:pt x="211" y="0"/>
                </a:lnTo>
                <a:lnTo>
                  <a:pt x="239" y="0"/>
                </a:lnTo>
                <a:lnTo>
                  <a:pt x="239" y="29"/>
                </a:lnTo>
                <a:close/>
                <a:moveTo>
                  <a:pt x="450" y="29"/>
                </a:moveTo>
                <a:lnTo>
                  <a:pt x="422" y="29"/>
                </a:lnTo>
                <a:lnTo>
                  <a:pt x="422" y="0"/>
                </a:lnTo>
                <a:lnTo>
                  <a:pt x="450" y="0"/>
                </a:lnTo>
                <a:lnTo>
                  <a:pt x="450" y="29"/>
                </a:lnTo>
                <a:close/>
                <a:moveTo>
                  <a:pt x="365" y="29"/>
                </a:moveTo>
                <a:lnTo>
                  <a:pt x="337" y="29"/>
                </a:lnTo>
                <a:lnTo>
                  <a:pt x="337" y="0"/>
                </a:lnTo>
                <a:lnTo>
                  <a:pt x="365" y="0"/>
                </a:lnTo>
                <a:lnTo>
                  <a:pt x="365" y="29"/>
                </a:lnTo>
                <a:close/>
                <a:moveTo>
                  <a:pt x="324" y="29"/>
                </a:moveTo>
                <a:lnTo>
                  <a:pt x="296" y="29"/>
                </a:lnTo>
                <a:lnTo>
                  <a:pt x="296" y="0"/>
                </a:lnTo>
                <a:lnTo>
                  <a:pt x="324" y="0"/>
                </a:lnTo>
                <a:lnTo>
                  <a:pt x="324" y="29"/>
                </a:lnTo>
                <a:close/>
                <a:moveTo>
                  <a:pt x="492" y="29"/>
                </a:moveTo>
                <a:lnTo>
                  <a:pt x="464" y="29"/>
                </a:lnTo>
                <a:lnTo>
                  <a:pt x="464" y="0"/>
                </a:lnTo>
                <a:lnTo>
                  <a:pt x="492" y="0"/>
                </a:lnTo>
                <a:lnTo>
                  <a:pt x="492" y="29"/>
                </a:lnTo>
                <a:close/>
                <a:moveTo>
                  <a:pt x="281" y="29"/>
                </a:moveTo>
                <a:lnTo>
                  <a:pt x="253" y="29"/>
                </a:lnTo>
                <a:lnTo>
                  <a:pt x="253" y="0"/>
                </a:lnTo>
                <a:lnTo>
                  <a:pt x="281" y="0"/>
                </a:lnTo>
                <a:lnTo>
                  <a:pt x="281" y="29"/>
                </a:lnTo>
                <a:close/>
                <a:moveTo>
                  <a:pt x="112" y="29"/>
                </a:moveTo>
                <a:lnTo>
                  <a:pt x="84" y="29"/>
                </a:lnTo>
                <a:lnTo>
                  <a:pt x="84" y="0"/>
                </a:lnTo>
                <a:lnTo>
                  <a:pt x="112" y="0"/>
                </a:lnTo>
                <a:lnTo>
                  <a:pt x="112" y="29"/>
                </a:lnTo>
                <a:close/>
                <a:moveTo>
                  <a:pt x="197" y="29"/>
                </a:moveTo>
                <a:lnTo>
                  <a:pt x="169" y="29"/>
                </a:lnTo>
                <a:lnTo>
                  <a:pt x="169" y="0"/>
                </a:lnTo>
                <a:lnTo>
                  <a:pt x="197" y="0"/>
                </a:lnTo>
                <a:lnTo>
                  <a:pt x="197" y="29"/>
                </a:lnTo>
                <a:close/>
                <a:moveTo>
                  <a:pt x="155" y="29"/>
                </a:moveTo>
                <a:lnTo>
                  <a:pt x="127" y="29"/>
                </a:lnTo>
                <a:lnTo>
                  <a:pt x="127" y="0"/>
                </a:lnTo>
                <a:lnTo>
                  <a:pt x="155" y="0"/>
                </a:lnTo>
                <a:lnTo>
                  <a:pt x="155" y="29"/>
                </a:lnTo>
                <a:close/>
                <a:moveTo>
                  <a:pt x="408" y="29"/>
                </a:moveTo>
                <a:lnTo>
                  <a:pt x="380" y="29"/>
                </a:lnTo>
                <a:lnTo>
                  <a:pt x="380" y="0"/>
                </a:lnTo>
                <a:lnTo>
                  <a:pt x="408" y="0"/>
                </a:lnTo>
                <a:lnTo>
                  <a:pt x="408" y="29"/>
                </a:lnTo>
                <a:close/>
                <a:moveTo>
                  <a:pt x="618" y="29"/>
                </a:moveTo>
                <a:lnTo>
                  <a:pt x="590" y="29"/>
                </a:lnTo>
                <a:lnTo>
                  <a:pt x="590" y="0"/>
                </a:lnTo>
                <a:lnTo>
                  <a:pt x="618" y="0"/>
                </a:lnTo>
                <a:lnTo>
                  <a:pt x="618" y="29"/>
                </a:lnTo>
                <a:close/>
                <a:moveTo>
                  <a:pt x="534" y="29"/>
                </a:moveTo>
                <a:lnTo>
                  <a:pt x="506" y="29"/>
                </a:lnTo>
                <a:lnTo>
                  <a:pt x="506" y="0"/>
                </a:lnTo>
                <a:lnTo>
                  <a:pt x="534" y="0"/>
                </a:lnTo>
                <a:lnTo>
                  <a:pt x="534" y="29"/>
                </a:lnTo>
                <a:close/>
                <a:moveTo>
                  <a:pt x="661" y="29"/>
                </a:moveTo>
                <a:lnTo>
                  <a:pt x="633" y="29"/>
                </a:lnTo>
                <a:lnTo>
                  <a:pt x="633" y="0"/>
                </a:lnTo>
                <a:lnTo>
                  <a:pt x="661" y="0"/>
                </a:lnTo>
                <a:lnTo>
                  <a:pt x="661" y="29"/>
                </a:lnTo>
                <a:close/>
                <a:moveTo>
                  <a:pt x="577" y="29"/>
                </a:moveTo>
                <a:lnTo>
                  <a:pt x="549" y="29"/>
                </a:lnTo>
                <a:lnTo>
                  <a:pt x="549" y="0"/>
                </a:lnTo>
                <a:lnTo>
                  <a:pt x="577" y="0"/>
                </a:lnTo>
                <a:lnTo>
                  <a:pt x="577" y="29"/>
                </a:lnTo>
                <a:close/>
                <a:moveTo>
                  <a:pt x="29" y="29"/>
                </a:moveTo>
                <a:lnTo>
                  <a:pt x="0" y="29"/>
                </a:lnTo>
                <a:lnTo>
                  <a:pt x="0" y="0"/>
                </a:lnTo>
                <a:lnTo>
                  <a:pt x="29" y="0"/>
                </a:lnTo>
                <a:lnTo>
                  <a:pt x="29" y="29"/>
                </a:lnTo>
                <a:close/>
                <a:moveTo>
                  <a:pt x="29" y="108"/>
                </a:moveTo>
                <a:lnTo>
                  <a:pt x="0" y="108"/>
                </a:lnTo>
                <a:lnTo>
                  <a:pt x="0" y="82"/>
                </a:lnTo>
                <a:lnTo>
                  <a:pt x="29" y="82"/>
                </a:lnTo>
                <a:lnTo>
                  <a:pt x="29" y="108"/>
                </a:lnTo>
                <a:close/>
                <a:moveTo>
                  <a:pt x="29" y="69"/>
                </a:moveTo>
                <a:lnTo>
                  <a:pt x="0" y="69"/>
                </a:lnTo>
                <a:lnTo>
                  <a:pt x="0" y="42"/>
                </a:lnTo>
                <a:lnTo>
                  <a:pt x="29" y="42"/>
                </a:lnTo>
                <a:lnTo>
                  <a:pt x="29" y="69"/>
                </a:lnTo>
                <a:close/>
                <a:moveTo>
                  <a:pt x="29" y="267"/>
                </a:moveTo>
                <a:lnTo>
                  <a:pt x="0" y="267"/>
                </a:lnTo>
                <a:lnTo>
                  <a:pt x="0" y="241"/>
                </a:lnTo>
                <a:lnTo>
                  <a:pt x="29" y="241"/>
                </a:lnTo>
                <a:lnTo>
                  <a:pt x="29" y="267"/>
                </a:lnTo>
                <a:close/>
                <a:moveTo>
                  <a:pt x="29" y="228"/>
                </a:moveTo>
                <a:lnTo>
                  <a:pt x="0" y="228"/>
                </a:lnTo>
                <a:lnTo>
                  <a:pt x="0" y="201"/>
                </a:lnTo>
                <a:lnTo>
                  <a:pt x="29" y="201"/>
                </a:lnTo>
                <a:lnTo>
                  <a:pt x="29" y="228"/>
                </a:lnTo>
                <a:close/>
                <a:moveTo>
                  <a:pt x="29" y="148"/>
                </a:moveTo>
                <a:lnTo>
                  <a:pt x="0" y="148"/>
                </a:lnTo>
                <a:lnTo>
                  <a:pt x="0" y="121"/>
                </a:lnTo>
                <a:lnTo>
                  <a:pt x="29" y="121"/>
                </a:lnTo>
                <a:lnTo>
                  <a:pt x="29" y="148"/>
                </a:lnTo>
                <a:close/>
                <a:moveTo>
                  <a:pt x="29" y="188"/>
                </a:moveTo>
                <a:lnTo>
                  <a:pt x="0" y="188"/>
                </a:lnTo>
                <a:lnTo>
                  <a:pt x="0" y="162"/>
                </a:lnTo>
                <a:lnTo>
                  <a:pt x="29" y="162"/>
                </a:lnTo>
                <a:lnTo>
                  <a:pt x="29" y="188"/>
                </a:lnTo>
                <a:close/>
                <a:moveTo>
                  <a:pt x="618" y="310"/>
                </a:moveTo>
                <a:lnTo>
                  <a:pt x="590" y="310"/>
                </a:lnTo>
                <a:lnTo>
                  <a:pt x="590" y="279"/>
                </a:lnTo>
                <a:lnTo>
                  <a:pt x="618" y="279"/>
                </a:lnTo>
                <a:lnTo>
                  <a:pt x="618" y="310"/>
                </a:lnTo>
                <a:close/>
                <a:moveTo>
                  <a:pt x="492" y="310"/>
                </a:moveTo>
                <a:lnTo>
                  <a:pt x="464" y="310"/>
                </a:lnTo>
                <a:lnTo>
                  <a:pt x="464" y="279"/>
                </a:lnTo>
                <a:lnTo>
                  <a:pt x="492" y="279"/>
                </a:lnTo>
                <a:lnTo>
                  <a:pt x="492" y="310"/>
                </a:lnTo>
                <a:close/>
                <a:moveTo>
                  <a:pt x="577" y="310"/>
                </a:moveTo>
                <a:lnTo>
                  <a:pt x="549" y="310"/>
                </a:lnTo>
                <a:lnTo>
                  <a:pt x="549" y="279"/>
                </a:lnTo>
                <a:lnTo>
                  <a:pt x="577" y="279"/>
                </a:lnTo>
                <a:lnTo>
                  <a:pt x="577" y="310"/>
                </a:lnTo>
                <a:close/>
                <a:moveTo>
                  <a:pt x="534" y="310"/>
                </a:moveTo>
                <a:lnTo>
                  <a:pt x="506" y="310"/>
                </a:lnTo>
                <a:lnTo>
                  <a:pt x="506" y="279"/>
                </a:lnTo>
                <a:lnTo>
                  <a:pt x="534" y="279"/>
                </a:lnTo>
                <a:lnTo>
                  <a:pt x="534" y="310"/>
                </a:lnTo>
                <a:close/>
                <a:moveTo>
                  <a:pt x="450" y="310"/>
                </a:moveTo>
                <a:lnTo>
                  <a:pt x="422" y="310"/>
                </a:lnTo>
                <a:lnTo>
                  <a:pt x="422" y="279"/>
                </a:lnTo>
                <a:lnTo>
                  <a:pt x="450" y="279"/>
                </a:lnTo>
                <a:lnTo>
                  <a:pt x="450" y="310"/>
                </a:lnTo>
                <a:close/>
                <a:moveTo>
                  <a:pt x="661" y="310"/>
                </a:moveTo>
                <a:lnTo>
                  <a:pt x="633" y="310"/>
                </a:lnTo>
                <a:lnTo>
                  <a:pt x="633" y="279"/>
                </a:lnTo>
                <a:lnTo>
                  <a:pt x="661" y="279"/>
                </a:lnTo>
                <a:lnTo>
                  <a:pt x="661" y="310"/>
                </a:lnTo>
                <a:close/>
                <a:moveTo>
                  <a:pt x="324" y="279"/>
                </a:moveTo>
                <a:lnTo>
                  <a:pt x="324" y="310"/>
                </a:lnTo>
                <a:lnTo>
                  <a:pt x="296" y="310"/>
                </a:lnTo>
                <a:lnTo>
                  <a:pt x="296" y="279"/>
                </a:lnTo>
                <a:lnTo>
                  <a:pt x="324" y="279"/>
                </a:lnTo>
                <a:close/>
                <a:moveTo>
                  <a:pt x="380" y="310"/>
                </a:moveTo>
                <a:lnTo>
                  <a:pt x="380" y="279"/>
                </a:lnTo>
                <a:lnTo>
                  <a:pt x="408" y="279"/>
                </a:lnTo>
                <a:lnTo>
                  <a:pt x="408" y="310"/>
                </a:lnTo>
                <a:lnTo>
                  <a:pt x="380" y="310"/>
                </a:lnTo>
                <a:close/>
                <a:moveTo>
                  <a:pt x="112" y="310"/>
                </a:moveTo>
                <a:lnTo>
                  <a:pt x="84" y="310"/>
                </a:lnTo>
                <a:lnTo>
                  <a:pt x="84" y="279"/>
                </a:lnTo>
                <a:lnTo>
                  <a:pt x="112" y="279"/>
                </a:lnTo>
                <a:lnTo>
                  <a:pt x="112" y="310"/>
                </a:lnTo>
                <a:close/>
                <a:moveTo>
                  <a:pt x="71" y="310"/>
                </a:moveTo>
                <a:lnTo>
                  <a:pt x="43" y="310"/>
                </a:lnTo>
                <a:lnTo>
                  <a:pt x="43" y="279"/>
                </a:lnTo>
                <a:lnTo>
                  <a:pt x="71" y="279"/>
                </a:lnTo>
                <a:lnTo>
                  <a:pt x="71" y="310"/>
                </a:lnTo>
                <a:close/>
                <a:moveTo>
                  <a:pt x="281" y="310"/>
                </a:moveTo>
                <a:lnTo>
                  <a:pt x="253" y="310"/>
                </a:lnTo>
                <a:lnTo>
                  <a:pt x="253" y="279"/>
                </a:lnTo>
                <a:lnTo>
                  <a:pt x="281" y="279"/>
                </a:lnTo>
                <a:lnTo>
                  <a:pt x="281" y="310"/>
                </a:lnTo>
                <a:close/>
                <a:moveTo>
                  <a:pt x="239" y="310"/>
                </a:moveTo>
                <a:lnTo>
                  <a:pt x="211" y="310"/>
                </a:lnTo>
                <a:lnTo>
                  <a:pt x="211" y="279"/>
                </a:lnTo>
                <a:lnTo>
                  <a:pt x="239" y="279"/>
                </a:lnTo>
                <a:lnTo>
                  <a:pt x="239" y="310"/>
                </a:lnTo>
                <a:close/>
                <a:moveTo>
                  <a:pt x="197" y="310"/>
                </a:moveTo>
                <a:lnTo>
                  <a:pt x="169" y="310"/>
                </a:lnTo>
                <a:lnTo>
                  <a:pt x="169" y="279"/>
                </a:lnTo>
                <a:lnTo>
                  <a:pt x="197" y="279"/>
                </a:lnTo>
                <a:lnTo>
                  <a:pt x="197" y="310"/>
                </a:lnTo>
                <a:close/>
                <a:moveTo>
                  <a:pt x="155" y="310"/>
                </a:moveTo>
                <a:lnTo>
                  <a:pt x="127" y="310"/>
                </a:lnTo>
                <a:lnTo>
                  <a:pt x="127" y="279"/>
                </a:lnTo>
                <a:lnTo>
                  <a:pt x="155" y="279"/>
                </a:lnTo>
                <a:lnTo>
                  <a:pt x="155" y="310"/>
                </a:lnTo>
                <a:close/>
                <a:moveTo>
                  <a:pt x="673" y="279"/>
                </a:moveTo>
                <a:lnTo>
                  <a:pt x="704" y="279"/>
                </a:lnTo>
                <a:lnTo>
                  <a:pt x="704" y="310"/>
                </a:lnTo>
                <a:lnTo>
                  <a:pt x="704" y="311"/>
                </a:lnTo>
                <a:lnTo>
                  <a:pt x="704" y="706"/>
                </a:lnTo>
                <a:lnTo>
                  <a:pt x="0" y="706"/>
                </a:lnTo>
                <a:lnTo>
                  <a:pt x="0" y="310"/>
                </a:lnTo>
                <a:lnTo>
                  <a:pt x="0" y="310"/>
                </a:lnTo>
                <a:lnTo>
                  <a:pt x="0" y="279"/>
                </a:lnTo>
                <a:lnTo>
                  <a:pt x="29" y="279"/>
                </a:lnTo>
                <a:lnTo>
                  <a:pt x="29" y="313"/>
                </a:lnTo>
                <a:lnTo>
                  <a:pt x="29" y="313"/>
                </a:lnTo>
                <a:lnTo>
                  <a:pt x="29" y="675"/>
                </a:lnTo>
                <a:lnTo>
                  <a:pt x="673" y="675"/>
                </a:lnTo>
                <a:lnTo>
                  <a:pt x="673" y="311"/>
                </a:lnTo>
                <a:lnTo>
                  <a:pt x="673" y="310"/>
                </a:lnTo>
                <a:lnTo>
                  <a:pt x="673" y="279"/>
                </a:lnTo>
                <a:close/>
                <a:moveTo>
                  <a:pt x="673" y="162"/>
                </a:moveTo>
                <a:lnTo>
                  <a:pt x="704" y="162"/>
                </a:lnTo>
                <a:lnTo>
                  <a:pt x="704" y="188"/>
                </a:lnTo>
                <a:lnTo>
                  <a:pt x="673" y="188"/>
                </a:lnTo>
                <a:lnTo>
                  <a:pt x="673" y="162"/>
                </a:lnTo>
                <a:close/>
                <a:moveTo>
                  <a:pt x="673" y="82"/>
                </a:moveTo>
                <a:lnTo>
                  <a:pt x="704" y="82"/>
                </a:lnTo>
                <a:lnTo>
                  <a:pt x="704" y="108"/>
                </a:lnTo>
                <a:lnTo>
                  <a:pt x="673" y="108"/>
                </a:lnTo>
                <a:lnTo>
                  <a:pt x="673" y="82"/>
                </a:lnTo>
                <a:close/>
                <a:moveTo>
                  <a:pt x="673" y="121"/>
                </a:moveTo>
                <a:lnTo>
                  <a:pt x="704" y="121"/>
                </a:lnTo>
                <a:lnTo>
                  <a:pt x="704" y="148"/>
                </a:lnTo>
                <a:lnTo>
                  <a:pt x="673" y="148"/>
                </a:lnTo>
                <a:lnTo>
                  <a:pt x="673" y="121"/>
                </a:lnTo>
                <a:close/>
                <a:moveTo>
                  <a:pt x="673" y="201"/>
                </a:moveTo>
                <a:lnTo>
                  <a:pt x="704" y="201"/>
                </a:lnTo>
                <a:lnTo>
                  <a:pt x="704" y="228"/>
                </a:lnTo>
                <a:lnTo>
                  <a:pt x="673" y="228"/>
                </a:lnTo>
                <a:lnTo>
                  <a:pt x="673" y="201"/>
                </a:lnTo>
                <a:close/>
                <a:moveTo>
                  <a:pt x="673" y="42"/>
                </a:moveTo>
                <a:lnTo>
                  <a:pt x="704" y="42"/>
                </a:lnTo>
                <a:lnTo>
                  <a:pt x="704" y="69"/>
                </a:lnTo>
                <a:lnTo>
                  <a:pt x="673" y="69"/>
                </a:lnTo>
                <a:lnTo>
                  <a:pt x="673" y="42"/>
                </a:lnTo>
                <a:close/>
                <a:moveTo>
                  <a:pt x="673" y="241"/>
                </a:moveTo>
                <a:lnTo>
                  <a:pt x="704" y="241"/>
                </a:lnTo>
                <a:lnTo>
                  <a:pt x="704" y="267"/>
                </a:lnTo>
                <a:lnTo>
                  <a:pt x="673" y="267"/>
                </a:lnTo>
                <a:lnTo>
                  <a:pt x="673" y="241"/>
                </a:lnTo>
                <a:close/>
              </a:path>
            </a:pathLst>
          </a:custGeom>
          <a:solidFill>
            <a:srgbClr val="297FD5"/>
          </a:solidFill>
          <a:ln>
            <a:noFill/>
          </a:ln>
        </p:spPr>
        <p:txBody>
          <a:bodyPr vert="horz" wrap="square" lIns="91440" tIns="45720" rIns="91440" bIns="45720" numCol="1" anchor="t" anchorCtr="0" compatLnSpc="1">
            <a:prstTxWarp prst="textNoShape">
              <a:avLst/>
            </a:prstTxWarp>
          </a:bodyPr>
          <a:lstStyle/>
          <a:p>
            <a:endParaRPr lang="ja-JP" altLang="en-US" b="1"/>
          </a:p>
        </p:txBody>
      </p:sp>
      <p:sp>
        <p:nvSpPr>
          <p:cNvPr id="46" name="Freeform 65">
            <a:extLst>
              <a:ext uri="{FF2B5EF4-FFF2-40B4-BE49-F238E27FC236}">
                <a16:creationId xmlns:a16="http://schemas.microsoft.com/office/drawing/2014/main" id="{10688F3A-6443-43ED-8C6E-6E9640755D50}"/>
              </a:ext>
            </a:extLst>
          </p:cNvPr>
          <p:cNvSpPr>
            <a:spLocks noChangeAspect="1" noEditPoints="1"/>
          </p:cNvSpPr>
          <p:nvPr/>
        </p:nvSpPr>
        <p:spPr bwMode="auto">
          <a:xfrm>
            <a:off x="4413170" y="3319735"/>
            <a:ext cx="455905" cy="457200"/>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endParaRPr lang="ja-JP" altLang="en-US" sz="700">
              <a:solidFill>
                <a:schemeClr val="accent1"/>
              </a:solidFill>
            </a:endParaRPr>
          </a:p>
        </p:txBody>
      </p:sp>
      <p:sp>
        <p:nvSpPr>
          <p:cNvPr id="47" name="Graphic 79">
            <a:extLst>
              <a:ext uri="{FF2B5EF4-FFF2-40B4-BE49-F238E27FC236}">
                <a16:creationId xmlns:a16="http://schemas.microsoft.com/office/drawing/2014/main" id="{1A325EFF-28F1-4B21-AA87-2139E8A6F1F6}"/>
              </a:ext>
            </a:extLst>
          </p:cNvPr>
          <p:cNvSpPr/>
          <p:nvPr/>
        </p:nvSpPr>
        <p:spPr>
          <a:xfrm>
            <a:off x="3827599" y="508014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8150 w 457200"/>
              <a:gd name="connsiteY4" fmla="*/ 437134 h 457200"/>
              <a:gd name="connsiteX5" fmla="*/ 20066 w 457200"/>
              <a:gd name="connsiteY5" fmla="*/ 437134 h 457200"/>
              <a:gd name="connsiteX6" fmla="*/ 20066 w 457200"/>
              <a:gd name="connsiteY6" fmla="*/ 19209 h 457200"/>
              <a:gd name="connsiteX7" fmla="*/ 438150 w 457200"/>
              <a:gd name="connsiteY7" fmla="*/ 19209 h 457200"/>
              <a:gd name="connsiteX8" fmla="*/ 438150 w 457200"/>
              <a:gd name="connsiteY8" fmla="*/ 437134 h 457200"/>
              <a:gd name="connsiteX9" fmla="*/ 280099 w 457200"/>
              <a:gd name="connsiteY9" fmla="*/ 253270 h 457200"/>
              <a:gd name="connsiteX10" fmla="*/ 280099 w 457200"/>
              <a:gd name="connsiteY10" fmla="*/ 274542 h 457200"/>
              <a:gd name="connsiteX11" fmla="*/ 270574 w 457200"/>
              <a:gd name="connsiteY11" fmla="*/ 282416 h 457200"/>
              <a:gd name="connsiteX12" fmla="*/ 249396 w 457200"/>
              <a:gd name="connsiteY12" fmla="*/ 281623 h 457200"/>
              <a:gd name="connsiteX13" fmla="*/ 236220 w 457200"/>
              <a:gd name="connsiteY13" fmla="*/ 324898 h 457200"/>
              <a:gd name="connsiteX14" fmla="*/ 254222 w 457200"/>
              <a:gd name="connsiteY14" fmla="*/ 335915 h 457200"/>
              <a:gd name="connsiteX15" fmla="*/ 255016 w 457200"/>
              <a:gd name="connsiteY15" fmla="*/ 341440 h 457200"/>
              <a:gd name="connsiteX16" fmla="*/ 257366 w 457200"/>
              <a:gd name="connsiteY16" fmla="*/ 348520 h 457200"/>
              <a:gd name="connsiteX17" fmla="*/ 244666 w 457200"/>
              <a:gd name="connsiteY17" fmla="*/ 365824 h 457200"/>
              <a:gd name="connsiteX18" fmla="*/ 275241 w 457200"/>
              <a:gd name="connsiteY18" fmla="*/ 398875 h 457200"/>
              <a:gd name="connsiteX19" fmla="*/ 293243 w 457200"/>
              <a:gd name="connsiteY19" fmla="*/ 389350 h 457200"/>
              <a:gd name="connsiteX20" fmla="*/ 305943 w 457200"/>
              <a:gd name="connsiteY20" fmla="*/ 392525 h 457200"/>
              <a:gd name="connsiteX21" fmla="*/ 315468 w 457200"/>
              <a:gd name="connsiteY21" fmla="*/ 411417 h 457200"/>
              <a:gd name="connsiteX22" fmla="*/ 359347 w 457200"/>
              <a:gd name="connsiteY22" fmla="*/ 401892 h 457200"/>
              <a:gd name="connsiteX23" fmla="*/ 359347 w 457200"/>
              <a:gd name="connsiteY23" fmla="*/ 380619 h 457200"/>
              <a:gd name="connsiteX24" fmla="*/ 369507 w 457200"/>
              <a:gd name="connsiteY24" fmla="*/ 371983 h 457200"/>
              <a:gd name="connsiteX25" fmla="*/ 389890 w 457200"/>
              <a:gd name="connsiteY25" fmla="*/ 373539 h 457200"/>
              <a:gd name="connsiteX26" fmla="*/ 403987 w 457200"/>
              <a:gd name="connsiteY26" fmla="*/ 330264 h 457200"/>
              <a:gd name="connsiteX27" fmla="*/ 385985 w 457200"/>
              <a:gd name="connsiteY27" fmla="*/ 319246 h 457200"/>
              <a:gd name="connsiteX28" fmla="*/ 385191 w 457200"/>
              <a:gd name="connsiteY28" fmla="*/ 312896 h 457200"/>
              <a:gd name="connsiteX29" fmla="*/ 382842 w 457200"/>
              <a:gd name="connsiteY29" fmla="*/ 306546 h 457200"/>
              <a:gd name="connsiteX30" fmla="*/ 394589 w 457200"/>
              <a:gd name="connsiteY30" fmla="*/ 289243 h 457200"/>
              <a:gd name="connsiteX31" fmla="*/ 364046 w 457200"/>
              <a:gd name="connsiteY31" fmla="*/ 255397 h 457200"/>
              <a:gd name="connsiteX32" fmla="*/ 346012 w 457200"/>
              <a:gd name="connsiteY32" fmla="*/ 265621 h 457200"/>
              <a:gd name="connsiteX33" fmla="*/ 334264 w 457200"/>
              <a:gd name="connsiteY33" fmla="*/ 262446 h 457200"/>
              <a:gd name="connsiteX34" fmla="*/ 324739 w 457200"/>
              <a:gd name="connsiteY34" fmla="*/ 243396 h 457200"/>
              <a:gd name="connsiteX35" fmla="*/ 280099 w 457200"/>
              <a:gd name="connsiteY35" fmla="*/ 252921 h 457200"/>
              <a:gd name="connsiteX36" fmla="*/ 339725 w 457200"/>
              <a:gd name="connsiteY36" fmla="*/ 283972 h 457200"/>
              <a:gd name="connsiteX37" fmla="*/ 346075 w 457200"/>
              <a:gd name="connsiteY37" fmla="*/ 286353 h 457200"/>
              <a:gd name="connsiteX38" fmla="*/ 359982 w 457200"/>
              <a:gd name="connsiteY38" fmla="*/ 279400 h 457200"/>
              <a:gd name="connsiteX39" fmla="*/ 371729 w 457200"/>
              <a:gd name="connsiteY39" fmla="*/ 291211 h 457200"/>
              <a:gd name="connsiteX40" fmla="*/ 362204 w 457200"/>
              <a:gd name="connsiteY40" fmla="*/ 304610 h 457200"/>
              <a:gd name="connsiteX41" fmla="*/ 364554 w 457200"/>
              <a:gd name="connsiteY41" fmla="*/ 311690 h 457200"/>
              <a:gd name="connsiteX42" fmla="*/ 366903 w 457200"/>
              <a:gd name="connsiteY42" fmla="*/ 318040 h 457200"/>
              <a:gd name="connsiteX43" fmla="*/ 367697 w 457200"/>
              <a:gd name="connsiteY43" fmla="*/ 323564 h 457200"/>
              <a:gd name="connsiteX44" fmla="*/ 368491 w 457200"/>
              <a:gd name="connsiteY44" fmla="*/ 330645 h 457200"/>
              <a:gd name="connsiteX45" fmla="*/ 381794 w 457200"/>
              <a:gd name="connsiteY45" fmla="*/ 338519 h 457200"/>
              <a:gd name="connsiteX46" fmla="*/ 376301 w 457200"/>
              <a:gd name="connsiteY46" fmla="*/ 354394 h 457200"/>
              <a:gd name="connsiteX47" fmla="*/ 360648 w 457200"/>
              <a:gd name="connsiteY47" fmla="*/ 354394 h 457200"/>
              <a:gd name="connsiteX48" fmla="*/ 356076 w 457200"/>
              <a:gd name="connsiteY48" fmla="*/ 358775 h 457200"/>
              <a:gd name="connsiteX49" fmla="*/ 347472 w 457200"/>
              <a:gd name="connsiteY49" fmla="*/ 367443 h 457200"/>
              <a:gd name="connsiteX50" fmla="*/ 341122 w 457200"/>
              <a:gd name="connsiteY50" fmla="*/ 371380 h 457200"/>
              <a:gd name="connsiteX51" fmla="*/ 340328 w 457200"/>
              <a:gd name="connsiteY51" fmla="*/ 387255 h 457200"/>
              <a:gd name="connsiteX52" fmla="*/ 324676 w 457200"/>
              <a:gd name="connsiteY52" fmla="*/ 390430 h 457200"/>
              <a:gd name="connsiteX53" fmla="*/ 318326 w 457200"/>
              <a:gd name="connsiteY53" fmla="*/ 376269 h 457200"/>
              <a:gd name="connsiteX54" fmla="*/ 311277 w 457200"/>
              <a:gd name="connsiteY54" fmla="*/ 374682 h 457200"/>
              <a:gd name="connsiteX55" fmla="*/ 299530 w 457200"/>
              <a:gd name="connsiteY55" fmla="*/ 371507 h 457200"/>
              <a:gd name="connsiteX56" fmla="*/ 293180 w 457200"/>
              <a:gd name="connsiteY56" fmla="*/ 368332 h 457200"/>
              <a:gd name="connsiteX57" fmla="*/ 279400 w 457200"/>
              <a:gd name="connsiteY57" fmla="*/ 376079 h 457200"/>
              <a:gd name="connsiteX58" fmla="*/ 268446 w 457200"/>
              <a:gd name="connsiteY58" fmla="*/ 364268 h 457200"/>
              <a:gd name="connsiteX59" fmla="*/ 277051 w 457200"/>
              <a:gd name="connsiteY59" fmla="*/ 350869 h 457200"/>
              <a:gd name="connsiteX60" fmla="*/ 274701 w 457200"/>
              <a:gd name="connsiteY60" fmla="*/ 343789 h 457200"/>
              <a:gd name="connsiteX61" fmla="*/ 273145 w 457200"/>
              <a:gd name="connsiteY61" fmla="*/ 337439 h 457200"/>
              <a:gd name="connsiteX62" fmla="*/ 272352 w 457200"/>
              <a:gd name="connsiteY62" fmla="*/ 331915 h 457200"/>
              <a:gd name="connsiteX63" fmla="*/ 271558 w 457200"/>
              <a:gd name="connsiteY63" fmla="*/ 324834 h 457200"/>
              <a:gd name="connsiteX64" fmla="*/ 258254 w 457200"/>
              <a:gd name="connsiteY64" fmla="*/ 316960 h 457200"/>
              <a:gd name="connsiteX65" fmla="*/ 262954 w 457200"/>
              <a:gd name="connsiteY65" fmla="*/ 300450 h 457200"/>
              <a:gd name="connsiteX66" fmla="*/ 278606 w 457200"/>
              <a:gd name="connsiteY66" fmla="*/ 301244 h 457200"/>
              <a:gd name="connsiteX67" fmla="*/ 283305 w 457200"/>
              <a:gd name="connsiteY67" fmla="*/ 296513 h 457200"/>
              <a:gd name="connsiteX68" fmla="*/ 291941 w 457200"/>
              <a:gd name="connsiteY68" fmla="*/ 287846 h 457200"/>
              <a:gd name="connsiteX69" fmla="*/ 298291 w 457200"/>
              <a:gd name="connsiteY69" fmla="*/ 283909 h 457200"/>
              <a:gd name="connsiteX70" fmla="*/ 299085 w 457200"/>
              <a:gd name="connsiteY70" fmla="*/ 268034 h 457200"/>
              <a:gd name="connsiteX71" fmla="*/ 314738 w 457200"/>
              <a:gd name="connsiteY71" fmla="*/ 264128 h 457200"/>
              <a:gd name="connsiteX72" fmla="*/ 321786 w 457200"/>
              <a:gd name="connsiteY72" fmla="*/ 279051 h 457200"/>
              <a:gd name="connsiteX73" fmla="*/ 328136 w 457200"/>
              <a:gd name="connsiteY73" fmla="*/ 279845 h 457200"/>
              <a:gd name="connsiteX74" fmla="*/ 339884 w 457200"/>
              <a:gd name="connsiteY74" fmla="*/ 283782 h 457200"/>
              <a:gd name="connsiteX75" fmla="*/ 289560 w 457200"/>
              <a:gd name="connsiteY75" fmla="*/ 327279 h 457200"/>
              <a:gd name="connsiteX76" fmla="*/ 320040 w 457200"/>
              <a:gd name="connsiteY76" fmla="*/ 357759 h 457200"/>
              <a:gd name="connsiteX77" fmla="*/ 350520 w 457200"/>
              <a:gd name="connsiteY77" fmla="*/ 327279 h 457200"/>
              <a:gd name="connsiteX78" fmla="*/ 320040 w 457200"/>
              <a:gd name="connsiteY78" fmla="*/ 296799 h 457200"/>
              <a:gd name="connsiteX79" fmla="*/ 289560 w 457200"/>
              <a:gd name="connsiteY79" fmla="*/ 327279 h 457200"/>
              <a:gd name="connsiteX80" fmla="*/ 331216 w 457200"/>
              <a:gd name="connsiteY80" fmla="*/ 327279 h 457200"/>
              <a:gd name="connsiteX81" fmla="*/ 321342 w 457200"/>
              <a:gd name="connsiteY81" fmla="*/ 338804 h 457200"/>
              <a:gd name="connsiteX82" fmla="*/ 320421 w 457200"/>
              <a:gd name="connsiteY82" fmla="*/ 338836 h 457200"/>
              <a:gd name="connsiteX83" fmla="*/ 308864 w 457200"/>
              <a:gd name="connsiteY83" fmla="*/ 327727 h 457200"/>
              <a:gd name="connsiteX84" fmla="*/ 308864 w 457200"/>
              <a:gd name="connsiteY84" fmla="*/ 327279 h 457200"/>
              <a:gd name="connsiteX85" fmla="*/ 320408 w 457200"/>
              <a:gd name="connsiteY85" fmla="*/ 316484 h 457200"/>
              <a:gd name="connsiteX86" fmla="*/ 320421 w 457200"/>
              <a:gd name="connsiteY86" fmla="*/ 316484 h 457200"/>
              <a:gd name="connsiteX87" fmla="*/ 331216 w 457200"/>
              <a:gd name="connsiteY87" fmla="*/ 326698 h 457200"/>
              <a:gd name="connsiteX88" fmla="*/ 331216 w 457200"/>
              <a:gd name="connsiteY88" fmla="*/ 327279 h 457200"/>
              <a:gd name="connsiteX89" fmla="*/ 289560 w 457200"/>
              <a:gd name="connsiteY89" fmla="*/ 194691 h 457200"/>
              <a:gd name="connsiteX90" fmla="*/ 194691 w 457200"/>
              <a:gd name="connsiteY90" fmla="*/ 99062 h 457200"/>
              <a:gd name="connsiteX91" fmla="*/ 99062 w 457200"/>
              <a:gd name="connsiteY91" fmla="*/ 193931 h 457200"/>
              <a:gd name="connsiteX92" fmla="*/ 193931 w 457200"/>
              <a:gd name="connsiteY92" fmla="*/ 289560 h 457200"/>
              <a:gd name="connsiteX93" fmla="*/ 194691 w 457200"/>
              <a:gd name="connsiteY93" fmla="*/ 289560 h 457200"/>
              <a:gd name="connsiteX94" fmla="*/ 289560 w 457200"/>
              <a:gd name="connsiteY94" fmla="*/ 194755 h 457200"/>
              <a:gd name="connsiteX95" fmla="*/ 289560 w 457200"/>
              <a:gd name="connsiteY95" fmla="*/ 194691 h 457200"/>
              <a:gd name="connsiteX96" fmla="*/ 194691 w 457200"/>
              <a:gd name="connsiteY96" fmla="*/ 269875 h 457200"/>
              <a:gd name="connsiteX97" fmla="*/ 119414 w 457200"/>
              <a:gd name="connsiteY97" fmla="*/ 193833 h 457200"/>
              <a:gd name="connsiteX98" fmla="*/ 195456 w 457200"/>
              <a:gd name="connsiteY98" fmla="*/ 118556 h 457200"/>
              <a:gd name="connsiteX99" fmla="*/ 270733 w 457200"/>
              <a:gd name="connsiteY99" fmla="*/ 194598 h 457200"/>
              <a:gd name="connsiteX100" fmla="*/ 270732 w 457200"/>
              <a:gd name="connsiteY100" fmla="*/ 194691 h 457200"/>
              <a:gd name="connsiteX101" fmla="*/ 194691 w 457200"/>
              <a:gd name="connsiteY101" fmla="*/ 269875 h 457200"/>
              <a:gd name="connsiteX102" fmla="*/ 198120 w 457200"/>
              <a:gd name="connsiteY102" fmla="*/ 335280 h 457200"/>
              <a:gd name="connsiteX103" fmla="*/ 60961 w 457200"/>
              <a:gd name="connsiteY103" fmla="*/ 198119 h 457200"/>
              <a:gd name="connsiteX104" fmla="*/ 198121 w 457200"/>
              <a:gd name="connsiteY104" fmla="*/ 60960 h 457200"/>
              <a:gd name="connsiteX105" fmla="*/ 335280 w 457200"/>
              <a:gd name="connsiteY105" fmla="*/ 198121 h 457200"/>
              <a:gd name="connsiteX106" fmla="*/ 335280 w 457200"/>
              <a:gd name="connsiteY106" fmla="*/ 198533 h 457200"/>
              <a:gd name="connsiteX107" fmla="*/ 332105 w 457200"/>
              <a:gd name="connsiteY107" fmla="*/ 224758 h 457200"/>
              <a:gd name="connsiteX108" fmla="*/ 312293 w 457200"/>
              <a:gd name="connsiteY108" fmla="*/ 224758 h 457200"/>
              <a:gd name="connsiteX109" fmla="*/ 315468 w 457200"/>
              <a:gd name="connsiteY109" fmla="*/ 198533 h 457200"/>
              <a:gd name="connsiteX110" fmla="*/ 197803 w 457200"/>
              <a:gd name="connsiteY110" fmla="*/ 81249 h 457200"/>
              <a:gd name="connsiteX111" fmla="*/ 80518 w 457200"/>
              <a:gd name="connsiteY111" fmla="*/ 198914 h 457200"/>
              <a:gd name="connsiteX112" fmla="*/ 197993 w 457200"/>
              <a:gd name="connsiteY112" fmla="*/ 316198 h 457200"/>
              <a:gd name="connsiteX113" fmla="*/ 220980 w 457200"/>
              <a:gd name="connsiteY113" fmla="*/ 313817 h 457200"/>
              <a:gd name="connsiteX114" fmla="*/ 220980 w 457200"/>
              <a:gd name="connsiteY114" fmla="*/ 333693 h 457200"/>
              <a:gd name="connsiteX115" fmla="*/ 197993 w 457200"/>
              <a:gd name="connsiteY115" fmla="*/ 335280 h 457200"/>
              <a:gd name="connsiteX116" fmla="*/ 188817 w 457200"/>
              <a:gd name="connsiteY116" fmla="*/ 219297 h 457200"/>
              <a:gd name="connsiteX117" fmla="*/ 185420 w 457200"/>
              <a:gd name="connsiteY117" fmla="*/ 211900 h 457200"/>
              <a:gd name="connsiteX118" fmla="*/ 185420 w 457200"/>
              <a:gd name="connsiteY118" fmla="*/ 211265 h 457200"/>
              <a:gd name="connsiteX119" fmla="*/ 168275 w 457200"/>
              <a:gd name="connsiteY119" fmla="*/ 212979 h 457200"/>
              <a:gd name="connsiteX120" fmla="*/ 168275 w 457200"/>
              <a:gd name="connsiteY120" fmla="*/ 213709 h 457200"/>
              <a:gd name="connsiteX121" fmla="*/ 176657 w 457200"/>
              <a:gd name="connsiteY121" fmla="*/ 231045 h 457200"/>
              <a:gd name="connsiteX122" fmla="*/ 193072 w 457200"/>
              <a:gd name="connsiteY122" fmla="*/ 238347 h 457200"/>
              <a:gd name="connsiteX123" fmla="*/ 193072 w 457200"/>
              <a:gd name="connsiteY123" fmla="*/ 248539 h 457200"/>
              <a:gd name="connsiteX124" fmla="*/ 203168 w 457200"/>
              <a:gd name="connsiteY124" fmla="*/ 248539 h 457200"/>
              <a:gd name="connsiteX125" fmla="*/ 203168 w 457200"/>
              <a:gd name="connsiteY125" fmla="*/ 238125 h 457200"/>
              <a:gd name="connsiteX126" fmla="*/ 221012 w 457200"/>
              <a:gd name="connsiteY126" fmla="*/ 229521 h 457200"/>
              <a:gd name="connsiteX127" fmla="*/ 227679 w 457200"/>
              <a:gd name="connsiteY127" fmla="*/ 212122 h 457200"/>
              <a:gd name="connsiteX128" fmla="*/ 222568 w 457200"/>
              <a:gd name="connsiteY128" fmla="*/ 196850 h 457200"/>
              <a:gd name="connsiteX129" fmla="*/ 203518 w 457200"/>
              <a:gd name="connsiteY129" fmla="*/ 187325 h 457200"/>
              <a:gd name="connsiteX130" fmla="*/ 203518 w 457200"/>
              <a:gd name="connsiteY130" fmla="*/ 167323 h 457200"/>
              <a:gd name="connsiteX131" fmla="*/ 209137 w 457200"/>
              <a:gd name="connsiteY131" fmla="*/ 175228 h 457200"/>
              <a:gd name="connsiteX132" fmla="*/ 209137 w 457200"/>
              <a:gd name="connsiteY132" fmla="*/ 175863 h 457200"/>
              <a:gd name="connsiteX133" fmla="*/ 225616 w 457200"/>
              <a:gd name="connsiteY133" fmla="*/ 173863 h 457200"/>
              <a:gd name="connsiteX134" fmla="*/ 225616 w 457200"/>
              <a:gd name="connsiteY134" fmla="*/ 173133 h 457200"/>
              <a:gd name="connsiteX135" fmla="*/ 218281 w 457200"/>
              <a:gd name="connsiteY135" fmla="*/ 159417 h 457200"/>
              <a:gd name="connsiteX136" fmla="*/ 203518 w 457200"/>
              <a:gd name="connsiteY136" fmla="*/ 153289 h 457200"/>
              <a:gd name="connsiteX137" fmla="*/ 203518 w 457200"/>
              <a:gd name="connsiteY137" fmla="*/ 147701 h 457200"/>
              <a:gd name="connsiteX138" fmla="*/ 193262 w 457200"/>
              <a:gd name="connsiteY138" fmla="*/ 147701 h 457200"/>
              <a:gd name="connsiteX139" fmla="*/ 193262 w 457200"/>
              <a:gd name="connsiteY139" fmla="*/ 153257 h 457200"/>
              <a:gd name="connsiteX140" fmla="*/ 177165 w 457200"/>
              <a:gd name="connsiteY140" fmla="*/ 160560 h 457200"/>
              <a:gd name="connsiteX141" fmla="*/ 170815 w 457200"/>
              <a:gd name="connsiteY141" fmla="*/ 176435 h 457200"/>
              <a:gd name="connsiteX142" fmla="*/ 176371 w 457200"/>
              <a:gd name="connsiteY142" fmla="*/ 192310 h 457200"/>
              <a:gd name="connsiteX143" fmla="*/ 193231 w 457200"/>
              <a:gd name="connsiteY143" fmla="*/ 201835 h 457200"/>
              <a:gd name="connsiteX144" fmla="*/ 193231 w 457200"/>
              <a:gd name="connsiteY144" fmla="*/ 223425 h 457200"/>
              <a:gd name="connsiteX145" fmla="*/ 188817 w 457200"/>
              <a:gd name="connsiteY145" fmla="*/ 219297 h 457200"/>
              <a:gd name="connsiteX146" fmla="*/ 203359 w 457200"/>
              <a:gd name="connsiteY146" fmla="*/ 204438 h 457200"/>
              <a:gd name="connsiteX147" fmla="*/ 209709 w 457200"/>
              <a:gd name="connsiteY147" fmla="*/ 208058 h 457200"/>
              <a:gd name="connsiteX148" fmla="*/ 211868 w 457200"/>
              <a:gd name="connsiteY148" fmla="*/ 214059 h 457200"/>
              <a:gd name="connsiteX149" fmla="*/ 209264 w 457200"/>
              <a:gd name="connsiteY149" fmla="*/ 220853 h 457200"/>
              <a:gd name="connsiteX150" fmla="*/ 203359 w 457200"/>
              <a:gd name="connsiteY150" fmla="*/ 224282 h 457200"/>
              <a:gd name="connsiteX151" fmla="*/ 188913 w 457200"/>
              <a:gd name="connsiteY151" fmla="*/ 180753 h 457200"/>
              <a:gd name="connsiteX152" fmla="*/ 187135 w 457200"/>
              <a:gd name="connsiteY152" fmla="*/ 175705 h 457200"/>
              <a:gd name="connsiteX153" fmla="*/ 189071 w 457200"/>
              <a:gd name="connsiteY153" fmla="*/ 170212 h 457200"/>
              <a:gd name="connsiteX154" fmla="*/ 193262 w 457200"/>
              <a:gd name="connsiteY154" fmla="*/ 167037 h 457200"/>
              <a:gd name="connsiteX155" fmla="*/ 193262 w 457200"/>
              <a:gd name="connsiteY155" fmla="*/ 184150 h 457200"/>
              <a:gd name="connsiteX156" fmla="*/ 188913 w 457200"/>
              <a:gd name="connsiteY156" fmla="*/ 180753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57200" h="457200">
                <a:moveTo>
                  <a:pt x="0" y="0"/>
                </a:moveTo>
                <a:lnTo>
                  <a:pt x="0" y="457200"/>
                </a:lnTo>
                <a:lnTo>
                  <a:pt x="457200" y="457200"/>
                </a:lnTo>
                <a:lnTo>
                  <a:pt x="457200" y="0"/>
                </a:lnTo>
                <a:close/>
                <a:moveTo>
                  <a:pt x="438150" y="437134"/>
                </a:moveTo>
                <a:lnTo>
                  <a:pt x="20066" y="437134"/>
                </a:lnTo>
                <a:lnTo>
                  <a:pt x="20066" y="19209"/>
                </a:lnTo>
                <a:lnTo>
                  <a:pt x="438150" y="19209"/>
                </a:lnTo>
                <a:lnTo>
                  <a:pt x="438150" y="437134"/>
                </a:lnTo>
                <a:close/>
                <a:moveTo>
                  <a:pt x="280099" y="253270"/>
                </a:moveTo>
                <a:lnTo>
                  <a:pt x="280099" y="274542"/>
                </a:lnTo>
                <a:cubicBezTo>
                  <a:pt x="276748" y="276946"/>
                  <a:pt x="273565" y="279577"/>
                  <a:pt x="270574" y="282416"/>
                </a:cubicBezTo>
                <a:lnTo>
                  <a:pt x="249396" y="281623"/>
                </a:lnTo>
                <a:lnTo>
                  <a:pt x="236220" y="324898"/>
                </a:lnTo>
                <a:lnTo>
                  <a:pt x="254222" y="335915"/>
                </a:lnTo>
                <a:cubicBezTo>
                  <a:pt x="254222" y="337503"/>
                  <a:pt x="255016" y="339852"/>
                  <a:pt x="255016" y="341440"/>
                </a:cubicBezTo>
                <a:lnTo>
                  <a:pt x="257366" y="348520"/>
                </a:lnTo>
                <a:lnTo>
                  <a:pt x="244666" y="365824"/>
                </a:lnTo>
                <a:lnTo>
                  <a:pt x="275241" y="398875"/>
                </a:lnTo>
                <a:lnTo>
                  <a:pt x="293243" y="389350"/>
                </a:lnTo>
                <a:cubicBezTo>
                  <a:pt x="297942" y="390144"/>
                  <a:pt x="301879" y="391700"/>
                  <a:pt x="305943" y="392525"/>
                </a:cubicBezTo>
                <a:lnTo>
                  <a:pt x="315468" y="411417"/>
                </a:lnTo>
                <a:lnTo>
                  <a:pt x="359347" y="401892"/>
                </a:lnTo>
                <a:lnTo>
                  <a:pt x="359347" y="380619"/>
                </a:lnTo>
                <a:cubicBezTo>
                  <a:pt x="363083" y="378177"/>
                  <a:pt x="366497" y="375275"/>
                  <a:pt x="369507" y="371983"/>
                </a:cubicBezTo>
                <a:lnTo>
                  <a:pt x="389890" y="373539"/>
                </a:lnTo>
                <a:lnTo>
                  <a:pt x="403987" y="330264"/>
                </a:lnTo>
                <a:lnTo>
                  <a:pt x="385985" y="319246"/>
                </a:lnTo>
                <a:cubicBezTo>
                  <a:pt x="385985" y="317659"/>
                  <a:pt x="385191" y="315309"/>
                  <a:pt x="385191" y="312896"/>
                </a:cubicBezTo>
                <a:cubicBezTo>
                  <a:pt x="384277" y="310831"/>
                  <a:pt x="383489" y="308710"/>
                  <a:pt x="382842" y="306546"/>
                </a:cubicBezTo>
                <a:lnTo>
                  <a:pt x="394589" y="289243"/>
                </a:lnTo>
                <a:lnTo>
                  <a:pt x="364046" y="255397"/>
                </a:lnTo>
                <a:lnTo>
                  <a:pt x="346012" y="265621"/>
                </a:lnTo>
                <a:cubicBezTo>
                  <a:pt x="342170" y="264306"/>
                  <a:pt x="338245" y="263245"/>
                  <a:pt x="334264" y="262446"/>
                </a:cubicBezTo>
                <a:lnTo>
                  <a:pt x="324739" y="243396"/>
                </a:lnTo>
                <a:lnTo>
                  <a:pt x="280099" y="252921"/>
                </a:lnTo>
                <a:close/>
                <a:moveTo>
                  <a:pt x="339725" y="283972"/>
                </a:moveTo>
                <a:lnTo>
                  <a:pt x="346075" y="286353"/>
                </a:lnTo>
                <a:lnTo>
                  <a:pt x="359982" y="279400"/>
                </a:lnTo>
                <a:lnTo>
                  <a:pt x="371729" y="291211"/>
                </a:lnTo>
                <a:lnTo>
                  <a:pt x="362204" y="304610"/>
                </a:lnTo>
                <a:lnTo>
                  <a:pt x="364554" y="311690"/>
                </a:lnTo>
                <a:cubicBezTo>
                  <a:pt x="365347" y="314039"/>
                  <a:pt x="366141" y="315627"/>
                  <a:pt x="366903" y="318040"/>
                </a:cubicBezTo>
                <a:cubicBezTo>
                  <a:pt x="366874" y="319913"/>
                  <a:pt x="367141" y="321777"/>
                  <a:pt x="367697" y="323564"/>
                </a:cubicBezTo>
                <a:lnTo>
                  <a:pt x="368491" y="330645"/>
                </a:lnTo>
                <a:lnTo>
                  <a:pt x="381794" y="338519"/>
                </a:lnTo>
                <a:lnTo>
                  <a:pt x="376301" y="354394"/>
                </a:lnTo>
                <a:lnTo>
                  <a:pt x="360648" y="354394"/>
                </a:lnTo>
                <a:lnTo>
                  <a:pt x="356076" y="358775"/>
                </a:lnTo>
                <a:cubicBezTo>
                  <a:pt x="353603" y="362033"/>
                  <a:pt x="350711" y="364947"/>
                  <a:pt x="347472" y="367443"/>
                </a:cubicBezTo>
                <a:lnTo>
                  <a:pt x="341122" y="371380"/>
                </a:lnTo>
                <a:lnTo>
                  <a:pt x="340328" y="387255"/>
                </a:lnTo>
                <a:lnTo>
                  <a:pt x="324676" y="390430"/>
                </a:lnTo>
                <a:lnTo>
                  <a:pt x="318326" y="376269"/>
                </a:lnTo>
                <a:lnTo>
                  <a:pt x="311277" y="374682"/>
                </a:lnTo>
                <a:cubicBezTo>
                  <a:pt x="307182" y="374460"/>
                  <a:pt x="303179" y="373380"/>
                  <a:pt x="299530" y="371507"/>
                </a:cubicBezTo>
                <a:lnTo>
                  <a:pt x="293180" y="368332"/>
                </a:lnTo>
                <a:lnTo>
                  <a:pt x="279400" y="376079"/>
                </a:lnTo>
                <a:lnTo>
                  <a:pt x="268446" y="364268"/>
                </a:lnTo>
                <a:lnTo>
                  <a:pt x="277051" y="350869"/>
                </a:lnTo>
                <a:lnTo>
                  <a:pt x="274701" y="343789"/>
                </a:lnTo>
                <a:cubicBezTo>
                  <a:pt x="274552" y="341598"/>
                  <a:pt x="274026" y="339449"/>
                  <a:pt x="273145" y="337439"/>
                </a:cubicBezTo>
                <a:cubicBezTo>
                  <a:pt x="273221" y="335566"/>
                  <a:pt x="272952" y="333693"/>
                  <a:pt x="272352" y="331915"/>
                </a:cubicBezTo>
                <a:lnTo>
                  <a:pt x="271558" y="324834"/>
                </a:lnTo>
                <a:lnTo>
                  <a:pt x="258254" y="316960"/>
                </a:lnTo>
                <a:lnTo>
                  <a:pt x="262954" y="300450"/>
                </a:lnTo>
                <a:lnTo>
                  <a:pt x="278606" y="301244"/>
                </a:lnTo>
                <a:lnTo>
                  <a:pt x="283305" y="296513"/>
                </a:lnTo>
                <a:lnTo>
                  <a:pt x="291941" y="287846"/>
                </a:lnTo>
                <a:lnTo>
                  <a:pt x="298291" y="283909"/>
                </a:lnTo>
                <a:lnTo>
                  <a:pt x="299085" y="268034"/>
                </a:lnTo>
                <a:lnTo>
                  <a:pt x="314738" y="264128"/>
                </a:lnTo>
                <a:lnTo>
                  <a:pt x="321786" y="279051"/>
                </a:lnTo>
                <a:lnTo>
                  <a:pt x="328136" y="279845"/>
                </a:lnTo>
                <a:cubicBezTo>
                  <a:pt x="332311" y="280201"/>
                  <a:pt x="336337" y="281551"/>
                  <a:pt x="339884" y="283782"/>
                </a:cubicBezTo>
                <a:close/>
                <a:moveTo>
                  <a:pt x="289560" y="327279"/>
                </a:moveTo>
                <a:cubicBezTo>
                  <a:pt x="289560" y="344113"/>
                  <a:pt x="303206" y="357759"/>
                  <a:pt x="320040" y="357759"/>
                </a:cubicBezTo>
                <a:cubicBezTo>
                  <a:pt x="336874" y="357759"/>
                  <a:pt x="350520" y="344113"/>
                  <a:pt x="350520" y="327279"/>
                </a:cubicBezTo>
                <a:cubicBezTo>
                  <a:pt x="350520" y="310445"/>
                  <a:pt x="336874" y="296799"/>
                  <a:pt x="320040" y="296799"/>
                </a:cubicBezTo>
                <a:cubicBezTo>
                  <a:pt x="303206" y="296799"/>
                  <a:pt x="289560" y="310445"/>
                  <a:pt x="289560" y="327279"/>
                </a:cubicBezTo>
                <a:close/>
                <a:moveTo>
                  <a:pt x="331216" y="327279"/>
                </a:moveTo>
                <a:cubicBezTo>
                  <a:pt x="331673" y="333188"/>
                  <a:pt x="327250" y="338347"/>
                  <a:pt x="321342" y="338804"/>
                </a:cubicBezTo>
                <a:cubicBezTo>
                  <a:pt x="321037" y="338830"/>
                  <a:pt x="320729" y="338839"/>
                  <a:pt x="320421" y="338836"/>
                </a:cubicBezTo>
                <a:cubicBezTo>
                  <a:pt x="314162" y="338960"/>
                  <a:pt x="308988" y="333988"/>
                  <a:pt x="308864" y="327727"/>
                </a:cubicBezTo>
                <a:cubicBezTo>
                  <a:pt x="308861" y="327577"/>
                  <a:pt x="308861" y="327428"/>
                  <a:pt x="308864" y="327279"/>
                </a:cubicBezTo>
                <a:cubicBezTo>
                  <a:pt x="309071" y="321110"/>
                  <a:pt x="314239" y="316277"/>
                  <a:pt x="320408" y="316484"/>
                </a:cubicBezTo>
                <a:cubicBezTo>
                  <a:pt x="320411" y="316484"/>
                  <a:pt x="320418" y="316484"/>
                  <a:pt x="320421" y="316484"/>
                </a:cubicBezTo>
                <a:cubicBezTo>
                  <a:pt x="326222" y="316324"/>
                  <a:pt x="331057" y="320897"/>
                  <a:pt x="331216" y="326698"/>
                </a:cubicBezTo>
                <a:cubicBezTo>
                  <a:pt x="331222" y="326892"/>
                  <a:pt x="331222" y="327085"/>
                  <a:pt x="331216" y="327279"/>
                </a:cubicBezTo>
                <a:close/>
                <a:moveTo>
                  <a:pt x="289560" y="194691"/>
                </a:moveTo>
                <a:cubicBezTo>
                  <a:pt x="289770" y="142086"/>
                  <a:pt x="247296" y="99271"/>
                  <a:pt x="194691" y="99062"/>
                </a:cubicBezTo>
                <a:cubicBezTo>
                  <a:pt x="142086" y="98851"/>
                  <a:pt x="99271" y="141326"/>
                  <a:pt x="99062" y="193931"/>
                </a:cubicBezTo>
                <a:cubicBezTo>
                  <a:pt x="98851" y="246535"/>
                  <a:pt x="141326" y="289350"/>
                  <a:pt x="193931" y="289560"/>
                </a:cubicBezTo>
                <a:cubicBezTo>
                  <a:pt x="194184" y="289561"/>
                  <a:pt x="194438" y="289561"/>
                  <a:pt x="194691" y="289560"/>
                </a:cubicBezTo>
                <a:cubicBezTo>
                  <a:pt x="247068" y="289577"/>
                  <a:pt x="289543" y="247132"/>
                  <a:pt x="289560" y="194755"/>
                </a:cubicBezTo>
                <a:cubicBezTo>
                  <a:pt x="289560" y="194733"/>
                  <a:pt x="289560" y="194712"/>
                  <a:pt x="289560" y="194691"/>
                </a:cubicBezTo>
                <a:close/>
                <a:moveTo>
                  <a:pt x="194691" y="269875"/>
                </a:moveTo>
                <a:cubicBezTo>
                  <a:pt x="152905" y="269664"/>
                  <a:pt x="119203" y="235619"/>
                  <a:pt x="119414" y="193833"/>
                </a:cubicBezTo>
                <a:cubicBezTo>
                  <a:pt x="119625" y="152048"/>
                  <a:pt x="153671" y="118345"/>
                  <a:pt x="195456" y="118556"/>
                </a:cubicBezTo>
                <a:cubicBezTo>
                  <a:pt x="237241" y="118768"/>
                  <a:pt x="270944" y="152813"/>
                  <a:pt x="270733" y="194598"/>
                </a:cubicBezTo>
                <a:cubicBezTo>
                  <a:pt x="270733" y="194629"/>
                  <a:pt x="270733" y="194660"/>
                  <a:pt x="270732" y="194691"/>
                </a:cubicBezTo>
                <a:cubicBezTo>
                  <a:pt x="270297" y="236367"/>
                  <a:pt x="236369" y="269912"/>
                  <a:pt x="194691" y="269875"/>
                </a:cubicBezTo>
                <a:close/>
                <a:moveTo>
                  <a:pt x="198120" y="335280"/>
                </a:moveTo>
                <a:cubicBezTo>
                  <a:pt x="122369" y="335280"/>
                  <a:pt x="60960" y="273871"/>
                  <a:pt x="60961" y="198119"/>
                </a:cubicBezTo>
                <a:cubicBezTo>
                  <a:pt x="60961" y="122368"/>
                  <a:pt x="122370" y="60960"/>
                  <a:pt x="198121" y="60960"/>
                </a:cubicBezTo>
                <a:cubicBezTo>
                  <a:pt x="273873" y="60960"/>
                  <a:pt x="335280" y="122369"/>
                  <a:pt x="335280" y="198121"/>
                </a:cubicBezTo>
                <a:cubicBezTo>
                  <a:pt x="335280" y="198258"/>
                  <a:pt x="335280" y="198395"/>
                  <a:pt x="335280" y="198533"/>
                </a:cubicBezTo>
                <a:cubicBezTo>
                  <a:pt x="335004" y="207352"/>
                  <a:pt x="333940" y="216128"/>
                  <a:pt x="332105" y="224758"/>
                </a:cubicBezTo>
                <a:lnTo>
                  <a:pt x="312293" y="224758"/>
                </a:lnTo>
                <a:cubicBezTo>
                  <a:pt x="314518" y="216197"/>
                  <a:pt x="315586" y="207377"/>
                  <a:pt x="315468" y="198533"/>
                </a:cubicBezTo>
                <a:cubicBezTo>
                  <a:pt x="315363" y="133653"/>
                  <a:pt x="262682" y="81143"/>
                  <a:pt x="197803" y="81249"/>
                </a:cubicBezTo>
                <a:cubicBezTo>
                  <a:pt x="132923" y="81354"/>
                  <a:pt x="80413" y="134034"/>
                  <a:pt x="80518" y="198914"/>
                </a:cubicBezTo>
                <a:cubicBezTo>
                  <a:pt x="80623" y="263719"/>
                  <a:pt x="133188" y="316198"/>
                  <a:pt x="197993" y="316198"/>
                </a:cubicBezTo>
                <a:cubicBezTo>
                  <a:pt x="205719" y="316233"/>
                  <a:pt x="213425" y="315435"/>
                  <a:pt x="220980" y="313817"/>
                </a:cubicBezTo>
                <a:lnTo>
                  <a:pt x="220980" y="333693"/>
                </a:lnTo>
                <a:cubicBezTo>
                  <a:pt x="213353" y="334645"/>
                  <a:pt x="205679" y="335175"/>
                  <a:pt x="197993" y="335280"/>
                </a:cubicBezTo>
                <a:close/>
                <a:moveTo>
                  <a:pt x="188817" y="219297"/>
                </a:moveTo>
                <a:cubicBezTo>
                  <a:pt x="187117" y="217134"/>
                  <a:pt x="185953" y="214599"/>
                  <a:pt x="185420" y="211900"/>
                </a:cubicBezTo>
                <a:lnTo>
                  <a:pt x="185420" y="211265"/>
                </a:lnTo>
                <a:lnTo>
                  <a:pt x="168275" y="212979"/>
                </a:lnTo>
                <a:lnTo>
                  <a:pt x="168275" y="213709"/>
                </a:lnTo>
                <a:cubicBezTo>
                  <a:pt x="169056" y="220261"/>
                  <a:pt x="172007" y="226364"/>
                  <a:pt x="176657" y="231045"/>
                </a:cubicBezTo>
                <a:cubicBezTo>
                  <a:pt x="181215" y="235160"/>
                  <a:pt x="186964" y="237717"/>
                  <a:pt x="193072" y="238347"/>
                </a:cubicBezTo>
                <a:lnTo>
                  <a:pt x="193072" y="248539"/>
                </a:lnTo>
                <a:lnTo>
                  <a:pt x="203168" y="248539"/>
                </a:lnTo>
                <a:lnTo>
                  <a:pt x="203168" y="238125"/>
                </a:lnTo>
                <a:cubicBezTo>
                  <a:pt x="209924" y="237377"/>
                  <a:pt x="216220" y="234341"/>
                  <a:pt x="221012" y="229521"/>
                </a:cubicBezTo>
                <a:cubicBezTo>
                  <a:pt x="225441" y="224827"/>
                  <a:pt x="227837" y="218574"/>
                  <a:pt x="227679" y="212122"/>
                </a:cubicBezTo>
                <a:cubicBezTo>
                  <a:pt x="227944" y="206571"/>
                  <a:pt x="226121" y="201123"/>
                  <a:pt x="222568" y="196850"/>
                </a:cubicBezTo>
                <a:cubicBezTo>
                  <a:pt x="219107" y="193008"/>
                  <a:pt x="212662" y="189833"/>
                  <a:pt x="203518" y="187325"/>
                </a:cubicBezTo>
                <a:lnTo>
                  <a:pt x="203518" y="167323"/>
                </a:lnTo>
                <a:cubicBezTo>
                  <a:pt x="206550" y="168905"/>
                  <a:pt x="208640" y="171845"/>
                  <a:pt x="209137" y="175228"/>
                </a:cubicBezTo>
                <a:lnTo>
                  <a:pt x="209137" y="175863"/>
                </a:lnTo>
                <a:lnTo>
                  <a:pt x="225616" y="173863"/>
                </a:lnTo>
                <a:lnTo>
                  <a:pt x="225616" y="173133"/>
                </a:lnTo>
                <a:cubicBezTo>
                  <a:pt x="224784" y="167865"/>
                  <a:pt x="222200" y="163033"/>
                  <a:pt x="218281" y="159417"/>
                </a:cubicBezTo>
                <a:cubicBezTo>
                  <a:pt x="214101" y="155914"/>
                  <a:pt x="208949" y="153776"/>
                  <a:pt x="203518" y="153289"/>
                </a:cubicBezTo>
                <a:lnTo>
                  <a:pt x="203518" y="147701"/>
                </a:lnTo>
                <a:lnTo>
                  <a:pt x="193262" y="147701"/>
                </a:lnTo>
                <a:lnTo>
                  <a:pt x="193262" y="153257"/>
                </a:lnTo>
                <a:cubicBezTo>
                  <a:pt x="187213" y="153755"/>
                  <a:pt x="181524" y="156336"/>
                  <a:pt x="177165" y="160560"/>
                </a:cubicBezTo>
                <a:cubicBezTo>
                  <a:pt x="172964" y="164758"/>
                  <a:pt x="170668" y="170497"/>
                  <a:pt x="170815" y="176435"/>
                </a:cubicBezTo>
                <a:cubicBezTo>
                  <a:pt x="170654" y="182229"/>
                  <a:pt x="172632" y="187881"/>
                  <a:pt x="176371" y="192310"/>
                </a:cubicBezTo>
                <a:cubicBezTo>
                  <a:pt x="180935" y="197069"/>
                  <a:pt x="186798" y="200382"/>
                  <a:pt x="193231" y="201835"/>
                </a:cubicBezTo>
                <a:lnTo>
                  <a:pt x="193231" y="223425"/>
                </a:lnTo>
                <a:cubicBezTo>
                  <a:pt x="191515" y="222336"/>
                  <a:pt x="190019" y="220936"/>
                  <a:pt x="188817" y="219297"/>
                </a:cubicBezTo>
                <a:close/>
                <a:moveTo>
                  <a:pt x="203359" y="204438"/>
                </a:moveTo>
                <a:cubicBezTo>
                  <a:pt x="205762" y="205054"/>
                  <a:pt x="207955" y="206304"/>
                  <a:pt x="209709" y="208058"/>
                </a:cubicBezTo>
                <a:cubicBezTo>
                  <a:pt x="211157" y="209716"/>
                  <a:pt x="211927" y="211858"/>
                  <a:pt x="211868" y="214059"/>
                </a:cubicBezTo>
                <a:cubicBezTo>
                  <a:pt x="211884" y="216570"/>
                  <a:pt x="210954" y="218995"/>
                  <a:pt x="209264" y="220853"/>
                </a:cubicBezTo>
                <a:cubicBezTo>
                  <a:pt x="207691" y="222571"/>
                  <a:pt x="205631" y="223767"/>
                  <a:pt x="203359" y="224282"/>
                </a:cubicBezTo>
                <a:close/>
                <a:moveTo>
                  <a:pt x="188913" y="180753"/>
                </a:moveTo>
                <a:cubicBezTo>
                  <a:pt x="187778" y="179313"/>
                  <a:pt x="187153" y="177538"/>
                  <a:pt x="187135" y="175705"/>
                </a:cubicBezTo>
                <a:cubicBezTo>
                  <a:pt x="187142" y="173708"/>
                  <a:pt x="187825" y="171772"/>
                  <a:pt x="189071" y="170212"/>
                </a:cubicBezTo>
                <a:cubicBezTo>
                  <a:pt x="190175" y="168813"/>
                  <a:pt x="191617" y="167720"/>
                  <a:pt x="193262" y="167037"/>
                </a:cubicBezTo>
                <a:lnTo>
                  <a:pt x="193262" y="184150"/>
                </a:lnTo>
                <a:cubicBezTo>
                  <a:pt x="191558" y="183388"/>
                  <a:pt x="190065" y="182222"/>
                  <a:pt x="188913" y="180753"/>
                </a:cubicBezTo>
                <a:close/>
              </a:path>
            </a:pathLst>
          </a:custGeom>
          <a:solidFill>
            <a:schemeClr val="accent4"/>
          </a:solidFill>
          <a:ln w="3175" cap="flat">
            <a:noFill/>
            <a:prstDash val="solid"/>
            <a:miter/>
          </a:ln>
        </p:spPr>
        <p:txBody>
          <a:bodyPr rtlCol="0" anchor="ctr"/>
          <a:lstStyle/>
          <a:p>
            <a:endParaRPr lang="en-GB" sz="700" b="1">
              <a:solidFill>
                <a:schemeClr val="accent1"/>
              </a:solidFill>
            </a:endParaRPr>
          </a:p>
        </p:txBody>
      </p:sp>
      <p:grpSp>
        <p:nvGrpSpPr>
          <p:cNvPr id="48" name="Graphic 61">
            <a:extLst>
              <a:ext uri="{FF2B5EF4-FFF2-40B4-BE49-F238E27FC236}">
                <a16:creationId xmlns:a16="http://schemas.microsoft.com/office/drawing/2014/main" id="{C7B038E7-0A6A-48BE-8751-CBAD949B2383}"/>
              </a:ext>
            </a:extLst>
          </p:cNvPr>
          <p:cNvGrpSpPr/>
          <p:nvPr/>
        </p:nvGrpSpPr>
        <p:grpSpPr>
          <a:xfrm>
            <a:off x="1726741" y="5080145"/>
            <a:ext cx="457200" cy="457200"/>
            <a:chOff x="3519218" y="2560815"/>
            <a:chExt cx="457200" cy="457200"/>
          </a:xfrm>
          <a:solidFill>
            <a:schemeClr val="accent1">
              <a:lumMod val="60000"/>
              <a:lumOff val="40000"/>
            </a:schemeClr>
          </a:solidFill>
        </p:grpSpPr>
        <p:grpSp>
          <p:nvGrpSpPr>
            <p:cNvPr id="49" name="Graphic 61">
              <a:extLst>
                <a:ext uri="{FF2B5EF4-FFF2-40B4-BE49-F238E27FC236}">
                  <a16:creationId xmlns:a16="http://schemas.microsoft.com/office/drawing/2014/main" id="{195984CE-4EC2-4DCA-8140-93D3A34C6F42}"/>
                </a:ext>
              </a:extLst>
            </p:cNvPr>
            <p:cNvGrpSpPr/>
            <p:nvPr/>
          </p:nvGrpSpPr>
          <p:grpSpPr>
            <a:xfrm>
              <a:off x="3519218" y="2560815"/>
              <a:ext cx="457200" cy="457200"/>
              <a:chOff x="3519218" y="2560815"/>
              <a:chExt cx="457200" cy="457200"/>
            </a:xfrm>
            <a:grpFill/>
          </p:grpSpPr>
          <p:sp>
            <p:nvSpPr>
              <p:cNvPr id="54" name="Freeform 183">
                <a:extLst>
                  <a:ext uri="{FF2B5EF4-FFF2-40B4-BE49-F238E27FC236}">
                    <a16:creationId xmlns:a16="http://schemas.microsoft.com/office/drawing/2014/main" id="{268B4503-799A-4C2B-9598-9CEFA99EA2B5}"/>
                  </a:ext>
                </a:extLst>
              </p:cNvPr>
              <p:cNvSpPr/>
              <p:nvPr/>
            </p:nvSpPr>
            <p:spPr>
              <a:xfrm>
                <a:off x="3519218" y="2560815"/>
                <a:ext cx="457200" cy="457200"/>
              </a:xfrm>
              <a:custGeom>
                <a:avLst/>
                <a:gdLst>
                  <a:gd name="connsiteX0" fmla="*/ 457200 w 457200"/>
                  <a:gd name="connsiteY0" fmla="*/ 362458 h 457200"/>
                  <a:gd name="connsiteX1" fmla="*/ 457200 w 457200"/>
                  <a:gd name="connsiteY1" fmla="*/ 0 h 457200"/>
                  <a:gd name="connsiteX2" fmla="*/ 0 w 457200"/>
                  <a:gd name="connsiteY2" fmla="*/ 0 h 457200"/>
                  <a:gd name="connsiteX3" fmla="*/ 0 w 457200"/>
                  <a:gd name="connsiteY3" fmla="*/ 362458 h 457200"/>
                  <a:gd name="connsiteX4" fmla="*/ 190691 w 457200"/>
                  <a:gd name="connsiteY4" fmla="*/ 362458 h 457200"/>
                  <a:gd name="connsiteX5" fmla="*/ 190691 w 457200"/>
                  <a:gd name="connsiteY5" fmla="*/ 399034 h 457200"/>
                  <a:gd name="connsiteX6" fmla="*/ 126619 w 457200"/>
                  <a:gd name="connsiteY6" fmla="*/ 399034 h 457200"/>
                  <a:gd name="connsiteX7" fmla="*/ 126619 w 457200"/>
                  <a:gd name="connsiteY7" fmla="*/ 457200 h 457200"/>
                  <a:gd name="connsiteX8" fmla="*/ 328930 w 457200"/>
                  <a:gd name="connsiteY8" fmla="*/ 457200 h 457200"/>
                  <a:gd name="connsiteX9" fmla="*/ 328930 w 457200"/>
                  <a:gd name="connsiteY9" fmla="*/ 399034 h 457200"/>
                  <a:gd name="connsiteX10" fmla="*/ 264890 w 457200"/>
                  <a:gd name="connsiteY10" fmla="*/ 399034 h 457200"/>
                  <a:gd name="connsiteX11" fmla="*/ 264890 w 457200"/>
                  <a:gd name="connsiteY11" fmla="*/ 362458 h 457200"/>
                  <a:gd name="connsiteX12" fmla="*/ 146050 w 457200"/>
                  <a:gd name="connsiteY12" fmla="*/ 437737 h 457200"/>
                  <a:gd name="connsiteX13" fmla="*/ 146050 w 457200"/>
                  <a:gd name="connsiteY13" fmla="*/ 418497 h 457200"/>
                  <a:gd name="connsiteX14" fmla="*/ 309467 w 457200"/>
                  <a:gd name="connsiteY14" fmla="*/ 418497 h 457200"/>
                  <a:gd name="connsiteX15" fmla="*/ 309467 w 457200"/>
                  <a:gd name="connsiteY15" fmla="*/ 437737 h 457200"/>
                  <a:gd name="connsiteX16" fmla="*/ 210090 w 457200"/>
                  <a:gd name="connsiteY16" fmla="*/ 399034 h 457200"/>
                  <a:gd name="connsiteX17" fmla="*/ 210090 w 457200"/>
                  <a:gd name="connsiteY17" fmla="*/ 362458 h 457200"/>
                  <a:gd name="connsiteX18" fmla="*/ 245332 w 457200"/>
                  <a:gd name="connsiteY18" fmla="*/ 362458 h 457200"/>
                  <a:gd name="connsiteX19" fmla="*/ 245332 w 457200"/>
                  <a:gd name="connsiteY19" fmla="*/ 399034 h 457200"/>
                  <a:gd name="connsiteX20" fmla="*/ 437579 w 457200"/>
                  <a:gd name="connsiteY20" fmla="*/ 286385 h 457200"/>
                  <a:gd name="connsiteX21" fmla="*/ 437579 w 457200"/>
                  <a:gd name="connsiteY21" fmla="*/ 341630 h 457200"/>
                  <a:gd name="connsiteX22" fmla="*/ 19336 w 457200"/>
                  <a:gd name="connsiteY22" fmla="*/ 341630 h 457200"/>
                  <a:gd name="connsiteX23" fmla="*/ 19336 w 457200"/>
                  <a:gd name="connsiteY23" fmla="*/ 286385 h 457200"/>
                  <a:gd name="connsiteX24" fmla="*/ 437579 w 457200"/>
                  <a:gd name="connsiteY24" fmla="*/ 19463 h 457200"/>
                  <a:gd name="connsiteX25" fmla="*/ 437579 w 457200"/>
                  <a:gd name="connsiteY25" fmla="*/ 265557 h 457200"/>
                  <a:gd name="connsiteX26" fmla="*/ 19336 w 457200"/>
                  <a:gd name="connsiteY26" fmla="*/ 265557 h 457200"/>
                  <a:gd name="connsiteX27" fmla="*/ 19336 w 457200"/>
                  <a:gd name="connsiteY27" fmla="*/ 19463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7200" h="457200">
                    <a:moveTo>
                      <a:pt x="457200" y="362458"/>
                    </a:moveTo>
                    <a:lnTo>
                      <a:pt x="457200" y="0"/>
                    </a:lnTo>
                    <a:lnTo>
                      <a:pt x="0" y="0"/>
                    </a:lnTo>
                    <a:lnTo>
                      <a:pt x="0" y="362458"/>
                    </a:lnTo>
                    <a:lnTo>
                      <a:pt x="190691" y="362458"/>
                    </a:lnTo>
                    <a:lnTo>
                      <a:pt x="190691" y="399034"/>
                    </a:lnTo>
                    <a:lnTo>
                      <a:pt x="126619" y="399034"/>
                    </a:lnTo>
                    <a:lnTo>
                      <a:pt x="126619" y="457200"/>
                    </a:lnTo>
                    <a:lnTo>
                      <a:pt x="328930" y="457200"/>
                    </a:lnTo>
                    <a:lnTo>
                      <a:pt x="328930" y="399034"/>
                    </a:lnTo>
                    <a:lnTo>
                      <a:pt x="264890" y="399034"/>
                    </a:lnTo>
                    <a:lnTo>
                      <a:pt x="264890" y="362458"/>
                    </a:lnTo>
                    <a:close/>
                    <a:moveTo>
                      <a:pt x="146050" y="437737"/>
                    </a:moveTo>
                    <a:lnTo>
                      <a:pt x="146050" y="418497"/>
                    </a:lnTo>
                    <a:lnTo>
                      <a:pt x="309467" y="418497"/>
                    </a:lnTo>
                    <a:lnTo>
                      <a:pt x="309467" y="437737"/>
                    </a:lnTo>
                    <a:close/>
                    <a:moveTo>
                      <a:pt x="210090" y="399034"/>
                    </a:moveTo>
                    <a:lnTo>
                      <a:pt x="210090" y="362458"/>
                    </a:lnTo>
                    <a:lnTo>
                      <a:pt x="245332" y="362458"/>
                    </a:lnTo>
                    <a:lnTo>
                      <a:pt x="245332" y="399034"/>
                    </a:lnTo>
                    <a:close/>
                    <a:moveTo>
                      <a:pt x="437579" y="286385"/>
                    </a:moveTo>
                    <a:lnTo>
                      <a:pt x="437579" y="341630"/>
                    </a:lnTo>
                    <a:lnTo>
                      <a:pt x="19336" y="341630"/>
                    </a:lnTo>
                    <a:lnTo>
                      <a:pt x="19336" y="286385"/>
                    </a:lnTo>
                    <a:close/>
                    <a:moveTo>
                      <a:pt x="437579" y="19463"/>
                    </a:moveTo>
                    <a:lnTo>
                      <a:pt x="437579" y="265557"/>
                    </a:lnTo>
                    <a:lnTo>
                      <a:pt x="19336" y="265557"/>
                    </a:lnTo>
                    <a:lnTo>
                      <a:pt x="19336" y="19463"/>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55" name="Freeform 184">
                <a:extLst>
                  <a:ext uri="{FF2B5EF4-FFF2-40B4-BE49-F238E27FC236}">
                    <a16:creationId xmlns:a16="http://schemas.microsoft.com/office/drawing/2014/main" id="{0BB4E9A6-7D42-48DC-BCC3-D568AAB8158A}"/>
                  </a:ext>
                </a:extLst>
              </p:cNvPr>
              <p:cNvSpPr/>
              <p:nvPr/>
            </p:nvSpPr>
            <p:spPr>
              <a:xfrm>
                <a:off x="3737943" y="2865075"/>
                <a:ext cx="19462" cy="19462"/>
              </a:xfrm>
              <a:custGeom>
                <a:avLst/>
                <a:gdLst>
                  <a:gd name="connsiteX0" fmla="*/ 0 w 19462"/>
                  <a:gd name="connsiteY0" fmla="*/ 0 h 19462"/>
                  <a:gd name="connsiteX1" fmla="*/ 19463 w 19462"/>
                  <a:gd name="connsiteY1" fmla="*/ 0 h 19462"/>
                  <a:gd name="connsiteX2" fmla="*/ 19463 w 19462"/>
                  <a:gd name="connsiteY2" fmla="*/ 19463 h 19462"/>
                  <a:gd name="connsiteX3" fmla="*/ 0 w 19462"/>
                  <a:gd name="connsiteY3" fmla="*/ 19463 h 19462"/>
                </a:gdLst>
                <a:ahLst/>
                <a:cxnLst>
                  <a:cxn ang="0">
                    <a:pos x="connsiteX0" y="connsiteY0"/>
                  </a:cxn>
                  <a:cxn ang="0">
                    <a:pos x="connsiteX1" y="connsiteY1"/>
                  </a:cxn>
                  <a:cxn ang="0">
                    <a:pos x="connsiteX2" y="connsiteY2"/>
                  </a:cxn>
                  <a:cxn ang="0">
                    <a:pos x="connsiteX3" y="connsiteY3"/>
                  </a:cxn>
                </a:cxnLst>
                <a:rect l="l" t="t" r="r" b="b"/>
                <a:pathLst>
                  <a:path w="19462" h="19462">
                    <a:moveTo>
                      <a:pt x="0" y="0"/>
                    </a:moveTo>
                    <a:lnTo>
                      <a:pt x="19463" y="0"/>
                    </a:lnTo>
                    <a:lnTo>
                      <a:pt x="19463" y="19463"/>
                    </a:lnTo>
                    <a:lnTo>
                      <a:pt x="0" y="19463"/>
                    </a:lnTo>
                    <a:close/>
                  </a:path>
                </a:pathLst>
              </a:custGeom>
              <a:grpFill/>
              <a:ln w="3175" cap="flat">
                <a:noFill/>
                <a:prstDash val="solid"/>
                <a:miter/>
              </a:ln>
            </p:spPr>
            <p:txBody>
              <a:bodyPr rtlCol="0" anchor="ctr"/>
              <a:lstStyle/>
              <a:p>
                <a:endParaRPr lang="en-GB" sz="700" b="1" dirty="0">
                  <a:solidFill>
                    <a:schemeClr val="accent1"/>
                  </a:solidFill>
                </a:endParaRPr>
              </a:p>
            </p:txBody>
          </p:sp>
        </p:grpSp>
        <p:sp>
          <p:nvSpPr>
            <p:cNvPr id="50" name="Freeform 179">
              <a:extLst>
                <a:ext uri="{FF2B5EF4-FFF2-40B4-BE49-F238E27FC236}">
                  <a16:creationId xmlns:a16="http://schemas.microsoft.com/office/drawing/2014/main" id="{D3A87437-7A0C-4444-963E-D5A462B42B1C}"/>
                </a:ext>
              </a:extLst>
            </p:cNvPr>
            <p:cNvSpPr/>
            <p:nvPr/>
          </p:nvSpPr>
          <p:spPr>
            <a:xfrm>
              <a:off x="3618024" y="2655207"/>
              <a:ext cx="153733" cy="154336"/>
            </a:xfrm>
            <a:custGeom>
              <a:avLst/>
              <a:gdLst>
                <a:gd name="connsiteX0" fmla="*/ 153702 w 153733"/>
                <a:gd name="connsiteY0" fmla="*/ 96107 h 154336"/>
                <a:gd name="connsiteX1" fmla="*/ 153448 w 153733"/>
                <a:gd name="connsiteY1" fmla="*/ 57087 h 154336"/>
                <a:gd name="connsiteX2" fmla="*/ 153448 w 153733"/>
                <a:gd name="connsiteY2" fmla="*/ 55277 h 154336"/>
                <a:gd name="connsiteX3" fmla="*/ 151702 w 153733"/>
                <a:gd name="connsiteY3" fmla="*/ 54832 h 154336"/>
                <a:gd name="connsiteX4" fmla="*/ 134080 w 153733"/>
                <a:gd name="connsiteY4" fmla="*/ 50673 h 154336"/>
                <a:gd name="connsiteX5" fmla="*/ 127889 w 153733"/>
                <a:gd name="connsiteY5" fmla="*/ 40132 h 154336"/>
                <a:gd name="connsiteX6" fmla="*/ 132779 w 153733"/>
                <a:gd name="connsiteY6" fmla="*/ 22606 h 154336"/>
                <a:gd name="connsiteX7" fmla="*/ 133287 w 153733"/>
                <a:gd name="connsiteY7" fmla="*/ 20892 h 154336"/>
                <a:gd name="connsiteX8" fmla="*/ 131731 w 153733"/>
                <a:gd name="connsiteY8" fmla="*/ 20002 h 154336"/>
                <a:gd name="connsiteX9" fmla="*/ 98044 w 153733"/>
                <a:gd name="connsiteY9" fmla="*/ 857 h 154336"/>
                <a:gd name="connsiteX10" fmla="*/ 96488 w 153733"/>
                <a:gd name="connsiteY10" fmla="*/ 0 h 154336"/>
                <a:gd name="connsiteX11" fmla="*/ 95282 w 153733"/>
                <a:gd name="connsiteY11" fmla="*/ 1270 h 154336"/>
                <a:gd name="connsiteX12" fmla="*/ 82582 w 153733"/>
                <a:gd name="connsiteY12" fmla="*/ 14383 h 154336"/>
                <a:gd name="connsiteX13" fmla="*/ 77216 w 153733"/>
                <a:gd name="connsiteY13" fmla="*/ 14097 h 154336"/>
                <a:gd name="connsiteX14" fmla="*/ 76486 w 153733"/>
                <a:gd name="connsiteY14" fmla="*/ 14097 h 154336"/>
                <a:gd name="connsiteX15" fmla="*/ 70358 w 153733"/>
                <a:gd name="connsiteY15" fmla="*/ 14446 h 154336"/>
                <a:gd name="connsiteX16" fmla="*/ 57658 w 153733"/>
                <a:gd name="connsiteY16" fmla="*/ 1492 h 154336"/>
                <a:gd name="connsiteX17" fmla="*/ 56420 w 153733"/>
                <a:gd name="connsiteY17" fmla="*/ 222 h 154336"/>
                <a:gd name="connsiteX18" fmla="*/ 54864 w 153733"/>
                <a:gd name="connsiteY18" fmla="*/ 1143 h 154336"/>
                <a:gd name="connsiteX19" fmla="*/ 21304 w 153733"/>
                <a:gd name="connsiteY19" fmla="*/ 20733 h 154336"/>
                <a:gd name="connsiteX20" fmla="*/ 19780 w 153733"/>
                <a:gd name="connsiteY20" fmla="*/ 21622 h 154336"/>
                <a:gd name="connsiteX21" fmla="*/ 20256 w 153733"/>
                <a:gd name="connsiteY21" fmla="*/ 23336 h 154336"/>
                <a:gd name="connsiteX22" fmla="*/ 25400 w 153733"/>
                <a:gd name="connsiteY22" fmla="*/ 40799 h 154336"/>
                <a:gd name="connsiteX23" fmla="*/ 19304 w 153733"/>
                <a:gd name="connsiteY23" fmla="*/ 51403 h 154336"/>
                <a:gd name="connsiteX24" fmla="*/ 1746 w 153733"/>
                <a:gd name="connsiteY24" fmla="*/ 55690 h 154336"/>
                <a:gd name="connsiteX25" fmla="*/ 0 w 153733"/>
                <a:gd name="connsiteY25" fmla="*/ 56134 h 154336"/>
                <a:gd name="connsiteX26" fmla="*/ 0 w 153733"/>
                <a:gd name="connsiteY26" fmla="*/ 58007 h 154336"/>
                <a:gd name="connsiteX27" fmla="*/ 254 w 153733"/>
                <a:gd name="connsiteY27" fmla="*/ 97092 h 154336"/>
                <a:gd name="connsiteX28" fmla="*/ 254 w 153733"/>
                <a:gd name="connsiteY28" fmla="*/ 98870 h 154336"/>
                <a:gd name="connsiteX29" fmla="*/ 1968 w 153733"/>
                <a:gd name="connsiteY29" fmla="*/ 99282 h 154336"/>
                <a:gd name="connsiteX30" fmla="*/ 19590 w 153733"/>
                <a:gd name="connsiteY30" fmla="*/ 103600 h 154336"/>
                <a:gd name="connsiteX31" fmla="*/ 25940 w 153733"/>
                <a:gd name="connsiteY31" fmla="*/ 114109 h 154336"/>
                <a:gd name="connsiteX32" fmla="*/ 21050 w 153733"/>
                <a:gd name="connsiteY32" fmla="*/ 131636 h 154336"/>
                <a:gd name="connsiteX33" fmla="*/ 20542 w 153733"/>
                <a:gd name="connsiteY33" fmla="*/ 133350 h 154336"/>
                <a:gd name="connsiteX34" fmla="*/ 21844 w 153733"/>
                <a:gd name="connsiteY34" fmla="*/ 134207 h 154336"/>
                <a:gd name="connsiteX35" fmla="*/ 55658 w 153733"/>
                <a:gd name="connsiteY35" fmla="*/ 153448 h 154336"/>
                <a:gd name="connsiteX36" fmla="*/ 57213 w 153733"/>
                <a:gd name="connsiteY36" fmla="*/ 154337 h 154336"/>
                <a:gd name="connsiteX37" fmla="*/ 58452 w 153733"/>
                <a:gd name="connsiteY37" fmla="*/ 153035 h 154336"/>
                <a:gd name="connsiteX38" fmla="*/ 71152 w 153733"/>
                <a:gd name="connsiteY38" fmla="*/ 139891 h 154336"/>
                <a:gd name="connsiteX39" fmla="*/ 76549 w 153733"/>
                <a:gd name="connsiteY39" fmla="*/ 140208 h 154336"/>
                <a:gd name="connsiteX40" fmla="*/ 77248 w 153733"/>
                <a:gd name="connsiteY40" fmla="*/ 140208 h 154336"/>
                <a:gd name="connsiteX41" fmla="*/ 83344 w 153733"/>
                <a:gd name="connsiteY41" fmla="*/ 139827 h 154336"/>
                <a:gd name="connsiteX42" fmla="*/ 96044 w 153733"/>
                <a:gd name="connsiteY42" fmla="*/ 152813 h 154336"/>
                <a:gd name="connsiteX43" fmla="*/ 97282 w 153733"/>
                <a:gd name="connsiteY43" fmla="*/ 154083 h 154336"/>
                <a:gd name="connsiteX44" fmla="*/ 98838 w 153733"/>
                <a:gd name="connsiteY44" fmla="*/ 153194 h 154336"/>
                <a:gd name="connsiteX45" fmla="*/ 132588 w 153733"/>
                <a:gd name="connsiteY45" fmla="*/ 133445 h 154336"/>
                <a:gd name="connsiteX46" fmla="*/ 134144 w 153733"/>
                <a:gd name="connsiteY46" fmla="*/ 132525 h 154336"/>
                <a:gd name="connsiteX47" fmla="*/ 133636 w 153733"/>
                <a:gd name="connsiteY47" fmla="*/ 130778 h 154336"/>
                <a:gd name="connsiteX48" fmla="*/ 128334 w 153733"/>
                <a:gd name="connsiteY48" fmla="*/ 113443 h 154336"/>
                <a:gd name="connsiteX49" fmla="*/ 134398 w 153733"/>
                <a:gd name="connsiteY49" fmla="*/ 102870 h 154336"/>
                <a:gd name="connsiteX50" fmla="*/ 152019 w 153733"/>
                <a:gd name="connsiteY50" fmla="*/ 98362 h 154336"/>
                <a:gd name="connsiteX51" fmla="*/ 153734 w 153733"/>
                <a:gd name="connsiteY51" fmla="*/ 97917 h 154336"/>
                <a:gd name="connsiteX52" fmla="*/ 110109 w 153733"/>
                <a:gd name="connsiteY52" fmla="*/ 44672 h 154336"/>
                <a:gd name="connsiteX53" fmla="*/ 113284 w 153733"/>
                <a:gd name="connsiteY53" fmla="*/ 48927 h 154336"/>
                <a:gd name="connsiteX54" fmla="*/ 119316 w 153733"/>
                <a:gd name="connsiteY54" fmla="*/ 59087 h 154336"/>
                <a:gd name="connsiteX55" fmla="*/ 121412 w 153733"/>
                <a:gd name="connsiteY55" fmla="*/ 64008 h 154336"/>
                <a:gd name="connsiteX56" fmla="*/ 121857 w 153733"/>
                <a:gd name="connsiteY56" fmla="*/ 65088 h 154336"/>
                <a:gd name="connsiteX57" fmla="*/ 122968 w 153733"/>
                <a:gd name="connsiteY57" fmla="*/ 65342 h 154336"/>
                <a:gd name="connsiteX58" fmla="*/ 136620 w 153733"/>
                <a:gd name="connsiteY58" fmla="*/ 68517 h 154336"/>
                <a:gd name="connsiteX59" fmla="*/ 136620 w 153733"/>
                <a:gd name="connsiteY59" fmla="*/ 84709 h 154336"/>
                <a:gd name="connsiteX60" fmla="*/ 123000 w 153733"/>
                <a:gd name="connsiteY60" fmla="*/ 88202 h 154336"/>
                <a:gd name="connsiteX61" fmla="*/ 121888 w 153733"/>
                <a:gd name="connsiteY61" fmla="*/ 88487 h 154336"/>
                <a:gd name="connsiteX62" fmla="*/ 121444 w 153733"/>
                <a:gd name="connsiteY62" fmla="*/ 89535 h 154336"/>
                <a:gd name="connsiteX63" fmla="*/ 119412 w 153733"/>
                <a:gd name="connsiteY63" fmla="*/ 94488 h 154336"/>
                <a:gd name="connsiteX64" fmla="*/ 113538 w 153733"/>
                <a:gd name="connsiteY64" fmla="*/ 104712 h 154336"/>
                <a:gd name="connsiteX65" fmla="*/ 110363 w 153733"/>
                <a:gd name="connsiteY65" fmla="*/ 108998 h 154336"/>
                <a:gd name="connsiteX66" fmla="*/ 109696 w 153733"/>
                <a:gd name="connsiteY66" fmla="*/ 109919 h 154336"/>
                <a:gd name="connsiteX67" fmla="*/ 110014 w 153733"/>
                <a:gd name="connsiteY67" fmla="*/ 111030 h 154336"/>
                <a:gd name="connsiteX68" fmla="*/ 114078 w 153733"/>
                <a:gd name="connsiteY68" fmla="*/ 124682 h 154336"/>
                <a:gd name="connsiteX69" fmla="*/ 100108 w 153733"/>
                <a:gd name="connsiteY69" fmla="*/ 132842 h 154336"/>
                <a:gd name="connsiteX70" fmla="*/ 90265 w 153733"/>
                <a:gd name="connsiteY70" fmla="*/ 122777 h 154336"/>
                <a:gd name="connsiteX71" fmla="*/ 89471 w 153733"/>
                <a:gd name="connsiteY71" fmla="*/ 121952 h 154336"/>
                <a:gd name="connsiteX72" fmla="*/ 88328 w 153733"/>
                <a:gd name="connsiteY72" fmla="*/ 121952 h 154336"/>
                <a:gd name="connsiteX73" fmla="*/ 83026 w 153733"/>
                <a:gd name="connsiteY73" fmla="*/ 122650 h 154336"/>
                <a:gd name="connsiteX74" fmla="*/ 77121 w 153733"/>
                <a:gd name="connsiteY74" fmla="*/ 123127 h 154336"/>
                <a:gd name="connsiteX75" fmla="*/ 76676 w 153733"/>
                <a:gd name="connsiteY75" fmla="*/ 123127 h 154336"/>
                <a:gd name="connsiteX76" fmla="*/ 71215 w 153733"/>
                <a:gd name="connsiteY76" fmla="*/ 122714 h 154336"/>
                <a:gd name="connsiteX77" fmla="*/ 65913 w 153733"/>
                <a:gd name="connsiteY77" fmla="*/ 122079 h 154336"/>
                <a:gd name="connsiteX78" fmla="*/ 64770 w 153733"/>
                <a:gd name="connsiteY78" fmla="*/ 122079 h 154336"/>
                <a:gd name="connsiteX79" fmla="*/ 63976 w 153733"/>
                <a:gd name="connsiteY79" fmla="*/ 122904 h 154336"/>
                <a:gd name="connsiteX80" fmla="*/ 54229 w 153733"/>
                <a:gd name="connsiteY80" fmla="*/ 133191 h 154336"/>
                <a:gd name="connsiteX81" fmla="*/ 40164 w 153733"/>
                <a:gd name="connsiteY81" fmla="*/ 125190 h 154336"/>
                <a:gd name="connsiteX82" fmla="*/ 44069 w 153733"/>
                <a:gd name="connsiteY82" fmla="*/ 111570 h 154336"/>
                <a:gd name="connsiteX83" fmla="*/ 44386 w 153733"/>
                <a:gd name="connsiteY83" fmla="*/ 110490 h 154336"/>
                <a:gd name="connsiteX84" fmla="*/ 43656 w 153733"/>
                <a:gd name="connsiteY84" fmla="*/ 109569 h 154336"/>
                <a:gd name="connsiteX85" fmla="*/ 40481 w 153733"/>
                <a:gd name="connsiteY85" fmla="*/ 105315 h 154336"/>
                <a:gd name="connsiteX86" fmla="*/ 34480 w 153733"/>
                <a:gd name="connsiteY86" fmla="*/ 95155 h 154336"/>
                <a:gd name="connsiteX87" fmla="*/ 32385 w 153733"/>
                <a:gd name="connsiteY87" fmla="*/ 90234 h 154336"/>
                <a:gd name="connsiteX88" fmla="*/ 31940 w 153733"/>
                <a:gd name="connsiteY88" fmla="*/ 89154 h 154336"/>
                <a:gd name="connsiteX89" fmla="*/ 30797 w 153733"/>
                <a:gd name="connsiteY89" fmla="*/ 88900 h 154336"/>
                <a:gd name="connsiteX90" fmla="*/ 17177 w 153733"/>
                <a:gd name="connsiteY90" fmla="*/ 85725 h 154336"/>
                <a:gd name="connsiteX91" fmla="*/ 17177 w 153733"/>
                <a:gd name="connsiteY91" fmla="*/ 69533 h 154336"/>
                <a:gd name="connsiteX92" fmla="*/ 30797 w 153733"/>
                <a:gd name="connsiteY92" fmla="*/ 66040 h 154336"/>
                <a:gd name="connsiteX93" fmla="*/ 31909 w 153733"/>
                <a:gd name="connsiteY93" fmla="*/ 65754 h 154336"/>
                <a:gd name="connsiteX94" fmla="*/ 32321 w 153733"/>
                <a:gd name="connsiteY94" fmla="*/ 64707 h 154336"/>
                <a:gd name="connsiteX95" fmla="*/ 34353 w 153733"/>
                <a:gd name="connsiteY95" fmla="*/ 59754 h 154336"/>
                <a:gd name="connsiteX96" fmla="*/ 40259 w 153733"/>
                <a:gd name="connsiteY96" fmla="*/ 49530 h 154336"/>
                <a:gd name="connsiteX97" fmla="*/ 43434 w 153733"/>
                <a:gd name="connsiteY97" fmla="*/ 45244 h 154336"/>
                <a:gd name="connsiteX98" fmla="*/ 44133 w 153733"/>
                <a:gd name="connsiteY98" fmla="*/ 44323 h 154336"/>
                <a:gd name="connsiteX99" fmla="*/ 43815 w 153733"/>
                <a:gd name="connsiteY99" fmla="*/ 43212 h 154336"/>
                <a:gd name="connsiteX100" fmla="*/ 39592 w 153733"/>
                <a:gd name="connsiteY100" fmla="*/ 29432 h 154336"/>
                <a:gd name="connsiteX101" fmla="*/ 53594 w 153733"/>
                <a:gd name="connsiteY101" fmla="*/ 21336 h 154336"/>
                <a:gd name="connsiteX102" fmla="*/ 63468 w 153733"/>
                <a:gd name="connsiteY102" fmla="*/ 31401 h 154336"/>
                <a:gd name="connsiteX103" fmla="*/ 64262 w 153733"/>
                <a:gd name="connsiteY103" fmla="*/ 32226 h 154336"/>
                <a:gd name="connsiteX104" fmla="*/ 65405 w 153733"/>
                <a:gd name="connsiteY104" fmla="*/ 32068 h 154336"/>
                <a:gd name="connsiteX105" fmla="*/ 70707 w 153733"/>
                <a:gd name="connsiteY105" fmla="*/ 31369 h 154336"/>
                <a:gd name="connsiteX106" fmla="*/ 76613 w 153733"/>
                <a:gd name="connsiteY106" fmla="*/ 30893 h 154336"/>
                <a:gd name="connsiteX107" fmla="*/ 77057 w 153733"/>
                <a:gd name="connsiteY107" fmla="*/ 30893 h 154336"/>
                <a:gd name="connsiteX108" fmla="*/ 82518 w 153733"/>
                <a:gd name="connsiteY108" fmla="*/ 31306 h 154336"/>
                <a:gd name="connsiteX109" fmla="*/ 87820 w 153733"/>
                <a:gd name="connsiteY109" fmla="*/ 31941 h 154336"/>
                <a:gd name="connsiteX110" fmla="*/ 88963 w 153733"/>
                <a:gd name="connsiteY110" fmla="*/ 31941 h 154336"/>
                <a:gd name="connsiteX111" fmla="*/ 89757 w 153733"/>
                <a:gd name="connsiteY111" fmla="*/ 31115 h 154336"/>
                <a:gd name="connsiteX112" fmla="*/ 99504 w 153733"/>
                <a:gd name="connsiteY112" fmla="*/ 20923 h 154336"/>
                <a:gd name="connsiteX113" fmla="*/ 113570 w 153733"/>
                <a:gd name="connsiteY113" fmla="*/ 28956 h 154336"/>
                <a:gd name="connsiteX114" fmla="*/ 109760 w 153733"/>
                <a:gd name="connsiteY114" fmla="*/ 42545 h 154336"/>
                <a:gd name="connsiteX115" fmla="*/ 109442 w 153733"/>
                <a:gd name="connsiteY115" fmla="*/ 43656 h 15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53733" h="154336">
                  <a:moveTo>
                    <a:pt x="153702" y="96107"/>
                  </a:moveTo>
                  <a:lnTo>
                    <a:pt x="153448" y="57087"/>
                  </a:lnTo>
                  <a:lnTo>
                    <a:pt x="153448" y="55277"/>
                  </a:lnTo>
                  <a:lnTo>
                    <a:pt x="151702" y="54832"/>
                  </a:lnTo>
                  <a:lnTo>
                    <a:pt x="134080" y="50673"/>
                  </a:lnTo>
                  <a:cubicBezTo>
                    <a:pt x="132360" y="46968"/>
                    <a:pt x="130287" y="43438"/>
                    <a:pt x="127889" y="40132"/>
                  </a:cubicBezTo>
                  <a:lnTo>
                    <a:pt x="132779" y="22606"/>
                  </a:lnTo>
                  <a:lnTo>
                    <a:pt x="133287" y="20892"/>
                  </a:lnTo>
                  <a:lnTo>
                    <a:pt x="131731" y="20002"/>
                  </a:lnTo>
                  <a:lnTo>
                    <a:pt x="98044" y="857"/>
                  </a:lnTo>
                  <a:lnTo>
                    <a:pt x="96488" y="0"/>
                  </a:lnTo>
                  <a:lnTo>
                    <a:pt x="95282" y="1270"/>
                  </a:lnTo>
                  <a:lnTo>
                    <a:pt x="82582" y="14383"/>
                  </a:lnTo>
                  <a:cubicBezTo>
                    <a:pt x="80677" y="14192"/>
                    <a:pt x="78899" y="14097"/>
                    <a:pt x="77216" y="14097"/>
                  </a:cubicBezTo>
                  <a:lnTo>
                    <a:pt x="76486" y="14097"/>
                  </a:lnTo>
                  <a:cubicBezTo>
                    <a:pt x="74439" y="14110"/>
                    <a:pt x="72393" y="14226"/>
                    <a:pt x="70358" y="14446"/>
                  </a:cubicBezTo>
                  <a:lnTo>
                    <a:pt x="57658" y="1492"/>
                  </a:lnTo>
                  <a:lnTo>
                    <a:pt x="56420" y="222"/>
                  </a:lnTo>
                  <a:lnTo>
                    <a:pt x="54864" y="1143"/>
                  </a:lnTo>
                  <a:lnTo>
                    <a:pt x="21304" y="20733"/>
                  </a:lnTo>
                  <a:lnTo>
                    <a:pt x="19780" y="21622"/>
                  </a:lnTo>
                  <a:lnTo>
                    <a:pt x="20256" y="23336"/>
                  </a:lnTo>
                  <a:lnTo>
                    <a:pt x="25400" y="40799"/>
                  </a:lnTo>
                  <a:cubicBezTo>
                    <a:pt x="23031" y="44129"/>
                    <a:pt x="20990" y="47681"/>
                    <a:pt x="19304" y="51403"/>
                  </a:cubicBezTo>
                  <a:lnTo>
                    <a:pt x="1746" y="55690"/>
                  </a:lnTo>
                  <a:lnTo>
                    <a:pt x="0" y="56134"/>
                  </a:lnTo>
                  <a:lnTo>
                    <a:pt x="0" y="58007"/>
                  </a:lnTo>
                  <a:lnTo>
                    <a:pt x="254" y="97092"/>
                  </a:lnTo>
                  <a:lnTo>
                    <a:pt x="254" y="98870"/>
                  </a:lnTo>
                  <a:lnTo>
                    <a:pt x="1968" y="99282"/>
                  </a:lnTo>
                  <a:lnTo>
                    <a:pt x="19590" y="103600"/>
                  </a:lnTo>
                  <a:cubicBezTo>
                    <a:pt x="21374" y="107294"/>
                    <a:pt x="23500" y="110812"/>
                    <a:pt x="25940" y="114109"/>
                  </a:cubicBezTo>
                  <a:lnTo>
                    <a:pt x="21050" y="131636"/>
                  </a:lnTo>
                  <a:lnTo>
                    <a:pt x="20542" y="133350"/>
                  </a:lnTo>
                  <a:lnTo>
                    <a:pt x="21844" y="134207"/>
                  </a:lnTo>
                  <a:lnTo>
                    <a:pt x="55658" y="153448"/>
                  </a:lnTo>
                  <a:lnTo>
                    <a:pt x="57213" y="154337"/>
                  </a:lnTo>
                  <a:lnTo>
                    <a:pt x="58452" y="153035"/>
                  </a:lnTo>
                  <a:lnTo>
                    <a:pt x="71152" y="139891"/>
                  </a:lnTo>
                  <a:cubicBezTo>
                    <a:pt x="73088" y="140081"/>
                    <a:pt x="74867" y="140176"/>
                    <a:pt x="76549" y="140208"/>
                  </a:cubicBezTo>
                  <a:lnTo>
                    <a:pt x="77248" y="140208"/>
                  </a:lnTo>
                  <a:cubicBezTo>
                    <a:pt x="79285" y="140184"/>
                    <a:pt x="81319" y="140057"/>
                    <a:pt x="83344" y="139827"/>
                  </a:cubicBezTo>
                  <a:lnTo>
                    <a:pt x="96044" y="152813"/>
                  </a:lnTo>
                  <a:lnTo>
                    <a:pt x="97282" y="154083"/>
                  </a:lnTo>
                  <a:lnTo>
                    <a:pt x="98838" y="153194"/>
                  </a:lnTo>
                  <a:lnTo>
                    <a:pt x="132588" y="133445"/>
                  </a:lnTo>
                  <a:lnTo>
                    <a:pt x="134144" y="132525"/>
                  </a:lnTo>
                  <a:lnTo>
                    <a:pt x="133636" y="130778"/>
                  </a:lnTo>
                  <a:lnTo>
                    <a:pt x="128334" y="113443"/>
                  </a:lnTo>
                  <a:cubicBezTo>
                    <a:pt x="130687" y="110119"/>
                    <a:pt x="132718" y="106579"/>
                    <a:pt x="134398" y="102870"/>
                  </a:cubicBezTo>
                  <a:lnTo>
                    <a:pt x="152019" y="98362"/>
                  </a:lnTo>
                  <a:lnTo>
                    <a:pt x="153734" y="97917"/>
                  </a:lnTo>
                  <a:close/>
                  <a:moveTo>
                    <a:pt x="110109" y="44672"/>
                  </a:moveTo>
                  <a:lnTo>
                    <a:pt x="113284" y="48927"/>
                  </a:lnTo>
                  <a:cubicBezTo>
                    <a:pt x="115718" y="52043"/>
                    <a:pt x="117746" y="55457"/>
                    <a:pt x="119316" y="59087"/>
                  </a:cubicBezTo>
                  <a:lnTo>
                    <a:pt x="121412" y="64008"/>
                  </a:lnTo>
                  <a:lnTo>
                    <a:pt x="121857" y="65088"/>
                  </a:lnTo>
                  <a:lnTo>
                    <a:pt x="122968" y="65342"/>
                  </a:lnTo>
                  <a:lnTo>
                    <a:pt x="136620" y="68517"/>
                  </a:lnTo>
                  <a:lnTo>
                    <a:pt x="136620" y="84709"/>
                  </a:lnTo>
                  <a:lnTo>
                    <a:pt x="123000" y="88202"/>
                  </a:lnTo>
                  <a:lnTo>
                    <a:pt x="121888" y="88487"/>
                  </a:lnTo>
                  <a:lnTo>
                    <a:pt x="121444" y="89535"/>
                  </a:lnTo>
                  <a:lnTo>
                    <a:pt x="119412" y="94488"/>
                  </a:lnTo>
                  <a:cubicBezTo>
                    <a:pt x="117917" y="98141"/>
                    <a:pt x="115941" y="101580"/>
                    <a:pt x="113538" y="104712"/>
                  </a:cubicBezTo>
                  <a:lnTo>
                    <a:pt x="110363" y="108998"/>
                  </a:lnTo>
                  <a:lnTo>
                    <a:pt x="109696" y="109919"/>
                  </a:lnTo>
                  <a:lnTo>
                    <a:pt x="110014" y="111030"/>
                  </a:lnTo>
                  <a:lnTo>
                    <a:pt x="114078" y="124682"/>
                  </a:lnTo>
                  <a:lnTo>
                    <a:pt x="100108" y="132842"/>
                  </a:lnTo>
                  <a:lnTo>
                    <a:pt x="90265" y="122777"/>
                  </a:lnTo>
                  <a:lnTo>
                    <a:pt x="89471" y="121952"/>
                  </a:lnTo>
                  <a:lnTo>
                    <a:pt x="88328" y="121952"/>
                  </a:lnTo>
                  <a:lnTo>
                    <a:pt x="83026" y="122650"/>
                  </a:lnTo>
                  <a:cubicBezTo>
                    <a:pt x="81071" y="122946"/>
                    <a:pt x="79098" y="123105"/>
                    <a:pt x="77121" y="123127"/>
                  </a:cubicBezTo>
                  <a:lnTo>
                    <a:pt x="76676" y="123127"/>
                  </a:lnTo>
                  <a:cubicBezTo>
                    <a:pt x="74849" y="123114"/>
                    <a:pt x="73024" y="122976"/>
                    <a:pt x="71215" y="122714"/>
                  </a:cubicBezTo>
                  <a:lnTo>
                    <a:pt x="65913" y="122079"/>
                  </a:lnTo>
                  <a:lnTo>
                    <a:pt x="64770" y="122079"/>
                  </a:lnTo>
                  <a:lnTo>
                    <a:pt x="63976" y="122904"/>
                  </a:lnTo>
                  <a:lnTo>
                    <a:pt x="54229" y="133191"/>
                  </a:lnTo>
                  <a:lnTo>
                    <a:pt x="40164" y="125190"/>
                  </a:lnTo>
                  <a:lnTo>
                    <a:pt x="44069" y="111570"/>
                  </a:lnTo>
                  <a:lnTo>
                    <a:pt x="44386" y="110490"/>
                  </a:lnTo>
                  <a:lnTo>
                    <a:pt x="43656" y="109569"/>
                  </a:lnTo>
                  <a:lnTo>
                    <a:pt x="40481" y="105315"/>
                  </a:lnTo>
                  <a:cubicBezTo>
                    <a:pt x="38050" y="102202"/>
                    <a:pt x="36033" y="98787"/>
                    <a:pt x="34480" y="95155"/>
                  </a:cubicBezTo>
                  <a:lnTo>
                    <a:pt x="32385" y="90234"/>
                  </a:lnTo>
                  <a:lnTo>
                    <a:pt x="31940" y="89154"/>
                  </a:lnTo>
                  <a:lnTo>
                    <a:pt x="30797" y="88900"/>
                  </a:lnTo>
                  <a:lnTo>
                    <a:pt x="17177" y="85725"/>
                  </a:lnTo>
                  <a:lnTo>
                    <a:pt x="17177" y="69533"/>
                  </a:lnTo>
                  <a:lnTo>
                    <a:pt x="30797" y="66040"/>
                  </a:lnTo>
                  <a:lnTo>
                    <a:pt x="31909" y="65754"/>
                  </a:lnTo>
                  <a:lnTo>
                    <a:pt x="32321" y="64707"/>
                  </a:lnTo>
                  <a:lnTo>
                    <a:pt x="34353" y="59754"/>
                  </a:lnTo>
                  <a:cubicBezTo>
                    <a:pt x="35878" y="56108"/>
                    <a:pt x="37863" y="52672"/>
                    <a:pt x="40259" y="49530"/>
                  </a:cubicBezTo>
                  <a:lnTo>
                    <a:pt x="43434" y="45244"/>
                  </a:lnTo>
                  <a:lnTo>
                    <a:pt x="44133" y="44323"/>
                  </a:lnTo>
                  <a:lnTo>
                    <a:pt x="43815" y="43212"/>
                  </a:lnTo>
                  <a:lnTo>
                    <a:pt x="39592" y="29432"/>
                  </a:lnTo>
                  <a:lnTo>
                    <a:pt x="53594" y="21336"/>
                  </a:lnTo>
                  <a:lnTo>
                    <a:pt x="63468" y="31401"/>
                  </a:lnTo>
                  <a:lnTo>
                    <a:pt x="64262" y="32226"/>
                  </a:lnTo>
                  <a:lnTo>
                    <a:pt x="65405" y="32068"/>
                  </a:lnTo>
                  <a:lnTo>
                    <a:pt x="70707" y="31369"/>
                  </a:lnTo>
                  <a:cubicBezTo>
                    <a:pt x="72664" y="31091"/>
                    <a:pt x="74636" y="30931"/>
                    <a:pt x="76613" y="30893"/>
                  </a:cubicBezTo>
                  <a:lnTo>
                    <a:pt x="77057" y="30893"/>
                  </a:lnTo>
                  <a:cubicBezTo>
                    <a:pt x="78884" y="30938"/>
                    <a:pt x="80706" y="31076"/>
                    <a:pt x="82518" y="31306"/>
                  </a:cubicBezTo>
                  <a:lnTo>
                    <a:pt x="87820" y="31941"/>
                  </a:lnTo>
                  <a:lnTo>
                    <a:pt x="88963" y="31941"/>
                  </a:lnTo>
                  <a:lnTo>
                    <a:pt x="89757" y="31115"/>
                  </a:lnTo>
                  <a:lnTo>
                    <a:pt x="99504" y="20923"/>
                  </a:lnTo>
                  <a:lnTo>
                    <a:pt x="113570" y="28956"/>
                  </a:lnTo>
                  <a:lnTo>
                    <a:pt x="109760" y="42545"/>
                  </a:lnTo>
                  <a:lnTo>
                    <a:pt x="109442" y="43656"/>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51" name="Freeform 180">
              <a:extLst>
                <a:ext uri="{FF2B5EF4-FFF2-40B4-BE49-F238E27FC236}">
                  <a16:creationId xmlns:a16="http://schemas.microsoft.com/office/drawing/2014/main" id="{5E4A931D-F820-41E7-B704-E8E2A795BACE}"/>
                </a:ext>
              </a:extLst>
            </p:cNvPr>
            <p:cNvSpPr/>
            <p:nvPr/>
          </p:nvSpPr>
          <p:spPr>
            <a:xfrm>
              <a:off x="3669237" y="2706706"/>
              <a:ext cx="51307" cy="51307"/>
            </a:xfrm>
            <a:custGeom>
              <a:avLst/>
              <a:gdLst>
                <a:gd name="connsiteX0" fmla="*/ 25654 w 51307"/>
                <a:gd name="connsiteY0" fmla="*/ 51308 h 51307"/>
                <a:gd name="connsiteX1" fmla="*/ 0 w 51307"/>
                <a:gd name="connsiteY1" fmla="*/ 25654 h 51307"/>
                <a:gd name="connsiteX2" fmla="*/ 25654 w 51307"/>
                <a:gd name="connsiteY2" fmla="*/ 0 h 51307"/>
                <a:gd name="connsiteX3" fmla="*/ 51308 w 51307"/>
                <a:gd name="connsiteY3" fmla="*/ 25559 h 51307"/>
                <a:gd name="connsiteX4" fmla="*/ 25654 w 51307"/>
                <a:gd name="connsiteY4" fmla="*/ 51308 h 51307"/>
                <a:gd name="connsiteX5" fmla="*/ 25654 w 51307"/>
                <a:gd name="connsiteY5" fmla="*/ 17367 h 51307"/>
                <a:gd name="connsiteX6" fmla="*/ 17336 w 51307"/>
                <a:gd name="connsiteY6" fmla="*/ 25623 h 51307"/>
                <a:gd name="connsiteX7" fmla="*/ 25591 w 51307"/>
                <a:gd name="connsiteY7" fmla="*/ 33941 h 51307"/>
                <a:gd name="connsiteX8" fmla="*/ 33909 w 51307"/>
                <a:gd name="connsiteY8" fmla="*/ 25685 h 51307"/>
                <a:gd name="connsiteX9" fmla="*/ 33909 w 51307"/>
                <a:gd name="connsiteY9" fmla="*/ 25559 h 51307"/>
                <a:gd name="connsiteX10" fmla="*/ 25654 w 51307"/>
                <a:gd name="connsiteY10" fmla="*/ 17367 h 5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307" h="51307">
                  <a:moveTo>
                    <a:pt x="25654" y="51308"/>
                  </a:moveTo>
                  <a:cubicBezTo>
                    <a:pt x="11485" y="51308"/>
                    <a:pt x="0" y="39822"/>
                    <a:pt x="0" y="25654"/>
                  </a:cubicBezTo>
                  <a:cubicBezTo>
                    <a:pt x="0" y="11486"/>
                    <a:pt x="11486" y="0"/>
                    <a:pt x="25654" y="0"/>
                  </a:cubicBezTo>
                  <a:cubicBezTo>
                    <a:pt x="39785" y="0"/>
                    <a:pt x="51255" y="11428"/>
                    <a:pt x="51308" y="25559"/>
                  </a:cubicBezTo>
                  <a:cubicBezTo>
                    <a:pt x="51325" y="39750"/>
                    <a:pt x="39845" y="51273"/>
                    <a:pt x="25654" y="51308"/>
                  </a:cubicBezTo>
                  <a:close/>
                  <a:moveTo>
                    <a:pt x="25654" y="17367"/>
                  </a:moveTo>
                  <a:cubicBezTo>
                    <a:pt x="21077" y="17350"/>
                    <a:pt x="17353" y="21046"/>
                    <a:pt x="17336" y="25623"/>
                  </a:cubicBezTo>
                  <a:cubicBezTo>
                    <a:pt x="17319" y="30199"/>
                    <a:pt x="21015" y="33923"/>
                    <a:pt x="25591" y="33941"/>
                  </a:cubicBezTo>
                  <a:cubicBezTo>
                    <a:pt x="30168" y="33958"/>
                    <a:pt x="33892" y="30262"/>
                    <a:pt x="33909" y="25685"/>
                  </a:cubicBezTo>
                  <a:cubicBezTo>
                    <a:pt x="33909" y="25643"/>
                    <a:pt x="33909" y="25601"/>
                    <a:pt x="33909" y="25559"/>
                  </a:cubicBezTo>
                  <a:cubicBezTo>
                    <a:pt x="33857" y="21032"/>
                    <a:pt x="30181" y="17384"/>
                    <a:pt x="25654" y="17367"/>
                  </a:cubicBez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52" name="Freeform 181">
              <a:extLst>
                <a:ext uri="{FF2B5EF4-FFF2-40B4-BE49-F238E27FC236}">
                  <a16:creationId xmlns:a16="http://schemas.microsoft.com/office/drawing/2014/main" id="{9FAF12A3-0C83-4589-9FA4-445E4F66B681}"/>
                </a:ext>
              </a:extLst>
            </p:cNvPr>
            <p:cNvSpPr/>
            <p:nvPr/>
          </p:nvSpPr>
          <p:spPr>
            <a:xfrm>
              <a:off x="3762994" y="2602090"/>
              <a:ext cx="114585" cy="113442"/>
            </a:xfrm>
            <a:custGeom>
              <a:avLst/>
              <a:gdLst>
                <a:gd name="connsiteX0" fmla="*/ 113824 w 114585"/>
                <a:gd name="connsiteY0" fmla="*/ 69659 h 113442"/>
                <a:gd name="connsiteX1" fmla="*/ 112871 w 114585"/>
                <a:gd name="connsiteY1" fmla="*/ 68771 h 113442"/>
                <a:gd name="connsiteX2" fmla="*/ 103823 w 114585"/>
                <a:gd name="connsiteY2" fmla="*/ 60325 h 113442"/>
                <a:gd name="connsiteX3" fmla="*/ 103823 w 114585"/>
                <a:gd name="connsiteY3" fmla="*/ 52610 h 113442"/>
                <a:gd name="connsiteX4" fmla="*/ 112713 w 114585"/>
                <a:gd name="connsiteY4" fmla="*/ 43974 h 113442"/>
                <a:gd name="connsiteX5" fmla="*/ 113633 w 114585"/>
                <a:gd name="connsiteY5" fmla="*/ 43085 h 113442"/>
                <a:gd name="connsiteX6" fmla="*/ 114395 w 114585"/>
                <a:gd name="connsiteY6" fmla="*/ 42323 h 113442"/>
                <a:gd name="connsiteX7" fmla="*/ 113856 w 114585"/>
                <a:gd name="connsiteY7" fmla="*/ 41402 h 113442"/>
                <a:gd name="connsiteX8" fmla="*/ 113221 w 114585"/>
                <a:gd name="connsiteY8" fmla="*/ 40291 h 113442"/>
                <a:gd name="connsiteX9" fmla="*/ 99124 w 114585"/>
                <a:gd name="connsiteY9" fmla="*/ 15875 h 113442"/>
                <a:gd name="connsiteX10" fmla="*/ 98457 w 114585"/>
                <a:gd name="connsiteY10" fmla="*/ 14764 h 113442"/>
                <a:gd name="connsiteX11" fmla="*/ 97917 w 114585"/>
                <a:gd name="connsiteY11" fmla="*/ 13811 h 113442"/>
                <a:gd name="connsiteX12" fmla="*/ 96869 w 114585"/>
                <a:gd name="connsiteY12" fmla="*/ 14129 h 113442"/>
                <a:gd name="connsiteX13" fmla="*/ 95631 w 114585"/>
                <a:gd name="connsiteY13" fmla="*/ 14510 h 113442"/>
                <a:gd name="connsiteX14" fmla="*/ 83788 w 114585"/>
                <a:gd name="connsiteY14" fmla="*/ 18002 h 113442"/>
                <a:gd name="connsiteX15" fmla="*/ 77057 w 114585"/>
                <a:gd name="connsiteY15" fmla="*/ 14192 h 113442"/>
                <a:gd name="connsiteX16" fmla="*/ 73882 w 114585"/>
                <a:gd name="connsiteY16" fmla="*/ 2127 h 113442"/>
                <a:gd name="connsiteX17" fmla="*/ 73565 w 114585"/>
                <a:gd name="connsiteY17" fmla="*/ 889 h 113442"/>
                <a:gd name="connsiteX18" fmla="*/ 73406 w 114585"/>
                <a:gd name="connsiteY18" fmla="*/ 0 h 113442"/>
                <a:gd name="connsiteX19" fmla="*/ 71057 w 114585"/>
                <a:gd name="connsiteY19" fmla="*/ 0 h 113442"/>
                <a:gd name="connsiteX20" fmla="*/ 43117 w 114585"/>
                <a:gd name="connsiteY20" fmla="*/ 0 h 113442"/>
                <a:gd name="connsiteX21" fmla="*/ 40767 w 114585"/>
                <a:gd name="connsiteY21" fmla="*/ 0 h 113442"/>
                <a:gd name="connsiteX22" fmla="*/ 40513 w 114585"/>
                <a:gd name="connsiteY22" fmla="*/ 1016 h 113442"/>
                <a:gd name="connsiteX23" fmla="*/ 40196 w 114585"/>
                <a:gd name="connsiteY23" fmla="*/ 2254 h 113442"/>
                <a:gd name="connsiteX24" fmla="*/ 37021 w 114585"/>
                <a:gd name="connsiteY24" fmla="*/ 14351 h 113442"/>
                <a:gd name="connsiteX25" fmla="*/ 34036 w 114585"/>
                <a:gd name="connsiteY25" fmla="*/ 15875 h 113442"/>
                <a:gd name="connsiteX26" fmla="*/ 33592 w 114585"/>
                <a:gd name="connsiteY26" fmla="*/ 16129 h 113442"/>
                <a:gd name="connsiteX27" fmla="*/ 30417 w 114585"/>
                <a:gd name="connsiteY27" fmla="*/ 18256 h 113442"/>
                <a:gd name="connsiteX28" fmla="*/ 18479 w 114585"/>
                <a:gd name="connsiteY28" fmla="*/ 14986 h 113442"/>
                <a:gd name="connsiteX29" fmla="*/ 17240 w 114585"/>
                <a:gd name="connsiteY29" fmla="*/ 14637 h 113442"/>
                <a:gd name="connsiteX30" fmla="*/ 16192 w 114585"/>
                <a:gd name="connsiteY30" fmla="*/ 14351 h 113442"/>
                <a:gd name="connsiteX31" fmla="*/ 15685 w 114585"/>
                <a:gd name="connsiteY31" fmla="*/ 15272 h 113442"/>
                <a:gd name="connsiteX32" fmla="*/ 15049 w 114585"/>
                <a:gd name="connsiteY32" fmla="*/ 16383 h 113442"/>
                <a:gd name="connsiteX33" fmla="*/ 1143 w 114585"/>
                <a:gd name="connsiteY33" fmla="*/ 40640 h 113442"/>
                <a:gd name="connsiteX34" fmla="*/ 508 w 114585"/>
                <a:gd name="connsiteY34" fmla="*/ 41751 h 113442"/>
                <a:gd name="connsiteX35" fmla="*/ 0 w 114585"/>
                <a:gd name="connsiteY35" fmla="*/ 42672 h 113442"/>
                <a:gd name="connsiteX36" fmla="*/ 762 w 114585"/>
                <a:gd name="connsiteY36" fmla="*/ 43402 h 113442"/>
                <a:gd name="connsiteX37" fmla="*/ 1683 w 114585"/>
                <a:gd name="connsiteY37" fmla="*/ 44291 h 113442"/>
                <a:gd name="connsiteX38" fmla="*/ 10668 w 114585"/>
                <a:gd name="connsiteY38" fmla="*/ 52927 h 113442"/>
                <a:gd name="connsiteX39" fmla="*/ 10668 w 114585"/>
                <a:gd name="connsiteY39" fmla="*/ 60642 h 113442"/>
                <a:gd name="connsiteX40" fmla="*/ 1715 w 114585"/>
                <a:gd name="connsiteY40" fmla="*/ 69183 h 113442"/>
                <a:gd name="connsiteX41" fmla="*/ 794 w 114585"/>
                <a:gd name="connsiteY41" fmla="*/ 70072 h 113442"/>
                <a:gd name="connsiteX42" fmla="*/ 0 w 114585"/>
                <a:gd name="connsiteY42" fmla="*/ 70803 h 113442"/>
                <a:gd name="connsiteX43" fmla="*/ 540 w 114585"/>
                <a:gd name="connsiteY43" fmla="*/ 71755 h 113442"/>
                <a:gd name="connsiteX44" fmla="*/ 1207 w 114585"/>
                <a:gd name="connsiteY44" fmla="*/ 72866 h 113442"/>
                <a:gd name="connsiteX45" fmla="*/ 15335 w 114585"/>
                <a:gd name="connsiteY45" fmla="*/ 97187 h 113442"/>
                <a:gd name="connsiteX46" fmla="*/ 16002 w 114585"/>
                <a:gd name="connsiteY46" fmla="*/ 98298 h 113442"/>
                <a:gd name="connsiteX47" fmla="*/ 16542 w 114585"/>
                <a:gd name="connsiteY47" fmla="*/ 99219 h 113442"/>
                <a:gd name="connsiteX48" fmla="*/ 17558 w 114585"/>
                <a:gd name="connsiteY48" fmla="*/ 98933 h 113442"/>
                <a:gd name="connsiteX49" fmla="*/ 18796 w 114585"/>
                <a:gd name="connsiteY49" fmla="*/ 98584 h 113442"/>
                <a:gd name="connsiteX50" fmla="*/ 30702 w 114585"/>
                <a:gd name="connsiteY50" fmla="*/ 95250 h 113442"/>
                <a:gd name="connsiteX51" fmla="*/ 37433 w 114585"/>
                <a:gd name="connsiteY51" fmla="*/ 99060 h 113442"/>
                <a:gd name="connsiteX52" fmla="*/ 40608 w 114585"/>
                <a:gd name="connsiteY52" fmla="*/ 111157 h 113442"/>
                <a:gd name="connsiteX53" fmla="*/ 40926 w 114585"/>
                <a:gd name="connsiteY53" fmla="*/ 112395 h 113442"/>
                <a:gd name="connsiteX54" fmla="*/ 41180 w 114585"/>
                <a:gd name="connsiteY54" fmla="*/ 113443 h 113442"/>
                <a:gd name="connsiteX55" fmla="*/ 43529 w 114585"/>
                <a:gd name="connsiteY55" fmla="*/ 113443 h 113442"/>
                <a:gd name="connsiteX56" fmla="*/ 71565 w 114585"/>
                <a:gd name="connsiteY56" fmla="*/ 113443 h 113442"/>
                <a:gd name="connsiteX57" fmla="*/ 73724 w 114585"/>
                <a:gd name="connsiteY57" fmla="*/ 113443 h 113442"/>
                <a:gd name="connsiteX58" fmla="*/ 73978 w 114585"/>
                <a:gd name="connsiteY58" fmla="*/ 112395 h 113442"/>
                <a:gd name="connsiteX59" fmla="*/ 74295 w 114585"/>
                <a:gd name="connsiteY59" fmla="*/ 111157 h 113442"/>
                <a:gd name="connsiteX60" fmla="*/ 77248 w 114585"/>
                <a:gd name="connsiteY60" fmla="*/ 99092 h 113442"/>
                <a:gd name="connsiteX61" fmla="*/ 80232 w 114585"/>
                <a:gd name="connsiteY61" fmla="*/ 97568 h 113442"/>
                <a:gd name="connsiteX62" fmla="*/ 80677 w 114585"/>
                <a:gd name="connsiteY62" fmla="*/ 97314 h 113442"/>
                <a:gd name="connsiteX63" fmla="*/ 83852 w 114585"/>
                <a:gd name="connsiteY63" fmla="*/ 95187 h 113442"/>
                <a:gd name="connsiteX64" fmla="*/ 95949 w 114585"/>
                <a:gd name="connsiteY64" fmla="*/ 98425 h 113442"/>
                <a:gd name="connsiteX65" fmla="*/ 97187 w 114585"/>
                <a:gd name="connsiteY65" fmla="*/ 98774 h 113442"/>
                <a:gd name="connsiteX66" fmla="*/ 98235 w 114585"/>
                <a:gd name="connsiteY66" fmla="*/ 99060 h 113442"/>
                <a:gd name="connsiteX67" fmla="*/ 98742 w 114585"/>
                <a:gd name="connsiteY67" fmla="*/ 98139 h 113442"/>
                <a:gd name="connsiteX68" fmla="*/ 99409 w 114585"/>
                <a:gd name="connsiteY68" fmla="*/ 97028 h 113442"/>
                <a:gd name="connsiteX69" fmla="*/ 113411 w 114585"/>
                <a:gd name="connsiteY69" fmla="*/ 72581 h 113442"/>
                <a:gd name="connsiteX70" fmla="*/ 114046 w 114585"/>
                <a:gd name="connsiteY70" fmla="*/ 71469 h 113442"/>
                <a:gd name="connsiteX71" fmla="*/ 114586 w 114585"/>
                <a:gd name="connsiteY71" fmla="*/ 70517 h 113442"/>
                <a:gd name="connsiteX72" fmla="*/ 80931 w 114585"/>
                <a:gd name="connsiteY72" fmla="*/ 78645 h 113442"/>
                <a:gd name="connsiteX73" fmla="*/ 80391 w 114585"/>
                <a:gd name="connsiteY73" fmla="*/ 79058 h 113442"/>
                <a:gd name="connsiteX74" fmla="*/ 79724 w 114585"/>
                <a:gd name="connsiteY74" fmla="*/ 79566 h 113442"/>
                <a:gd name="connsiteX75" fmla="*/ 76549 w 114585"/>
                <a:gd name="connsiteY75" fmla="*/ 81883 h 113442"/>
                <a:gd name="connsiteX76" fmla="*/ 73184 w 114585"/>
                <a:gd name="connsiteY76" fmla="*/ 84201 h 113442"/>
                <a:gd name="connsiteX77" fmla="*/ 72898 w 114585"/>
                <a:gd name="connsiteY77" fmla="*/ 84201 h 113442"/>
                <a:gd name="connsiteX78" fmla="*/ 69501 w 114585"/>
                <a:gd name="connsiteY78" fmla="*/ 85820 h 113442"/>
                <a:gd name="connsiteX79" fmla="*/ 65945 w 114585"/>
                <a:gd name="connsiteY79" fmla="*/ 87344 h 113442"/>
                <a:gd name="connsiteX80" fmla="*/ 65183 w 114585"/>
                <a:gd name="connsiteY80" fmla="*/ 87662 h 113442"/>
                <a:gd name="connsiteX81" fmla="*/ 64548 w 114585"/>
                <a:gd name="connsiteY81" fmla="*/ 87916 h 113442"/>
                <a:gd name="connsiteX82" fmla="*/ 64516 w 114585"/>
                <a:gd name="connsiteY82" fmla="*/ 88900 h 113442"/>
                <a:gd name="connsiteX83" fmla="*/ 64326 w 114585"/>
                <a:gd name="connsiteY83" fmla="*/ 89725 h 113442"/>
                <a:gd name="connsiteX84" fmla="*/ 62135 w 114585"/>
                <a:gd name="connsiteY84" fmla="*/ 98425 h 113442"/>
                <a:gd name="connsiteX85" fmla="*/ 52610 w 114585"/>
                <a:gd name="connsiteY85" fmla="*/ 98425 h 113442"/>
                <a:gd name="connsiteX86" fmla="*/ 50356 w 114585"/>
                <a:gd name="connsiteY86" fmla="*/ 89630 h 113442"/>
                <a:gd name="connsiteX87" fmla="*/ 50197 w 114585"/>
                <a:gd name="connsiteY87" fmla="*/ 88900 h 113442"/>
                <a:gd name="connsiteX88" fmla="*/ 50197 w 114585"/>
                <a:gd name="connsiteY88" fmla="*/ 88233 h 113442"/>
                <a:gd name="connsiteX89" fmla="*/ 49562 w 114585"/>
                <a:gd name="connsiteY89" fmla="*/ 87979 h 113442"/>
                <a:gd name="connsiteX90" fmla="*/ 48800 w 114585"/>
                <a:gd name="connsiteY90" fmla="*/ 87662 h 113442"/>
                <a:gd name="connsiteX91" fmla="*/ 45149 w 114585"/>
                <a:gd name="connsiteY91" fmla="*/ 86074 h 113442"/>
                <a:gd name="connsiteX92" fmla="*/ 38068 w 114585"/>
                <a:gd name="connsiteY92" fmla="*/ 82042 h 113442"/>
                <a:gd name="connsiteX93" fmla="*/ 34893 w 114585"/>
                <a:gd name="connsiteY93" fmla="*/ 79724 h 113442"/>
                <a:gd name="connsiteX94" fmla="*/ 34258 w 114585"/>
                <a:gd name="connsiteY94" fmla="*/ 79216 h 113442"/>
                <a:gd name="connsiteX95" fmla="*/ 33687 w 114585"/>
                <a:gd name="connsiteY95" fmla="*/ 78804 h 113442"/>
                <a:gd name="connsiteX96" fmla="*/ 33052 w 114585"/>
                <a:gd name="connsiteY96" fmla="*/ 78994 h 113442"/>
                <a:gd name="connsiteX97" fmla="*/ 32258 w 114585"/>
                <a:gd name="connsiteY97" fmla="*/ 79216 h 113442"/>
                <a:gd name="connsiteX98" fmla="*/ 23590 w 114585"/>
                <a:gd name="connsiteY98" fmla="*/ 81725 h 113442"/>
                <a:gd name="connsiteX99" fmla="*/ 18796 w 114585"/>
                <a:gd name="connsiteY99" fmla="*/ 73501 h 113442"/>
                <a:gd name="connsiteX100" fmla="*/ 25146 w 114585"/>
                <a:gd name="connsiteY100" fmla="*/ 67151 h 113442"/>
                <a:gd name="connsiteX101" fmla="*/ 25717 w 114585"/>
                <a:gd name="connsiteY101" fmla="*/ 66580 h 113442"/>
                <a:gd name="connsiteX102" fmla="*/ 26226 w 114585"/>
                <a:gd name="connsiteY102" fmla="*/ 66072 h 113442"/>
                <a:gd name="connsiteX103" fmla="*/ 26226 w 114585"/>
                <a:gd name="connsiteY103" fmla="*/ 65405 h 113442"/>
                <a:gd name="connsiteX104" fmla="*/ 26226 w 114585"/>
                <a:gd name="connsiteY104" fmla="*/ 64580 h 113442"/>
                <a:gd name="connsiteX105" fmla="*/ 25717 w 114585"/>
                <a:gd name="connsiteY105" fmla="*/ 60770 h 113442"/>
                <a:gd name="connsiteX106" fmla="*/ 25717 w 114585"/>
                <a:gd name="connsiteY106" fmla="*/ 52610 h 113442"/>
                <a:gd name="connsiteX107" fmla="*/ 26194 w 114585"/>
                <a:gd name="connsiteY107" fmla="*/ 48800 h 113442"/>
                <a:gd name="connsiteX108" fmla="*/ 26194 w 114585"/>
                <a:gd name="connsiteY108" fmla="*/ 47974 h 113442"/>
                <a:gd name="connsiteX109" fmla="*/ 26194 w 114585"/>
                <a:gd name="connsiteY109" fmla="*/ 47276 h 113442"/>
                <a:gd name="connsiteX110" fmla="*/ 25717 w 114585"/>
                <a:gd name="connsiteY110" fmla="*/ 46800 h 113442"/>
                <a:gd name="connsiteX111" fmla="*/ 25114 w 114585"/>
                <a:gd name="connsiteY111" fmla="*/ 46228 h 113442"/>
                <a:gd name="connsiteX112" fmla="*/ 18542 w 114585"/>
                <a:gd name="connsiteY112" fmla="*/ 39878 h 113442"/>
                <a:gd name="connsiteX113" fmla="*/ 23368 w 114585"/>
                <a:gd name="connsiteY113" fmla="*/ 31750 h 113442"/>
                <a:gd name="connsiteX114" fmla="*/ 32099 w 114585"/>
                <a:gd name="connsiteY114" fmla="*/ 34227 h 113442"/>
                <a:gd name="connsiteX115" fmla="*/ 32925 w 114585"/>
                <a:gd name="connsiteY115" fmla="*/ 34449 h 113442"/>
                <a:gd name="connsiteX116" fmla="*/ 33560 w 114585"/>
                <a:gd name="connsiteY116" fmla="*/ 34639 h 113442"/>
                <a:gd name="connsiteX117" fmla="*/ 34131 w 114585"/>
                <a:gd name="connsiteY117" fmla="*/ 34227 h 113442"/>
                <a:gd name="connsiteX118" fmla="*/ 34766 w 114585"/>
                <a:gd name="connsiteY118" fmla="*/ 33719 h 113442"/>
                <a:gd name="connsiteX119" fmla="*/ 37941 w 114585"/>
                <a:gd name="connsiteY119" fmla="*/ 31369 h 113442"/>
                <a:gd name="connsiteX120" fmla="*/ 41339 w 114585"/>
                <a:gd name="connsiteY120" fmla="*/ 29083 h 113442"/>
                <a:gd name="connsiteX121" fmla="*/ 41592 w 114585"/>
                <a:gd name="connsiteY121" fmla="*/ 29083 h 113442"/>
                <a:gd name="connsiteX122" fmla="*/ 45022 w 114585"/>
                <a:gd name="connsiteY122" fmla="*/ 27432 h 113442"/>
                <a:gd name="connsiteX123" fmla="*/ 48324 w 114585"/>
                <a:gd name="connsiteY123" fmla="*/ 25749 h 113442"/>
                <a:gd name="connsiteX124" fmla="*/ 49085 w 114585"/>
                <a:gd name="connsiteY124" fmla="*/ 25432 h 113442"/>
                <a:gd name="connsiteX125" fmla="*/ 49721 w 114585"/>
                <a:gd name="connsiteY125" fmla="*/ 25146 h 113442"/>
                <a:gd name="connsiteX126" fmla="*/ 49721 w 114585"/>
                <a:gd name="connsiteY126" fmla="*/ 24479 h 113442"/>
                <a:gd name="connsiteX127" fmla="*/ 49911 w 114585"/>
                <a:gd name="connsiteY127" fmla="*/ 23685 h 113442"/>
                <a:gd name="connsiteX128" fmla="*/ 52102 w 114585"/>
                <a:gd name="connsiteY128" fmla="*/ 14859 h 113442"/>
                <a:gd name="connsiteX129" fmla="*/ 61627 w 114585"/>
                <a:gd name="connsiteY129" fmla="*/ 14859 h 113442"/>
                <a:gd name="connsiteX130" fmla="*/ 63849 w 114585"/>
                <a:gd name="connsiteY130" fmla="*/ 23685 h 113442"/>
                <a:gd name="connsiteX131" fmla="*/ 64040 w 114585"/>
                <a:gd name="connsiteY131" fmla="*/ 24479 h 113442"/>
                <a:gd name="connsiteX132" fmla="*/ 64230 w 114585"/>
                <a:gd name="connsiteY132" fmla="*/ 25146 h 113442"/>
                <a:gd name="connsiteX133" fmla="*/ 64865 w 114585"/>
                <a:gd name="connsiteY133" fmla="*/ 25432 h 113442"/>
                <a:gd name="connsiteX134" fmla="*/ 65627 w 114585"/>
                <a:gd name="connsiteY134" fmla="*/ 25718 h 113442"/>
                <a:gd name="connsiteX135" fmla="*/ 69183 w 114585"/>
                <a:gd name="connsiteY135" fmla="*/ 27210 h 113442"/>
                <a:gd name="connsiteX136" fmla="*/ 76295 w 114585"/>
                <a:gd name="connsiteY136" fmla="*/ 31242 h 113442"/>
                <a:gd name="connsiteX137" fmla="*/ 79470 w 114585"/>
                <a:gd name="connsiteY137" fmla="*/ 33560 h 113442"/>
                <a:gd name="connsiteX138" fmla="*/ 80137 w 114585"/>
                <a:gd name="connsiteY138" fmla="*/ 34068 h 113442"/>
                <a:gd name="connsiteX139" fmla="*/ 80677 w 114585"/>
                <a:gd name="connsiteY139" fmla="*/ 34481 h 113442"/>
                <a:gd name="connsiteX140" fmla="*/ 81344 w 114585"/>
                <a:gd name="connsiteY140" fmla="*/ 34290 h 113442"/>
                <a:gd name="connsiteX141" fmla="*/ 82137 w 114585"/>
                <a:gd name="connsiteY141" fmla="*/ 34036 h 113442"/>
                <a:gd name="connsiteX142" fmla="*/ 90837 w 114585"/>
                <a:gd name="connsiteY142" fmla="*/ 31528 h 113442"/>
                <a:gd name="connsiteX143" fmla="*/ 95631 w 114585"/>
                <a:gd name="connsiteY143" fmla="*/ 39751 h 113442"/>
                <a:gd name="connsiteX144" fmla="*/ 89281 w 114585"/>
                <a:gd name="connsiteY144" fmla="*/ 46101 h 113442"/>
                <a:gd name="connsiteX145" fmla="*/ 88678 w 114585"/>
                <a:gd name="connsiteY145" fmla="*/ 46673 h 113442"/>
                <a:gd name="connsiteX146" fmla="*/ 88170 w 114585"/>
                <a:gd name="connsiteY146" fmla="*/ 47149 h 113442"/>
                <a:gd name="connsiteX147" fmla="*/ 88170 w 114585"/>
                <a:gd name="connsiteY147" fmla="*/ 47847 h 113442"/>
                <a:gd name="connsiteX148" fmla="*/ 88170 w 114585"/>
                <a:gd name="connsiteY148" fmla="*/ 48673 h 113442"/>
                <a:gd name="connsiteX149" fmla="*/ 88678 w 114585"/>
                <a:gd name="connsiteY149" fmla="*/ 52483 h 113442"/>
                <a:gd name="connsiteX150" fmla="*/ 88678 w 114585"/>
                <a:gd name="connsiteY150" fmla="*/ 60642 h 113442"/>
                <a:gd name="connsiteX151" fmla="*/ 88202 w 114585"/>
                <a:gd name="connsiteY151" fmla="*/ 64452 h 113442"/>
                <a:gd name="connsiteX152" fmla="*/ 88202 w 114585"/>
                <a:gd name="connsiteY152" fmla="*/ 65278 h 113442"/>
                <a:gd name="connsiteX153" fmla="*/ 88202 w 114585"/>
                <a:gd name="connsiteY153" fmla="*/ 65977 h 113442"/>
                <a:gd name="connsiteX154" fmla="*/ 88710 w 114585"/>
                <a:gd name="connsiteY154" fmla="*/ 66453 h 113442"/>
                <a:gd name="connsiteX155" fmla="*/ 89313 w 114585"/>
                <a:gd name="connsiteY155" fmla="*/ 67024 h 113442"/>
                <a:gd name="connsiteX156" fmla="*/ 95853 w 114585"/>
                <a:gd name="connsiteY156" fmla="*/ 73374 h 113442"/>
                <a:gd name="connsiteX157" fmla="*/ 91123 w 114585"/>
                <a:gd name="connsiteY157" fmla="*/ 81629 h 113442"/>
                <a:gd name="connsiteX158" fmla="*/ 82391 w 114585"/>
                <a:gd name="connsiteY158" fmla="*/ 79184 h 113442"/>
                <a:gd name="connsiteX159" fmla="*/ 81598 w 114585"/>
                <a:gd name="connsiteY159" fmla="*/ 78962 h 113442"/>
                <a:gd name="connsiteX160" fmla="*/ 1746 w 114585"/>
                <a:gd name="connsiteY160" fmla="*/ 71057 h 113442"/>
                <a:gd name="connsiteX161" fmla="*/ 2064 w 114585"/>
                <a:gd name="connsiteY161" fmla="*/ 71628 h 113442"/>
                <a:gd name="connsiteX162" fmla="*/ 1746 w 114585"/>
                <a:gd name="connsiteY162" fmla="*/ 71057 h 11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14585" h="113442">
                  <a:moveTo>
                    <a:pt x="113824" y="69659"/>
                  </a:moveTo>
                  <a:lnTo>
                    <a:pt x="112871" y="68771"/>
                  </a:lnTo>
                  <a:lnTo>
                    <a:pt x="103823" y="60325"/>
                  </a:lnTo>
                  <a:cubicBezTo>
                    <a:pt x="104029" y="57757"/>
                    <a:pt x="104029" y="55177"/>
                    <a:pt x="103823" y="52610"/>
                  </a:cubicBezTo>
                  <a:lnTo>
                    <a:pt x="112713" y="43974"/>
                  </a:lnTo>
                  <a:lnTo>
                    <a:pt x="113633" y="43085"/>
                  </a:lnTo>
                  <a:lnTo>
                    <a:pt x="114395" y="42323"/>
                  </a:lnTo>
                  <a:lnTo>
                    <a:pt x="113856" y="41402"/>
                  </a:lnTo>
                  <a:lnTo>
                    <a:pt x="113221" y="40291"/>
                  </a:lnTo>
                  <a:lnTo>
                    <a:pt x="99124" y="15875"/>
                  </a:lnTo>
                  <a:lnTo>
                    <a:pt x="98457" y="14764"/>
                  </a:lnTo>
                  <a:lnTo>
                    <a:pt x="97917" y="13811"/>
                  </a:lnTo>
                  <a:lnTo>
                    <a:pt x="96869" y="14129"/>
                  </a:lnTo>
                  <a:lnTo>
                    <a:pt x="95631" y="14510"/>
                  </a:lnTo>
                  <a:lnTo>
                    <a:pt x="83788" y="18002"/>
                  </a:lnTo>
                  <a:cubicBezTo>
                    <a:pt x="81651" y="16553"/>
                    <a:pt x="79400" y="15279"/>
                    <a:pt x="77057" y="14192"/>
                  </a:cubicBezTo>
                  <a:lnTo>
                    <a:pt x="73882" y="2127"/>
                  </a:lnTo>
                  <a:lnTo>
                    <a:pt x="73565" y="889"/>
                  </a:lnTo>
                  <a:lnTo>
                    <a:pt x="73406" y="0"/>
                  </a:lnTo>
                  <a:lnTo>
                    <a:pt x="71057" y="0"/>
                  </a:lnTo>
                  <a:lnTo>
                    <a:pt x="43117" y="0"/>
                  </a:lnTo>
                  <a:lnTo>
                    <a:pt x="40767" y="0"/>
                  </a:lnTo>
                  <a:lnTo>
                    <a:pt x="40513" y="1016"/>
                  </a:lnTo>
                  <a:lnTo>
                    <a:pt x="40196" y="2254"/>
                  </a:lnTo>
                  <a:lnTo>
                    <a:pt x="37021" y="14351"/>
                  </a:lnTo>
                  <a:cubicBezTo>
                    <a:pt x="35973" y="14827"/>
                    <a:pt x="34989" y="15335"/>
                    <a:pt x="34036" y="15875"/>
                  </a:cubicBezTo>
                  <a:lnTo>
                    <a:pt x="33592" y="16129"/>
                  </a:lnTo>
                  <a:cubicBezTo>
                    <a:pt x="32496" y="16781"/>
                    <a:pt x="31436" y="17491"/>
                    <a:pt x="30417" y="18256"/>
                  </a:cubicBezTo>
                  <a:lnTo>
                    <a:pt x="18479" y="14986"/>
                  </a:lnTo>
                  <a:lnTo>
                    <a:pt x="17240" y="14637"/>
                  </a:lnTo>
                  <a:lnTo>
                    <a:pt x="16192" y="14351"/>
                  </a:lnTo>
                  <a:lnTo>
                    <a:pt x="15685" y="15272"/>
                  </a:lnTo>
                  <a:lnTo>
                    <a:pt x="15049" y="16383"/>
                  </a:lnTo>
                  <a:lnTo>
                    <a:pt x="1143" y="40640"/>
                  </a:lnTo>
                  <a:lnTo>
                    <a:pt x="508" y="41751"/>
                  </a:lnTo>
                  <a:lnTo>
                    <a:pt x="0" y="42672"/>
                  </a:lnTo>
                  <a:lnTo>
                    <a:pt x="762" y="43402"/>
                  </a:lnTo>
                  <a:lnTo>
                    <a:pt x="1683" y="44291"/>
                  </a:lnTo>
                  <a:lnTo>
                    <a:pt x="10668" y="52927"/>
                  </a:lnTo>
                  <a:cubicBezTo>
                    <a:pt x="10446" y="55494"/>
                    <a:pt x="10446" y="58076"/>
                    <a:pt x="10668" y="60642"/>
                  </a:cubicBezTo>
                  <a:lnTo>
                    <a:pt x="1715" y="69183"/>
                  </a:lnTo>
                  <a:lnTo>
                    <a:pt x="794" y="70072"/>
                  </a:lnTo>
                  <a:lnTo>
                    <a:pt x="0" y="70803"/>
                  </a:lnTo>
                  <a:lnTo>
                    <a:pt x="540" y="71755"/>
                  </a:lnTo>
                  <a:lnTo>
                    <a:pt x="1207" y="72866"/>
                  </a:lnTo>
                  <a:lnTo>
                    <a:pt x="15335" y="97187"/>
                  </a:lnTo>
                  <a:lnTo>
                    <a:pt x="16002" y="98298"/>
                  </a:lnTo>
                  <a:lnTo>
                    <a:pt x="16542" y="99219"/>
                  </a:lnTo>
                  <a:lnTo>
                    <a:pt x="17558" y="98933"/>
                  </a:lnTo>
                  <a:lnTo>
                    <a:pt x="18796" y="98584"/>
                  </a:lnTo>
                  <a:lnTo>
                    <a:pt x="30702" y="95250"/>
                  </a:lnTo>
                  <a:cubicBezTo>
                    <a:pt x="32841" y="96698"/>
                    <a:pt x="35091" y="97972"/>
                    <a:pt x="37433" y="99060"/>
                  </a:cubicBezTo>
                  <a:lnTo>
                    <a:pt x="40608" y="111157"/>
                  </a:lnTo>
                  <a:lnTo>
                    <a:pt x="40926" y="112395"/>
                  </a:lnTo>
                  <a:lnTo>
                    <a:pt x="41180" y="113443"/>
                  </a:lnTo>
                  <a:lnTo>
                    <a:pt x="43529" y="113443"/>
                  </a:lnTo>
                  <a:lnTo>
                    <a:pt x="71565" y="113443"/>
                  </a:lnTo>
                  <a:lnTo>
                    <a:pt x="73724" y="113443"/>
                  </a:lnTo>
                  <a:lnTo>
                    <a:pt x="73978" y="112395"/>
                  </a:lnTo>
                  <a:lnTo>
                    <a:pt x="74295" y="111157"/>
                  </a:lnTo>
                  <a:lnTo>
                    <a:pt x="77248" y="99092"/>
                  </a:lnTo>
                  <a:cubicBezTo>
                    <a:pt x="78327" y="98584"/>
                    <a:pt x="79312" y="98076"/>
                    <a:pt x="80232" y="97568"/>
                  </a:cubicBezTo>
                  <a:lnTo>
                    <a:pt x="80677" y="97314"/>
                  </a:lnTo>
                  <a:cubicBezTo>
                    <a:pt x="81756" y="96679"/>
                    <a:pt x="82804" y="95980"/>
                    <a:pt x="83852" y="95187"/>
                  </a:cubicBezTo>
                  <a:lnTo>
                    <a:pt x="95949" y="98425"/>
                  </a:lnTo>
                  <a:lnTo>
                    <a:pt x="97187" y="98774"/>
                  </a:lnTo>
                  <a:lnTo>
                    <a:pt x="98235" y="99060"/>
                  </a:lnTo>
                  <a:lnTo>
                    <a:pt x="98742" y="98139"/>
                  </a:lnTo>
                  <a:lnTo>
                    <a:pt x="99409" y="97028"/>
                  </a:lnTo>
                  <a:lnTo>
                    <a:pt x="113411" y="72581"/>
                  </a:lnTo>
                  <a:lnTo>
                    <a:pt x="114046" y="71469"/>
                  </a:lnTo>
                  <a:lnTo>
                    <a:pt x="114586" y="70517"/>
                  </a:lnTo>
                  <a:close/>
                  <a:moveTo>
                    <a:pt x="80931" y="78645"/>
                  </a:moveTo>
                  <a:lnTo>
                    <a:pt x="80391" y="79058"/>
                  </a:lnTo>
                  <a:lnTo>
                    <a:pt x="79724" y="79566"/>
                  </a:lnTo>
                  <a:lnTo>
                    <a:pt x="76549" y="81883"/>
                  </a:lnTo>
                  <a:cubicBezTo>
                    <a:pt x="75476" y="82725"/>
                    <a:pt x="74352" y="83499"/>
                    <a:pt x="73184" y="84201"/>
                  </a:cubicBezTo>
                  <a:lnTo>
                    <a:pt x="72898" y="84201"/>
                  </a:lnTo>
                  <a:cubicBezTo>
                    <a:pt x="71799" y="84808"/>
                    <a:pt x="70664" y="85349"/>
                    <a:pt x="69501" y="85820"/>
                  </a:cubicBezTo>
                  <a:lnTo>
                    <a:pt x="65945" y="87344"/>
                  </a:lnTo>
                  <a:lnTo>
                    <a:pt x="65183" y="87662"/>
                  </a:lnTo>
                  <a:lnTo>
                    <a:pt x="64548" y="87916"/>
                  </a:lnTo>
                  <a:lnTo>
                    <a:pt x="64516" y="88900"/>
                  </a:lnTo>
                  <a:lnTo>
                    <a:pt x="64326" y="89725"/>
                  </a:lnTo>
                  <a:lnTo>
                    <a:pt x="62135" y="98425"/>
                  </a:lnTo>
                  <a:lnTo>
                    <a:pt x="52610" y="98425"/>
                  </a:lnTo>
                  <a:lnTo>
                    <a:pt x="50356" y="89630"/>
                  </a:lnTo>
                  <a:lnTo>
                    <a:pt x="50197" y="88900"/>
                  </a:lnTo>
                  <a:lnTo>
                    <a:pt x="50197" y="88233"/>
                  </a:lnTo>
                  <a:lnTo>
                    <a:pt x="49562" y="87979"/>
                  </a:lnTo>
                  <a:lnTo>
                    <a:pt x="48800" y="87662"/>
                  </a:lnTo>
                  <a:lnTo>
                    <a:pt x="45149" y="86074"/>
                  </a:lnTo>
                  <a:cubicBezTo>
                    <a:pt x="42627" y="85037"/>
                    <a:pt x="40247" y="83682"/>
                    <a:pt x="38068" y="82042"/>
                  </a:cubicBezTo>
                  <a:lnTo>
                    <a:pt x="34893" y="79724"/>
                  </a:lnTo>
                  <a:lnTo>
                    <a:pt x="34258" y="79216"/>
                  </a:lnTo>
                  <a:lnTo>
                    <a:pt x="33687" y="78804"/>
                  </a:lnTo>
                  <a:lnTo>
                    <a:pt x="33052" y="78994"/>
                  </a:lnTo>
                  <a:lnTo>
                    <a:pt x="32258" y="79216"/>
                  </a:lnTo>
                  <a:lnTo>
                    <a:pt x="23590" y="81725"/>
                  </a:lnTo>
                  <a:lnTo>
                    <a:pt x="18796" y="73501"/>
                  </a:lnTo>
                  <a:lnTo>
                    <a:pt x="25146" y="67151"/>
                  </a:lnTo>
                  <a:lnTo>
                    <a:pt x="25717" y="66580"/>
                  </a:lnTo>
                  <a:lnTo>
                    <a:pt x="26226" y="66072"/>
                  </a:lnTo>
                  <a:lnTo>
                    <a:pt x="26226" y="65405"/>
                  </a:lnTo>
                  <a:lnTo>
                    <a:pt x="26226" y="64580"/>
                  </a:lnTo>
                  <a:lnTo>
                    <a:pt x="25717" y="60770"/>
                  </a:lnTo>
                  <a:cubicBezTo>
                    <a:pt x="25367" y="58061"/>
                    <a:pt x="25367" y="55318"/>
                    <a:pt x="25717" y="52610"/>
                  </a:cubicBezTo>
                  <a:lnTo>
                    <a:pt x="26194" y="48800"/>
                  </a:lnTo>
                  <a:lnTo>
                    <a:pt x="26194" y="47974"/>
                  </a:lnTo>
                  <a:lnTo>
                    <a:pt x="26194" y="47276"/>
                  </a:lnTo>
                  <a:lnTo>
                    <a:pt x="25717" y="46800"/>
                  </a:lnTo>
                  <a:lnTo>
                    <a:pt x="25114" y="46228"/>
                  </a:lnTo>
                  <a:lnTo>
                    <a:pt x="18542" y="39878"/>
                  </a:lnTo>
                  <a:lnTo>
                    <a:pt x="23368" y="31750"/>
                  </a:lnTo>
                  <a:lnTo>
                    <a:pt x="32099" y="34227"/>
                  </a:lnTo>
                  <a:lnTo>
                    <a:pt x="32925" y="34449"/>
                  </a:lnTo>
                  <a:lnTo>
                    <a:pt x="33560" y="34639"/>
                  </a:lnTo>
                  <a:lnTo>
                    <a:pt x="34131" y="34227"/>
                  </a:lnTo>
                  <a:lnTo>
                    <a:pt x="34766" y="33719"/>
                  </a:lnTo>
                  <a:lnTo>
                    <a:pt x="37941" y="31369"/>
                  </a:lnTo>
                  <a:cubicBezTo>
                    <a:pt x="39021" y="30531"/>
                    <a:pt x="40156" y="29768"/>
                    <a:pt x="41339" y="29083"/>
                  </a:cubicBezTo>
                  <a:lnTo>
                    <a:pt x="41592" y="29083"/>
                  </a:lnTo>
                  <a:cubicBezTo>
                    <a:pt x="42698" y="28459"/>
                    <a:pt x="43844" y="27907"/>
                    <a:pt x="45022" y="27432"/>
                  </a:cubicBezTo>
                  <a:lnTo>
                    <a:pt x="48324" y="25749"/>
                  </a:lnTo>
                  <a:lnTo>
                    <a:pt x="49085" y="25432"/>
                  </a:lnTo>
                  <a:lnTo>
                    <a:pt x="49721" y="25146"/>
                  </a:lnTo>
                  <a:lnTo>
                    <a:pt x="49721" y="24479"/>
                  </a:lnTo>
                  <a:lnTo>
                    <a:pt x="49911" y="23685"/>
                  </a:lnTo>
                  <a:lnTo>
                    <a:pt x="52102" y="14859"/>
                  </a:lnTo>
                  <a:lnTo>
                    <a:pt x="61627" y="14859"/>
                  </a:lnTo>
                  <a:lnTo>
                    <a:pt x="63849" y="23685"/>
                  </a:lnTo>
                  <a:lnTo>
                    <a:pt x="64040" y="24479"/>
                  </a:lnTo>
                  <a:lnTo>
                    <a:pt x="64230" y="25146"/>
                  </a:lnTo>
                  <a:lnTo>
                    <a:pt x="64865" y="25432"/>
                  </a:lnTo>
                  <a:lnTo>
                    <a:pt x="65627" y="25718"/>
                  </a:lnTo>
                  <a:lnTo>
                    <a:pt x="69183" y="27210"/>
                  </a:lnTo>
                  <a:cubicBezTo>
                    <a:pt x="71721" y="28235"/>
                    <a:pt x="74114" y="29591"/>
                    <a:pt x="76295" y="31242"/>
                  </a:cubicBezTo>
                  <a:lnTo>
                    <a:pt x="79470" y="33560"/>
                  </a:lnTo>
                  <a:lnTo>
                    <a:pt x="80137" y="34068"/>
                  </a:lnTo>
                  <a:lnTo>
                    <a:pt x="80677" y="34481"/>
                  </a:lnTo>
                  <a:lnTo>
                    <a:pt x="81344" y="34290"/>
                  </a:lnTo>
                  <a:lnTo>
                    <a:pt x="82137" y="34036"/>
                  </a:lnTo>
                  <a:lnTo>
                    <a:pt x="90837" y="31528"/>
                  </a:lnTo>
                  <a:lnTo>
                    <a:pt x="95631" y="39751"/>
                  </a:lnTo>
                  <a:lnTo>
                    <a:pt x="89281" y="46101"/>
                  </a:lnTo>
                  <a:lnTo>
                    <a:pt x="88678" y="46673"/>
                  </a:lnTo>
                  <a:lnTo>
                    <a:pt x="88170" y="47149"/>
                  </a:lnTo>
                  <a:lnTo>
                    <a:pt x="88170" y="47847"/>
                  </a:lnTo>
                  <a:lnTo>
                    <a:pt x="88170" y="48673"/>
                  </a:lnTo>
                  <a:lnTo>
                    <a:pt x="88678" y="52483"/>
                  </a:lnTo>
                  <a:cubicBezTo>
                    <a:pt x="89011" y="55193"/>
                    <a:pt x="89011" y="57933"/>
                    <a:pt x="88678" y="60642"/>
                  </a:cubicBezTo>
                  <a:lnTo>
                    <a:pt x="88202" y="64452"/>
                  </a:lnTo>
                  <a:lnTo>
                    <a:pt x="88202" y="65278"/>
                  </a:lnTo>
                  <a:lnTo>
                    <a:pt x="88202" y="65977"/>
                  </a:lnTo>
                  <a:lnTo>
                    <a:pt x="88710" y="66453"/>
                  </a:lnTo>
                  <a:lnTo>
                    <a:pt x="89313" y="67024"/>
                  </a:lnTo>
                  <a:lnTo>
                    <a:pt x="95853" y="73374"/>
                  </a:lnTo>
                  <a:lnTo>
                    <a:pt x="91123" y="81629"/>
                  </a:lnTo>
                  <a:lnTo>
                    <a:pt x="82391" y="79184"/>
                  </a:lnTo>
                  <a:lnTo>
                    <a:pt x="81598" y="78962"/>
                  </a:lnTo>
                  <a:close/>
                  <a:moveTo>
                    <a:pt x="1746" y="71057"/>
                  </a:moveTo>
                  <a:lnTo>
                    <a:pt x="2064" y="71628"/>
                  </a:lnTo>
                  <a:lnTo>
                    <a:pt x="1746" y="71057"/>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53" name="Freeform 182">
              <a:extLst>
                <a:ext uri="{FF2B5EF4-FFF2-40B4-BE49-F238E27FC236}">
                  <a16:creationId xmlns:a16="http://schemas.microsoft.com/office/drawing/2014/main" id="{75079C5E-F386-4A58-87ED-26A9025882B0}"/>
                </a:ext>
              </a:extLst>
            </p:cNvPr>
            <p:cNvSpPr/>
            <p:nvPr/>
          </p:nvSpPr>
          <p:spPr>
            <a:xfrm>
              <a:off x="3804191" y="2642632"/>
              <a:ext cx="32130" cy="32133"/>
            </a:xfrm>
            <a:custGeom>
              <a:avLst/>
              <a:gdLst>
                <a:gd name="connsiteX0" fmla="*/ 30018 w 32130"/>
                <a:gd name="connsiteY0" fmla="*/ 8099 h 32133"/>
                <a:gd name="connsiteX1" fmla="*/ 8099 w 32130"/>
                <a:gd name="connsiteY1" fmla="*/ 2119 h 32133"/>
                <a:gd name="connsiteX2" fmla="*/ 2119 w 32130"/>
                <a:gd name="connsiteY2" fmla="*/ 24037 h 32133"/>
                <a:gd name="connsiteX3" fmla="*/ 16111 w 32130"/>
                <a:gd name="connsiteY3" fmla="*/ 32134 h 32133"/>
                <a:gd name="connsiteX4" fmla="*/ 24081 w 32130"/>
                <a:gd name="connsiteY4" fmla="*/ 30006 h 32133"/>
                <a:gd name="connsiteX5" fmla="*/ 30018 w 32130"/>
                <a:gd name="connsiteY5" fmla="*/ 8099 h 32133"/>
                <a:gd name="connsiteX6" fmla="*/ 19350 w 32130"/>
                <a:gd name="connsiteY6" fmla="*/ 16957 h 32133"/>
                <a:gd name="connsiteX7" fmla="*/ 17762 w 32130"/>
                <a:gd name="connsiteY7" fmla="*/ 18989 h 32133"/>
                <a:gd name="connsiteX8" fmla="*/ 13225 w 32130"/>
                <a:gd name="connsiteY8" fmla="*/ 17552 h 32133"/>
                <a:gd name="connsiteX9" fmla="*/ 14662 w 32130"/>
                <a:gd name="connsiteY9" fmla="*/ 13015 h 32133"/>
                <a:gd name="connsiteX10" fmla="*/ 16080 w 32130"/>
                <a:gd name="connsiteY10" fmla="*/ 12639 h 32133"/>
                <a:gd name="connsiteX11" fmla="*/ 19384 w 32130"/>
                <a:gd name="connsiteY11" fmla="*/ 16002 h 32133"/>
                <a:gd name="connsiteX12" fmla="*/ 19255 w 32130"/>
                <a:gd name="connsiteY12" fmla="*/ 16894 h 32133"/>
                <a:gd name="connsiteX13" fmla="*/ 17318 w 32130"/>
                <a:gd name="connsiteY13" fmla="*/ 11496 h 32133"/>
                <a:gd name="connsiteX14" fmla="*/ 17318 w 32130"/>
                <a:gd name="connsiteY14" fmla="*/ 11496 h 32133"/>
                <a:gd name="connsiteX15" fmla="*/ 12587 w 32130"/>
                <a:gd name="connsiteY15" fmla="*/ 30292 h 32133"/>
                <a:gd name="connsiteX16" fmla="*/ 12587 w 32130"/>
                <a:gd name="connsiteY16" fmla="*/ 30292 h 32133"/>
                <a:gd name="connsiteX17" fmla="*/ 14873 w 32130"/>
                <a:gd name="connsiteY17" fmla="*/ 20767 h 32133"/>
                <a:gd name="connsiteX18" fmla="*/ 14873 w 32130"/>
                <a:gd name="connsiteY18" fmla="*/ 20767 h 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130" h="32133">
                  <a:moveTo>
                    <a:pt x="30018" y="8099"/>
                  </a:moveTo>
                  <a:cubicBezTo>
                    <a:pt x="25617" y="395"/>
                    <a:pt x="15803" y="-2283"/>
                    <a:pt x="8099" y="2119"/>
                  </a:cubicBezTo>
                  <a:cubicBezTo>
                    <a:pt x="395" y="6520"/>
                    <a:pt x="-2283" y="16333"/>
                    <a:pt x="2119" y="24037"/>
                  </a:cubicBezTo>
                  <a:cubicBezTo>
                    <a:pt x="4986" y="29057"/>
                    <a:pt x="10330" y="32149"/>
                    <a:pt x="16111" y="32134"/>
                  </a:cubicBezTo>
                  <a:cubicBezTo>
                    <a:pt x="18907" y="32122"/>
                    <a:pt x="21651" y="31389"/>
                    <a:pt x="24081" y="30006"/>
                  </a:cubicBezTo>
                  <a:cubicBezTo>
                    <a:pt x="31747" y="25579"/>
                    <a:pt x="34399" y="15792"/>
                    <a:pt x="30018" y="8099"/>
                  </a:cubicBezTo>
                  <a:close/>
                  <a:moveTo>
                    <a:pt x="19350" y="16957"/>
                  </a:moveTo>
                  <a:cubicBezTo>
                    <a:pt x="19132" y="17829"/>
                    <a:pt x="18555" y="18567"/>
                    <a:pt x="17762" y="18989"/>
                  </a:cubicBezTo>
                  <a:cubicBezTo>
                    <a:pt x="16113" y="19845"/>
                    <a:pt x="14081" y="19202"/>
                    <a:pt x="13225" y="17552"/>
                  </a:cubicBezTo>
                  <a:cubicBezTo>
                    <a:pt x="12369" y="15903"/>
                    <a:pt x="13012" y="13871"/>
                    <a:pt x="14662" y="13015"/>
                  </a:cubicBezTo>
                  <a:cubicBezTo>
                    <a:pt x="15101" y="12787"/>
                    <a:pt x="15585" y="12659"/>
                    <a:pt x="16080" y="12639"/>
                  </a:cubicBezTo>
                  <a:cubicBezTo>
                    <a:pt x="17921" y="12655"/>
                    <a:pt x="19400" y="14161"/>
                    <a:pt x="19384" y="16002"/>
                  </a:cubicBezTo>
                  <a:cubicBezTo>
                    <a:pt x="19382" y="16304"/>
                    <a:pt x="19338" y="16603"/>
                    <a:pt x="19255" y="16894"/>
                  </a:cubicBezTo>
                  <a:close/>
                  <a:moveTo>
                    <a:pt x="17318" y="11496"/>
                  </a:moveTo>
                  <a:lnTo>
                    <a:pt x="17318" y="11496"/>
                  </a:lnTo>
                  <a:close/>
                  <a:moveTo>
                    <a:pt x="12587" y="30292"/>
                  </a:moveTo>
                  <a:lnTo>
                    <a:pt x="12587" y="30292"/>
                  </a:lnTo>
                  <a:close/>
                  <a:moveTo>
                    <a:pt x="14873" y="20767"/>
                  </a:moveTo>
                  <a:lnTo>
                    <a:pt x="14873" y="20767"/>
                  </a:lnTo>
                  <a:close/>
                </a:path>
              </a:pathLst>
            </a:custGeom>
            <a:grpFill/>
            <a:ln w="3175" cap="flat">
              <a:noFill/>
              <a:prstDash val="solid"/>
              <a:miter/>
            </a:ln>
          </p:spPr>
          <p:txBody>
            <a:bodyPr rtlCol="0" anchor="ctr"/>
            <a:lstStyle/>
            <a:p>
              <a:endParaRPr lang="en-GB" sz="700" b="1" dirty="0">
                <a:solidFill>
                  <a:schemeClr val="accent1"/>
                </a:solidFill>
              </a:endParaRPr>
            </a:p>
          </p:txBody>
        </p:sp>
      </p:grpSp>
      <p:sp>
        <p:nvSpPr>
          <p:cNvPr id="56" name="Freeform 81">
            <a:extLst>
              <a:ext uri="{FF2B5EF4-FFF2-40B4-BE49-F238E27FC236}">
                <a16:creationId xmlns:a16="http://schemas.microsoft.com/office/drawing/2014/main" id="{6FCAB61F-165F-47B4-BAF7-F7FB501444BB}"/>
              </a:ext>
            </a:extLst>
          </p:cNvPr>
          <p:cNvSpPr>
            <a:spLocks noChangeAspect="1" noEditPoints="1"/>
          </p:cNvSpPr>
          <p:nvPr/>
        </p:nvSpPr>
        <p:spPr bwMode="auto">
          <a:xfrm>
            <a:off x="1064473" y="3308446"/>
            <a:ext cx="450719" cy="457200"/>
          </a:xfrm>
          <a:custGeom>
            <a:avLst/>
            <a:gdLst>
              <a:gd name="T0" fmla="*/ 288 w 705"/>
              <a:gd name="T1" fmla="*/ 411 h 705"/>
              <a:gd name="T2" fmla="*/ 405 w 705"/>
              <a:gd name="T3" fmla="*/ 294 h 705"/>
              <a:gd name="T4" fmla="*/ 318 w 705"/>
              <a:gd name="T5" fmla="*/ 381 h 705"/>
              <a:gd name="T6" fmla="*/ 374 w 705"/>
              <a:gd name="T7" fmla="*/ 323 h 705"/>
              <a:gd name="T8" fmla="*/ 318 w 705"/>
              <a:gd name="T9" fmla="*/ 381 h 705"/>
              <a:gd name="T10" fmla="*/ 492 w 705"/>
              <a:gd name="T11" fmla="*/ 585 h 705"/>
              <a:gd name="T12" fmla="*/ 609 w 705"/>
              <a:gd name="T13" fmla="*/ 467 h 705"/>
              <a:gd name="T14" fmla="*/ 523 w 705"/>
              <a:gd name="T15" fmla="*/ 554 h 705"/>
              <a:gd name="T16" fmla="*/ 579 w 705"/>
              <a:gd name="T17" fmla="*/ 498 h 705"/>
              <a:gd name="T18" fmla="*/ 523 w 705"/>
              <a:gd name="T19" fmla="*/ 554 h 705"/>
              <a:gd name="T20" fmla="*/ 0 w 705"/>
              <a:gd name="T21" fmla="*/ 705 h 705"/>
              <a:gd name="T22" fmla="*/ 705 w 705"/>
              <a:gd name="T23" fmla="*/ 0 h 705"/>
              <a:gd name="T24" fmla="*/ 676 w 705"/>
              <a:gd name="T25" fmla="*/ 674 h 705"/>
              <a:gd name="T26" fmla="*/ 31 w 705"/>
              <a:gd name="T27" fmla="*/ 541 h 705"/>
              <a:gd name="T28" fmla="*/ 356 w 705"/>
              <a:gd name="T29" fmla="*/ 579 h 705"/>
              <a:gd name="T30" fmla="*/ 453 w 705"/>
              <a:gd name="T31" fmla="*/ 526 h 705"/>
              <a:gd name="T32" fmla="*/ 357 w 705"/>
              <a:gd name="T33" fmla="*/ 474 h 705"/>
              <a:gd name="T34" fmla="*/ 31 w 705"/>
              <a:gd name="T35" fmla="*/ 511 h 705"/>
              <a:gd name="T36" fmla="*/ 196 w 705"/>
              <a:gd name="T37" fmla="*/ 373 h 705"/>
              <a:gd name="T38" fmla="*/ 179 w 705"/>
              <a:gd name="T39" fmla="*/ 432 h 705"/>
              <a:gd name="T40" fmla="*/ 180 w 705"/>
              <a:gd name="T41" fmla="*/ 284 h 705"/>
              <a:gd name="T42" fmla="*/ 197 w 705"/>
              <a:gd name="T43" fmla="*/ 343 h 705"/>
              <a:gd name="T44" fmla="*/ 31 w 705"/>
              <a:gd name="T45" fmla="*/ 29 h 705"/>
              <a:gd name="T46" fmla="*/ 676 w 705"/>
              <a:gd name="T47" fmla="*/ 674 h 705"/>
              <a:gd name="T48" fmla="*/ 394 w 705"/>
              <a:gd name="T49" fmla="*/ 193 h 705"/>
              <a:gd name="T50" fmla="*/ 377 w 705"/>
              <a:gd name="T51" fmla="*/ 252 h 705"/>
              <a:gd name="T52" fmla="*/ 379 w 705"/>
              <a:gd name="T53" fmla="*/ 104 h 705"/>
              <a:gd name="T54" fmla="*/ 395 w 705"/>
              <a:gd name="T55" fmla="*/ 163 h 705"/>
              <a:gd name="T56" fmla="*/ 221 w 705"/>
              <a:gd name="T57" fmla="*/ 119 h 705"/>
              <a:gd name="T58" fmla="*/ 104 w 705"/>
              <a:gd name="T59" fmla="*/ 236 h 705"/>
              <a:gd name="T60" fmla="*/ 221 w 705"/>
              <a:gd name="T61" fmla="*/ 193 h 705"/>
              <a:gd name="T62" fmla="*/ 488 w 705"/>
              <a:gd name="T63" fmla="*/ 236 h 705"/>
              <a:gd name="T64" fmla="*/ 606 w 705"/>
              <a:gd name="T65" fmla="*/ 119 h 705"/>
              <a:gd name="T66" fmla="*/ 518 w 705"/>
              <a:gd name="T67" fmla="*/ 207 h 705"/>
              <a:gd name="T68" fmla="*/ 575 w 705"/>
              <a:gd name="T69" fmla="*/ 149 h 705"/>
              <a:gd name="T70" fmla="*/ 518 w 705"/>
              <a:gd name="T71" fmla="*/ 207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5" h="705">
                <a:moveTo>
                  <a:pt x="405" y="411"/>
                </a:moveTo>
                <a:lnTo>
                  <a:pt x="288" y="411"/>
                </a:lnTo>
                <a:lnTo>
                  <a:pt x="288" y="294"/>
                </a:lnTo>
                <a:lnTo>
                  <a:pt x="405" y="294"/>
                </a:lnTo>
                <a:lnTo>
                  <a:pt x="405" y="411"/>
                </a:lnTo>
                <a:close/>
                <a:moveTo>
                  <a:pt x="318" y="381"/>
                </a:moveTo>
                <a:lnTo>
                  <a:pt x="374" y="381"/>
                </a:lnTo>
                <a:lnTo>
                  <a:pt x="374" y="323"/>
                </a:lnTo>
                <a:lnTo>
                  <a:pt x="318" y="323"/>
                </a:lnTo>
                <a:lnTo>
                  <a:pt x="318" y="381"/>
                </a:lnTo>
                <a:close/>
                <a:moveTo>
                  <a:pt x="609" y="585"/>
                </a:moveTo>
                <a:lnTo>
                  <a:pt x="492" y="585"/>
                </a:lnTo>
                <a:lnTo>
                  <a:pt x="492" y="467"/>
                </a:lnTo>
                <a:lnTo>
                  <a:pt x="609" y="467"/>
                </a:lnTo>
                <a:lnTo>
                  <a:pt x="609" y="585"/>
                </a:lnTo>
                <a:close/>
                <a:moveTo>
                  <a:pt x="523" y="554"/>
                </a:moveTo>
                <a:lnTo>
                  <a:pt x="579" y="554"/>
                </a:lnTo>
                <a:lnTo>
                  <a:pt x="579" y="498"/>
                </a:lnTo>
                <a:lnTo>
                  <a:pt x="523" y="498"/>
                </a:lnTo>
                <a:lnTo>
                  <a:pt x="523" y="554"/>
                </a:lnTo>
                <a:close/>
                <a:moveTo>
                  <a:pt x="0" y="0"/>
                </a:moveTo>
                <a:lnTo>
                  <a:pt x="0" y="705"/>
                </a:lnTo>
                <a:lnTo>
                  <a:pt x="705" y="705"/>
                </a:lnTo>
                <a:lnTo>
                  <a:pt x="705" y="0"/>
                </a:lnTo>
                <a:lnTo>
                  <a:pt x="0" y="0"/>
                </a:lnTo>
                <a:close/>
                <a:moveTo>
                  <a:pt x="676" y="674"/>
                </a:moveTo>
                <a:lnTo>
                  <a:pt x="31" y="674"/>
                </a:lnTo>
                <a:lnTo>
                  <a:pt x="31" y="541"/>
                </a:lnTo>
                <a:lnTo>
                  <a:pt x="394" y="541"/>
                </a:lnTo>
                <a:lnTo>
                  <a:pt x="356" y="579"/>
                </a:lnTo>
                <a:lnTo>
                  <a:pt x="377" y="601"/>
                </a:lnTo>
                <a:lnTo>
                  <a:pt x="453" y="526"/>
                </a:lnTo>
                <a:lnTo>
                  <a:pt x="379" y="453"/>
                </a:lnTo>
                <a:lnTo>
                  <a:pt x="357" y="474"/>
                </a:lnTo>
                <a:lnTo>
                  <a:pt x="395" y="511"/>
                </a:lnTo>
                <a:lnTo>
                  <a:pt x="31" y="511"/>
                </a:lnTo>
                <a:lnTo>
                  <a:pt x="31" y="373"/>
                </a:lnTo>
                <a:lnTo>
                  <a:pt x="196" y="373"/>
                </a:lnTo>
                <a:lnTo>
                  <a:pt x="158" y="411"/>
                </a:lnTo>
                <a:lnTo>
                  <a:pt x="179" y="432"/>
                </a:lnTo>
                <a:lnTo>
                  <a:pt x="253" y="357"/>
                </a:lnTo>
                <a:lnTo>
                  <a:pt x="180" y="284"/>
                </a:lnTo>
                <a:lnTo>
                  <a:pt x="159" y="305"/>
                </a:lnTo>
                <a:lnTo>
                  <a:pt x="197" y="343"/>
                </a:lnTo>
                <a:lnTo>
                  <a:pt x="31" y="343"/>
                </a:lnTo>
                <a:lnTo>
                  <a:pt x="31" y="29"/>
                </a:lnTo>
                <a:lnTo>
                  <a:pt x="676" y="29"/>
                </a:lnTo>
                <a:lnTo>
                  <a:pt x="676" y="674"/>
                </a:lnTo>
                <a:close/>
                <a:moveTo>
                  <a:pt x="221" y="193"/>
                </a:moveTo>
                <a:lnTo>
                  <a:pt x="394" y="193"/>
                </a:lnTo>
                <a:lnTo>
                  <a:pt x="356" y="231"/>
                </a:lnTo>
                <a:lnTo>
                  <a:pt x="377" y="252"/>
                </a:lnTo>
                <a:lnTo>
                  <a:pt x="453" y="177"/>
                </a:lnTo>
                <a:lnTo>
                  <a:pt x="379" y="104"/>
                </a:lnTo>
                <a:lnTo>
                  <a:pt x="357" y="125"/>
                </a:lnTo>
                <a:lnTo>
                  <a:pt x="395" y="163"/>
                </a:lnTo>
                <a:lnTo>
                  <a:pt x="221" y="163"/>
                </a:lnTo>
                <a:lnTo>
                  <a:pt x="221" y="119"/>
                </a:lnTo>
                <a:lnTo>
                  <a:pt x="104" y="119"/>
                </a:lnTo>
                <a:lnTo>
                  <a:pt x="104" y="236"/>
                </a:lnTo>
                <a:lnTo>
                  <a:pt x="221" y="236"/>
                </a:lnTo>
                <a:lnTo>
                  <a:pt x="221" y="193"/>
                </a:lnTo>
                <a:close/>
                <a:moveTo>
                  <a:pt x="606" y="236"/>
                </a:moveTo>
                <a:lnTo>
                  <a:pt x="488" y="236"/>
                </a:lnTo>
                <a:lnTo>
                  <a:pt x="488" y="119"/>
                </a:lnTo>
                <a:lnTo>
                  <a:pt x="606" y="119"/>
                </a:lnTo>
                <a:lnTo>
                  <a:pt x="606" y="236"/>
                </a:lnTo>
                <a:close/>
                <a:moveTo>
                  <a:pt x="518" y="207"/>
                </a:moveTo>
                <a:lnTo>
                  <a:pt x="575" y="207"/>
                </a:lnTo>
                <a:lnTo>
                  <a:pt x="575" y="149"/>
                </a:lnTo>
                <a:lnTo>
                  <a:pt x="518" y="149"/>
                </a:lnTo>
                <a:lnTo>
                  <a:pt x="518" y="207"/>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57" name="Google Shape;116;p3">
            <a:extLst>
              <a:ext uri="{FF2B5EF4-FFF2-40B4-BE49-F238E27FC236}">
                <a16:creationId xmlns:a16="http://schemas.microsoft.com/office/drawing/2014/main" id="{1B799D18-2D07-47E9-94DC-A932C5D1EEAB}"/>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Ανάπτυξη ανθρώπινου δυναμικού, αναβάθμιση δομών και εκσυγχρονισμός της λειτουργίας του Υπουργείου Εξωτερικών</a:t>
            </a:r>
          </a:p>
        </p:txBody>
      </p:sp>
      <p:grpSp>
        <p:nvGrpSpPr>
          <p:cNvPr id="58" name="Group 57">
            <a:extLst>
              <a:ext uri="{FF2B5EF4-FFF2-40B4-BE49-F238E27FC236}">
                <a16:creationId xmlns:a16="http://schemas.microsoft.com/office/drawing/2014/main" id="{873DA6A0-A2CE-40B3-8A6D-7DA3C98DCEDE}"/>
              </a:ext>
            </a:extLst>
          </p:cNvPr>
          <p:cNvGrpSpPr/>
          <p:nvPr/>
        </p:nvGrpSpPr>
        <p:grpSpPr>
          <a:xfrm>
            <a:off x="9144168" y="1082123"/>
            <a:ext cx="2447734" cy="360000"/>
            <a:chOff x="9144168" y="1082123"/>
            <a:chExt cx="2447734" cy="360000"/>
          </a:xfrm>
        </p:grpSpPr>
        <p:sp>
          <p:nvSpPr>
            <p:cNvPr id="59" name="Rectangle 58">
              <a:extLst>
                <a:ext uri="{FF2B5EF4-FFF2-40B4-BE49-F238E27FC236}">
                  <a16:creationId xmlns:a16="http://schemas.microsoft.com/office/drawing/2014/main" id="{2778924F-B949-4717-BFAB-53D868916137}"/>
                </a:ext>
              </a:extLst>
            </p:cNvPr>
            <p:cNvSpPr/>
            <p:nvPr/>
          </p:nvSpPr>
          <p:spPr>
            <a:xfrm>
              <a:off x="9506822" y="1082123"/>
              <a:ext cx="36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1</a:t>
              </a:r>
              <a:endParaRPr lang="en-GB" dirty="0"/>
            </a:p>
          </p:txBody>
        </p:sp>
        <p:sp>
          <p:nvSpPr>
            <p:cNvPr id="60" name="Rectangle 59">
              <a:extLst>
                <a:ext uri="{FF2B5EF4-FFF2-40B4-BE49-F238E27FC236}">
                  <a16:creationId xmlns:a16="http://schemas.microsoft.com/office/drawing/2014/main" id="{9609990A-E205-4BAC-9067-9EA9FDF4A53E}"/>
                </a:ext>
              </a:extLst>
            </p:cNvPr>
            <p:cNvSpPr/>
            <p:nvPr/>
          </p:nvSpPr>
          <p:spPr>
            <a:xfrm>
              <a:off x="9935242"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2</a:t>
              </a:r>
              <a:endParaRPr lang="en-GB" dirty="0"/>
            </a:p>
          </p:txBody>
        </p:sp>
        <p:sp>
          <p:nvSpPr>
            <p:cNvPr id="61" name="Rectangle 60">
              <a:extLst>
                <a:ext uri="{FF2B5EF4-FFF2-40B4-BE49-F238E27FC236}">
                  <a16:creationId xmlns:a16="http://schemas.microsoft.com/office/drawing/2014/main" id="{F4F6ED15-24A8-428B-8635-DC9DEE275A15}"/>
                </a:ext>
              </a:extLst>
            </p:cNvPr>
            <p:cNvSpPr/>
            <p:nvPr/>
          </p:nvSpPr>
          <p:spPr>
            <a:xfrm>
              <a:off x="10369540"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3</a:t>
              </a:r>
              <a:endParaRPr lang="en-GB" dirty="0"/>
            </a:p>
          </p:txBody>
        </p:sp>
        <p:sp>
          <p:nvSpPr>
            <p:cNvPr id="62" name="Rectangle 61">
              <a:extLst>
                <a:ext uri="{FF2B5EF4-FFF2-40B4-BE49-F238E27FC236}">
                  <a16:creationId xmlns:a16="http://schemas.microsoft.com/office/drawing/2014/main" id="{AF36E94A-C146-4160-BF17-2467606335C8}"/>
                </a:ext>
              </a:extLst>
            </p:cNvPr>
            <p:cNvSpPr/>
            <p:nvPr/>
          </p:nvSpPr>
          <p:spPr>
            <a:xfrm>
              <a:off x="10797248" y="1082123"/>
              <a:ext cx="36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4</a:t>
              </a:r>
              <a:endParaRPr lang="en-GB" dirty="0"/>
            </a:p>
          </p:txBody>
        </p:sp>
        <p:sp>
          <p:nvSpPr>
            <p:cNvPr id="63" name="Rectangle 62">
              <a:extLst>
                <a:ext uri="{FF2B5EF4-FFF2-40B4-BE49-F238E27FC236}">
                  <a16:creationId xmlns:a16="http://schemas.microsoft.com/office/drawing/2014/main" id="{4D34BCBF-7FAA-499C-BBD0-0A5422EFD4AC}"/>
                </a:ext>
              </a:extLst>
            </p:cNvPr>
            <p:cNvSpPr/>
            <p:nvPr/>
          </p:nvSpPr>
          <p:spPr>
            <a:xfrm>
              <a:off x="11231902" y="1082123"/>
              <a:ext cx="360000" cy="36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t>5</a:t>
              </a:r>
              <a:endParaRPr lang="en-GB" dirty="0"/>
            </a:p>
          </p:txBody>
        </p:sp>
        <p:grpSp>
          <p:nvGrpSpPr>
            <p:cNvPr id="64" name="Group 51">
              <a:extLst>
                <a:ext uri="{FF2B5EF4-FFF2-40B4-BE49-F238E27FC236}">
                  <a16:creationId xmlns:a16="http://schemas.microsoft.com/office/drawing/2014/main" id="{DE98DA4F-F0E9-4146-8F12-4112F54C1C5F}"/>
                </a:ext>
              </a:extLst>
            </p:cNvPr>
            <p:cNvGrpSpPr/>
            <p:nvPr/>
          </p:nvGrpSpPr>
          <p:grpSpPr>
            <a:xfrm>
              <a:off x="9144168" y="1097414"/>
              <a:ext cx="288000" cy="288000"/>
              <a:chOff x="1024834" y="3136678"/>
              <a:chExt cx="1791641" cy="1794690"/>
            </a:xfrm>
            <a:solidFill>
              <a:srgbClr val="013476"/>
            </a:solidFill>
          </p:grpSpPr>
          <p:sp>
            <p:nvSpPr>
              <p:cNvPr id="65" name="Rectangle 228">
                <a:extLst>
                  <a:ext uri="{FF2B5EF4-FFF2-40B4-BE49-F238E27FC236}">
                    <a16:creationId xmlns:a16="http://schemas.microsoft.com/office/drawing/2014/main" id="{BAADAF05-1C46-4644-95EE-0333DC3DE12D}"/>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66" name="Group 53">
                <a:extLst>
                  <a:ext uri="{FF2B5EF4-FFF2-40B4-BE49-F238E27FC236}">
                    <a16:creationId xmlns:a16="http://schemas.microsoft.com/office/drawing/2014/main" id="{1FC1A8EF-6E2C-476C-8A07-FE2996273F96}"/>
                  </a:ext>
                </a:extLst>
              </p:cNvPr>
              <p:cNvGrpSpPr/>
              <p:nvPr/>
            </p:nvGrpSpPr>
            <p:grpSpPr>
              <a:xfrm>
                <a:off x="1024834" y="3136678"/>
                <a:ext cx="1791641" cy="1794690"/>
                <a:chOff x="1024834" y="3136678"/>
                <a:chExt cx="1791641" cy="1794690"/>
              </a:xfrm>
              <a:grpFill/>
            </p:grpSpPr>
            <p:sp>
              <p:nvSpPr>
                <p:cNvPr id="67" name="Rectangle 218">
                  <a:extLst>
                    <a:ext uri="{FF2B5EF4-FFF2-40B4-BE49-F238E27FC236}">
                      <a16:creationId xmlns:a16="http://schemas.microsoft.com/office/drawing/2014/main" id="{1A5ACA0C-6BC3-4545-BC01-E68DCBAF3403}"/>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68" name="Group 55">
                  <a:extLst>
                    <a:ext uri="{FF2B5EF4-FFF2-40B4-BE49-F238E27FC236}">
                      <a16:creationId xmlns:a16="http://schemas.microsoft.com/office/drawing/2014/main" id="{58E05950-6B8E-40D7-82F8-3D653F80DA98}"/>
                    </a:ext>
                  </a:extLst>
                </p:cNvPr>
                <p:cNvGrpSpPr/>
                <p:nvPr/>
              </p:nvGrpSpPr>
              <p:grpSpPr>
                <a:xfrm>
                  <a:off x="1024834" y="3136678"/>
                  <a:ext cx="1791641" cy="1695618"/>
                  <a:chOff x="5289671" y="2145561"/>
                  <a:chExt cx="255588" cy="241897"/>
                </a:xfrm>
                <a:grpFill/>
              </p:grpSpPr>
              <p:sp>
                <p:nvSpPr>
                  <p:cNvPr id="72" name="Freeform 227">
                    <a:extLst>
                      <a:ext uri="{FF2B5EF4-FFF2-40B4-BE49-F238E27FC236}">
                        <a16:creationId xmlns:a16="http://schemas.microsoft.com/office/drawing/2014/main" id="{7A27CB3C-70CA-4F99-8CFF-924A04CDA4E2}"/>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73" name="Rectangle 228">
                    <a:extLst>
                      <a:ext uri="{FF2B5EF4-FFF2-40B4-BE49-F238E27FC236}">
                        <a16:creationId xmlns:a16="http://schemas.microsoft.com/office/drawing/2014/main" id="{66AB6CD2-F8F4-4CC0-BA91-220A518E2CAB}"/>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74" name="Rectangle 229">
                    <a:extLst>
                      <a:ext uri="{FF2B5EF4-FFF2-40B4-BE49-F238E27FC236}">
                        <a16:creationId xmlns:a16="http://schemas.microsoft.com/office/drawing/2014/main" id="{9F9890CF-9CEC-4578-9366-8643D1B8D95A}"/>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69" name="Rectangle 68">
                  <a:extLst>
                    <a:ext uri="{FF2B5EF4-FFF2-40B4-BE49-F238E27FC236}">
                      <a16:creationId xmlns:a16="http://schemas.microsoft.com/office/drawing/2014/main" id="{29C786D6-45D8-40BA-B27D-A4DAA1236BB3}"/>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70" name="Rectangle 69">
                  <a:extLst>
                    <a:ext uri="{FF2B5EF4-FFF2-40B4-BE49-F238E27FC236}">
                      <a16:creationId xmlns:a16="http://schemas.microsoft.com/office/drawing/2014/main" id="{70764214-3762-4818-9FEE-EE78FA1757FB}"/>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71" name="Rectangle 70">
                  <a:extLst>
                    <a:ext uri="{FF2B5EF4-FFF2-40B4-BE49-F238E27FC236}">
                      <a16:creationId xmlns:a16="http://schemas.microsoft.com/office/drawing/2014/main" id="{380E93D4-E8E5-4261-AFED-69199736096C}"/>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spTree>
    <p:extLst>
      <p:ext uri="{BB962C8B-B14F-4D97-AF65-F5344CB8AC3E}">
        <p14:creationId xmlns:p14="http://schemas.microsoft.com/office/powerpoint/2010/main" val="10317681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A2629D4-06B9-4810-8A06-7FB122E31831}"/>
              </a:ext>
            </a:extLst>
          </p:cNvPr>
          <p:cNvGraphicFramePr>
            <a:graphicFrameLocks noChangeAspect="1"/>
          </p:cNvGraphicFramePr>
          <p:nvPr>
            <p:custDataLst>
              <p:tags r:id="rId2"/>
            </p:custDataLst>
            <p:extLst>
              <p:ext uri="{D42A27DB-BD31-4B8C-83A1-F6EECF244321}">
                <p14:modId xmlns:p14="http://schemas.microsoft.com/office/powerpoint/2010/main" val="1372658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8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Content Placeholder 16"/>
          <p:cNvSpPr txBox="1">
            <a:spLocks/>
          </p:cNvSpPr>
          <p:nvPr/>
        </p:nvSpPr>
        <p:spPr bwMode="auto">
          <a:xfrm>
            <a:off x="5303971" y="1483046"/>
            <a:ext cx="1100945" cy="4597872"/>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l-GR" sz="1400" b="1" dirty="0"/>
              <a:t>Τεχνικό Δελτίο</a:t>
            </a:r>
            <a:endParaRPr lang="en-GB" sz="1400" b="1" dirty="0"/>
          </a:p>
        </p:txBody>
      </p:sp>
      <p:sp>
        <p:nvSpPr>
          <p:cNvPr id="33" name="Content Placeholder 16"/>
          <p:cNvSpPr txBox="1">
            <a:spLocks/>
          </p:cNvSpPr>
          <p:nvPr/>
        </p:nvSpPr>
        <p:spPr bwMode="auto">
          <a:xfrm>
            <a:off x="6509188" y="1483046"/>
            <a:ext cx="1100945" cy="4597872"/>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l-GR" sz="1400" b="1" dirty="0"/>
              <a:t>Ένταξη Έργου</a:t>
            </a:r>
            <a:endParaRPr lang="en-GB" sz="1400" b="1" dirty="0"/>
          </a:p>
        </p:txBody>
      </p:sp>
      <p:sp>
        <p:nvSpPr>
          <p:cNvPr id="56" name="Content Placeholder 16"/>
          <p:cNvSpPr txBox="1">
            <a:spLocks/>
          </p:cNvSpPr>
          <p:nvPr/>
        </p:nvSpPr>
        <p:spPr bwMode="auto">
          <a:xfrm>
            <a:off x="7714404" y="1483046"/>
            <a:ext cx="1100945" cy="463618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l-GR" sz="1400" b="1" dirty="0"/>
              <a:t>Έντυπο Εξειδίκευσης</a:t>
            </a:r>
            <a:endParaRPr lang="en-GB" sz="1400" b="1" dirty="0"/>
          </a:p>
        </p:txBody>
      </p:sp>
      <p:sp>
        <p:nvSpPr>
          <p:cNvPr id="61" name="Content Placeholder 16"/>
          <p:cNvSpPr txBox="1">
            <a:spLocks/>
          </p:cNvSpPr>
          <p:nvPr/>
        </p:nvSpPr>
        <p:spPr bwMode="auto">
          <a:xfrm>
            <a:off x="8919622" y="1483046"/>
            <a:ext cx="1100945" cy="463618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l-GR" sz="1400" b="1" dirty="0"/>
              <a:t>Τεύχος Διακήρυξης</a:t>
            </a:r>
            <a:endParaRPr lang="en-GB" sz="1400" b="1" dirty="0"/>
          </a:p>
        </p:txBody>
      </p:sp>
      <p:sp>
        <p:nvSpPr>
          <p:cNvPr id="68" name="Content Placeholder 16"/>
          <p:cNvSpPr txBox="1">
            <a:spLocks/>
          </p:cNvSpPr>
          <p:nvPr/>
        </p:nvSpPr>
        <p:spPr bwMode="auto">
          <a:xfrm>
            <a:off x="10124839" y="1483046"/>
            <a:ext cx="1484989" cy="463618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l-GR" sz="1400" b="1" dirty="0"/>
              <a:t>Προϋπολογισμός</a:t>
            </a:r>
            <a:endParaRPr lang="en-GB" sz="1400" b="1" dirty="0"/>
          </a:p>
        </p:txBody>
      </p:sp>
      <p:sp>
        <p:nvSpPr>
          <p:cNvPr id="29" name="Content Placeholder 16"/>
          <p:cNvSpPr txBox="1">
            <a:spLocks/>
          </p:cNvSpPr>
          <p:nvPr/>
        </p:nvSpPr>
        <p:spPr bwMode="auto">
          <a:xfrm>
            <a:off x="5068102" y="2098812"/>
            <a:ext cx="6840000" cy="396000"/>
          </a:xfrm>
          <a:prstGeom prst="rect">
            <a:avLst/>
          </a:prstGeom>
          <a:solidFill>
            <a:schemeClr val="accent3"/>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49" name="Content Placeholder 16"/>
          <p:cNvSpPr txBox="1">
            <a:spLocks/>
          </p:cNvSpPr>
          <p:nvPr/>
        </p:nvSpPr>
        <p:spPr bwMode="auto">
          <a:xfrm>
            <a:off x="696223" y="1962409"/>
            <a:ext cx="4394371" cy="613820"/>
          </a:xfrm>
          <a:prstGeom prst="rect">
            <a:avLst/>
          </a:prstGeom>
          <a:solidFill>
            <a:schemeClr val="accent3"/>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l-GR" sz="1600" b="1" kern="0" dirty="0"/>
              <a:t>Σύστημα Υποστήριξης ΣΕΣ</a:t>
            </a:r>
            <a:endParaRPr lang="en-GB" sz="1600" b="1" kern="0" dirty="0"/>
          </a:p>
        </p:txBody>
      </p:sp>
      <p:sp>
        <p:nvSpPr>
          <p:cNvPr id="30" name="Content Placeholder 16"/>
          <p:cNvSpPr txBox="1">
            <a:spLocks/>
          </p:cNvSpPr>
          <p:nvPr/>
        </p:nvSpPr>
        <p:spPr bwMode="auto">
          <a:xfrm>
            <a:off x="5068102" y="2833461"/>
            <a:ext cx="6840000" cy="396000"/>
          </a:xfrm>
          <a:prstGeom prst="rect">
            <a:avLst/>
          </a:prstGeom>
          <a:solidFill>
            <a:schemeClr val="accent5"/>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55" name="Content Placeholder 16"/>
          <p:cNvSpPr txBox="1">
            <a:spLocks/>
          </p:cNvSpPr>
          <p:nvPr/>
        </p:nvSpPr>
        <p:spPr bwMode="auto">
          <a:xfrm>
            <a:off x="696225" y="2697058"/>
            <a:ext cx="4394370" cy="613820"/>
          </a:xfrm>
          <a:prstGeom prst="rect">
            <a:avLst/>
          </a:prstGeom>
          <a:solidFill>
            <a:schemeClr val="accent5"/>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l-GR" sz="1600" b="1" kern="0" dirty="0"/>
              <a:t>Ψηφιοποίηση Ιστορικού και Διπλωματικού Αρχείου</a:t>
            </a:r>
            <a:endParaRPr lang="en-GB" sz="1600" b="1" kern="0" dirty="0"/>
          </a:p>
        </p:txBody>
      </p:sp>
      <p:sp>
        <p:nvSpPr>
          <p:cNvPr id="32" name="Content Placeholder 16"/>
          <p:cNvSpPr txBox="1">
            <a:spLocks/>
          </p:cNvSpPr>
          <p:nvPr/>
        </p:nvSpPr>
        <p:spPr bwMode="auto">
          <a:xfrm>
            <a:off x="5068102" y="3579091"/>
            <a:ext cx="6840000" cy="396000"/>
          </a:xfrm>
          <a:prstGeom prst="rect">
            <a:avLst/>
          </a:prstGeom>
          <a:solidFill>
            <a:schemeClr val="accent1"/>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dirty="0"/>
          </a:p>
        </p:txBody>
      </p:sp>
      <p:sp>
        <p:nvSpPr>
          <p:cNvPr id="75" name="Content Placeholder 16"/>
          <p:cNvSpPr txBox="1">
            <a:spLocks/>
          </p:cNvSpPr>
          <p:nvPr/>
        </p:nvSpPr>
        <p:spPr bwMode="auto">
          <a:xfrm>
            <a:off x="682578" y="3442688"/>
            <a:ext cx="4408016" cy="613820"/>
          </a:xfrm>
          <a:prstGeom prst="rect">
            <a:avLst/>
          </a:prstGeom>
          <a:solidFill>
            <a:schemeClr val="accent1"/>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US" sz="1600" b="1" kern="0" dirty="0"/>
              <a:t>Global Media Center</a:t>
            </a:r>
            <a:endParaRPr lang="en-GB" sz="1600" b="1" kern="0" dirty="0"/>
          </a:p>
        </p:txBody>
      </p:sp>
      <p:sp>
        <p:nvSpPr>
          <p:cNvPr id="42" name="Content Placeholder 16"/>
          <p:cNvSpPr txBox="1">
            <a:spLocks/>
          </p:cNvSpPr>
          <p:nvPr/>
        </p:nvSpPr>
        <p:spPr bwMode="auto">
          <a:xfrm>
            <a:off x="5068102" y="4322914"/>
            <a:ext cx="6840000" cy="396000"/>
          </a:xfrm>
          <a:prstGeom prst="rect">
            <a:avLst/>
          </a:prstGeom>
          <a:solidFill>
            <a:schemeClr val="bg2"/>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76" name="Content Placeholder 16"/>
          <p:cNvSpPr txBox="1">
            <a:spLocks/>
          </p:cNvSpPr>
          <p:nvPr/>
        </p:nvSpPr>
        <p:spPr bwMode="auto">
          <a:xfrm>
            <a:off x="682578" y="4186511"/>
            <a:ext cx="4408016" cy="613820"/>
          </a:xfrm>
          <a:prstGeom prst="rect">
            <a:avLst/>
          </a:prstGeom>
          <a:solidFill>
            <a:schemeClr val="bg2"/>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US" sz="1600" b="1" kern="0" dirty="0"/>
              <a:t>Crypto IT</a:t>
            </a:r>
            <a:endParaRPr lang="en-GB" sz="1600" b="1" kern="0" dirty="0"/>
          </a:p>
        </p:txBody>
      </p:sp>
      <p:sp>
        <p:nvSpPr>
          <p:cNvPr id="12" name="Oval 11"/>
          <p:cNvSpPr/>
          <p:nvPr/>
        </p:nvSpPr>
        <p:spPr bwMode="ltGray">
          <a:xfrm>
            <a:off x="533736" y="2098793"/>
            <a:ext cx="331293" cy="341049"/>
          </a:xfrm>
          <a:prstGeom prst="ellipse">
            <a:avLst/>
          </a:prstGeom>
          <a:solidFill>
            <a:schemeClr val="tx1"/>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338D"/>
                </a:solidFill>
              </a:rPr>
              <a:t>1</a:t>
            </a:r>
          </a:p>
        </p:txBody>
      </p:sp>
      <p:sp>
        <p:nvSpPr>
          <p:cNvPr id="77" name="Oval 76"/>
          <p:cNvSpPr/>
          <p:nvPr/>
        </p:nvSpPr>
        <p:spPr bwMode="ltGray">
          <a:xfrm>
            <a:off x="533736" y="2833443"/>
            <a:ext cx="331293" cy="341049"/>
          </a:xfrm>
          <a:prstGeom prst="ellipse">
            <a:avLst/>
          </a:prstGeom>
          <a:solidFill>
            <a:schemeClr val="tx1"/>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338D"/>
                </a:solidFill>
              </a:rPr>
              <a:t>2</a:t>
            </a:r>
          </a:p>
        </p:txBody>
      </p:sp>
      <p:sp>
        <p:nvSpPr>
          <p:cNvPr id="79" name="Oval 78"/>
          <p:cNvSpPr/>
          <p:nvPr/>
        </p:nvSpPr>
        <p:spPr bwMode="ltGray">
          <a:xfrm>
            <a:off x="520090" y="3579073"/>
            <a:ext cx="331293" cy="341049"/>
          </a:xfrm>
          <a:prstGeom prst="ellipse">
            <a:avLst/>
          </a:prstGeom>
          <a:solidFill>
            <a:schemeClr val="tx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338D"/>
                </a:solidFill>
              </a:rPr>
              <a:t>3</a:t>
            </a:r>
            <a:endParaRPr lang="en-GB" sz="1600" b="1" dirty="0">
              <a:solidFill>
                <a:srgbClr val="00338D"/>
              </a:solidFill>
            </a:endParaRPr>
          </a:p>
        </p:txBody>
      </p:sp>
      <p:sp>
        <p:nvSpPr>
          <p:cNvPr id="80" name="Oval 79"/>
          <p:cNvSpPr/>
          <p:nvPr/>
        </p:nvSpPr>
        <p:spPr bwMode="ltGray">
          <a:xfrm>
            <a:off x="520090" y="4322895"/>
            <a:ext cx="331293" cy="341049"/>
          </a:xfrm>
          <a:prstGeom prst="ellipse">
            <a:avLst/>
          </a:prstGeom>
          <a:solidFill>
            <a:schemeClr val="tx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338D"/>
                </a:solidFill>
              </a:rPr>
              <a:t>4</a:t>
            </a:r>
            <a:endParaRPr lang="en-GB" sz="1600" b="1" dirty="0">
              <a:solidFill>
                <a:srgbClr val="00338D"/>
              </a:solidFill>
            </a:endParaRPr>
          </a:p>
        </p:txBody>
      </p:sp>
      <p:sp>
        <p:nvSpPr>
          <p:cNvPr id="86" name="Content Placeholder 16"/>
          <p:cNvSpPr txBox="1">
            <a:spLocks/>
          </p:cNvSpPr>
          <p:nvPr/>
        </p:nvSpPr>
        <p:spPr bwMode="auto">
          <a:xfrm>
            <a:off x="10358607" y="2068902"/>
            <a:ext cx="1100945" cy="341011"/>
          </a:xfrm>
          <a:prstGeom prst="rect">
            <a:avLst/>
          </a:prstGeom>
          <a:noFill/>
          <a:ln w="0">
            <a:noFill/>
            <a:miter lim="800000"/>
            <a:headEnd/>
            <a:tailEnd/>
          </a:ln>
        </p:spPr>
        <p:txBody>
          <a:bodyPr lIns="30783" tIns="30783" rIns="30783" bIns="30783" anchor="ctr"/>
          <a:lstStyle/>
          <a:p>
            <a:pPr marL="0" lvl="1" algn="ctr" defTabSz="891697" fontAlgn="base">
              <a:spcBef>
                <a:spcPct val="0"/>
              </a:spcBef>
              <a:spcAft>
                <a:spcPts val="85"/>
              </a:spcAft>
              <a:defRPr/>
            </a:pPr>
            <a:r>
              <a:rPr lang="el-GR" sz="1400" kern="0" dirty="0"/>
              <a:t>5 Εκατ. €</a:t>
            </a:r>
            <a:endParaRPr lang="en-GB" sz="1400" kern="0" dirty="0"/>
          </a:p>
        </p:txBody>
      </p:sp>
      <p:sp>
        <p:nvSpPr>
          <p:cNvPr id="97" name="Freeform 192"/>
          <p:cNvSpPr>
            <a:spLocks/>
          </p:cNvSpPr>
          <p:nvPr/>
        </p:nvSpPr>
        <p:spPr bwMode="auto">
          <a:xfrm>
            <a:off x="5742772" y="215824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98" name="Freeform 192"/>
          <p:cNvSpPr>
            <a:spLocks/>
          </p:cNvSpPr>
          <p:nvPr/>
        </p:nvSpPr>
        <p:spPr bwMode="auto">
          <a:xfrm>
            <a:off x="5742772" y="289289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00" name="Freeform 192"/>
          <p:cNvSpPr>
            <a:spLocks/>
          </p:cNvSpPr>
          <p:nvPr/>
        </p:nvSpPr>
        <p:spPr bwMode="auto">
          <a:xfrm>
            <a:off x="5729126" y="363852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01" name="Freeform 192"/>
          <p:cNvSpPr>
            <a:spLocks/>
          </p:cNvSpPr>
          <p:nvPr/>
        </p:nvSpPr>
        <p:spPr bwMode="auto">
          <a:xfrm>
            <a:off x="5729126" y="4382344"/>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03" name="Freeform 192"/>
          <p:cNvSpPr>
            <a:spLocks/>
          </p:cNvSpPr>
          <p:nvPr/>
        </p:nvSpPr>
        <p:spPr bwMode="auto">
          <a:xfrm>
            <a:off x="6947990" y="215824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04" name="Freeform 192"/>
          <p:cNvSpPr>
            <a:spLocks/>
          </p:cNvSpPr>
          <p:nvPr/>
        </p:nvSpPr>
        <p:spPr bwMode="auto">
          <a:xfrm>
            <a:off x="6947990" y="289289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06" name="Freeform 192"/>
          <p:cNvSpPr>
            <a:spLocks/>
          </p:cNvSpPr>
          <p:nvPr/>
        </p:nvSpPr>
        <p:spPr bwMode="auto">
          <a:xfrm>
            <a:off x="6934344" y="363852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09" name="Freeform 192"/>
          <p:cNvSpPr>
            <a:spLocks/>
          </p:cNvSpPr>
          <p:nvPr/>
        </p:nvSpPr>
        <p:spPr bwMode="auto">
          <a:xfrm>
            <a:off x="8153208" y="215824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10" name="Freeform 192"/>
          <p:cNvSpPr>
            <a:spLocks/>
          </p:cNvSpPr>
          <p:nvPr/>
        </p:nvSpPr>
        <p:spPr bwMode="auto">
          <a:xfrm>
            <a:off x="8153208" y="289289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12" name="Freeform 192"/>
          <p:cNvSpPr>
            <a:spLocks/>
          </p:cNvSpPr>
          <p:nvPr/>
        </p:nvSpPr>
        <p:spPr bwMode="auto">
          <a:xfrm>
            <a:off x="8139562" y="363852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115" name="Freeform 192"/>
          <p:cNvSpPr>
            <a:spLocks/>
          </p:cNvSpPr>
          <p:nvPr/>
        </p:nvSpPr>
        <p:spPr bwMode="auto">
          <a:xfrm>
            <a:off x="9358424" y="2892891"/>
            <a:ext cx="223346" cy="222153"/>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tx1"/>
          </a:solidFill>
          <a:ln w="3175">
            <a:noFill/>
            <a:prstDash val="solid"/>
            <a:round/>
            <a:headEnd/>
            <a:tailEnd/>
          </a:ln>
        </p:spPr>
        <p:txBody>
          <a:bodyPr/>
          <a:lstStyle/>
          <a:p>
            <a:endParaRPr lang="en-GB" sz="1539"/>
          </a:p>
        </p:txBody>
      </p:sp>
      <p:sp>
        <p:nvSpPr>
          <p:cNvPr id="59" name="Freeform 101"/>
          <p:cNvSpPr>
            <a:spLocks noChangeAspect="1" noEditPoints="1"/>
          </p:cNvSpPr>
          <p:nvPr/>
        </p:nvSpPr>
        <p:spPr bwMode="auto">
          <a:xfrm>
            <a:off x="5570492" y="5043460"/>
            <a:ext cx="612000" cy="629927"/>
          </a:xfrm>
          <a:custGeom>
            <a:avLst/>
            <a:gdLst>
              <a:gd name="T0" fmla="*/ 2338 w 6673"/>
              <a:gd name="T1" fmla="*/ 1482 h 6672"/>
              <a:gd name="T2" fmla="*/ 2802 w 6673"/>
              <a:gd name="T3" fmla="*/ 1294 h 6672"/>
              <a:gd name="T4" fmla="*/ 3160 w 6673"/>
              <a:gd name="T5" fmla="*/ 1688 h 6672"/>
              <a:gd name="T6" fmla="*/ 2926 w 6673"/>
              <a:gd name="T7" fmla="*/ 2130 h 6672"/>
              <a:gd name="T8" fmla="*/ 2424 w 6673"/>
              <a:gd name="T9" fmla="*/ 2082 h 6672"/>
              <a:gd name="T10" fmla="*/ 4183 w 6673"/>
              <a:gd name="T11" fmla="*/ 5708 h 6672"/>
              <a:gd name="T12" fmla="*/ 5643 w 6673"/>
              <a:gd name="T13" fmla="*/ 2460 h 6672"/>
              <a:gd name="T14" fmla="*/ 5891 w 6673"/>
              <a:gd name="T15" fmla="*/ 2146 h 6672"/>
              <a:gd name="T16" fmla="*/ 5941 w 6673"/>
              <a:gd name="T17" fmla="*/ 1752 h 6672"/>
              <a:gd name="T18" fmla="*/ 5733 w 6673"/>
              <a:gd name="T19" fmla="*/ 1344 h 6672"/>
              <a:gd name="T20" fmla="*/ 5325 w 6673"/>
              <a:gd name="T21" fmla="*/ 1136 h 6672"/>
              <a:gd name="T22" fmla="*/ 4895 w 6673"/>
              <a:gd name="T23" fmla="*/ 1200 h 6672"/>
              <a:gd name="T24" fmla="*/ 4567 w 6673"/>
              <a:gd name="T25" fmla="*/ 1512 h 6672"/>
              <a:gd name="T26" fmla="*/ 4481 w 6673"/>
              <a:gd name="T27" fmla="*/ 1930 h 6672"/>
              <a:gd name="T28" fmla="*/ 4629 w 6673"/>
              <a:gd name="T29" fmla="*/ 2308 h 6672"/>
              <a:gd name="T30" fmla="*/ 4949 w 6673"/>
              <a:gd name="T31" fmla="*/ 2548 h 6672"/>
              <a:gd name="T32" fmla="*/ 4137 w 6673"/>
              <a:gd name="T33" fmla="*/ 3810 h 6672"/>
              <a:gd name="T34" fmla="*/ 4487 w 6673"/>
              <a:gd name="T35" fmla="*/ 3612 h 6672"/>
              <a:gd name="T36" fmla="*/ 4681 w 6673"/>
              <a:gd name="T37" fmla="*/ 3258 h 6672"/>
              <a:gd name="T38" fmla="*/ 4653 w 6673"/>
              <a:gd name="T39" fmla="*/ 2844 h 6672"/>
              <a:gd name="T40" fmla="*/ 4373 w 6673"/>
              <a:gd name="T41" fmla="*/ 2486 h 6672"/>
              <a:gd name="T42" fmla="*/ 3963 w 6673"/>
              <a:gd name="T43" fmla="*/ 2362 h 6672"/>
              <a:gd name="T44" fmla="*/ 3523 w 6673"/>
              <a:gd name="T45" fmla="*/ 2508 h 6672"/>
              <a:gd name="T46" fmla="*/ 3260 w 6673"/>
              <a:gd name="T47" fmla="*/ 2878 h 6672"/>
              <a:gd name="T48" fmla="*/ 3252 w 6673"/>
              <a:gd name="T49" fmla="*/ 3290 h 6672"/>
              <a:gd name="T50" fmla="*/ 3461 w 6673"/>
              <a:gd name="T51" fmla="*/ 3634 h 6672"/>
              <a:gd name="T52" fmla="*/ 3821 w 6673"/>
              <a:gd name="T53" fmla="*/ 3818 h 6672"/>
              <a:gd name="T54" fmla="*/ 3064 w 6673"/>
              <a:gd name="T55" fmla="*/ 2380 h 6672"/>
              <a:gd name="T56" fmla="*/ 3349 w 6673"/>
              <a:gd name="T57" fmla="*/ 2102 h 6672"/>
              <a:gd name="T58" fmla="*/ 3447 w 6673"/>
              <a:gd name="T59" fmla="*/ 1734 h 6672"/>
              <a:gd name="T60" fmla="*/ 3300 w 6673"/>
              <a:gd name="T61" fmla="*/ 1294 h 6672"/>
              <a:gd name="T62" fmla="*/ 2930 w 6673"/>
              <a:gd name="T63" fmla="*/ 1032 h 6672"/>
              <a:gd name="T64" fmla="*/ 2492 w 6673"/>
              <a:gd name="T65" fmla="*/ 1032 h 6672"/>
              <a:gd name="T66" fmla="*/ 2122 w 6673"/>
              <a:gd name="T67" fmla="*/ 1294 h 6672"/>
              <a:gd name="T68" fmla="*/ 1976 w 6673"/>
              <a:gd name="T69" fmla="*/ 1734 h 6672"/>
              <a:gd name="T70" fmla="*/ 2076 w 6673"/>
              <a:gd name="T71" fmla="*/ 2102 h 6672"/>
              <a:gd name="T72" fmla="*/ 2364 w 6673"/>
              <a:gd name="T73" fmla="*/ 2382 h 6672"/>
              <a:gd name="T74" fmla="*/ 1774 w 6673"/>
              <a:gd name="T75" fmla="*/ 3812 h 6672"/>
              <a:gd name="T76" fmla="*/ 2188 w 6673"/>
              <a:gd name="T77" fmla="*/ 3262 h 6672"/>
              <a:gd name="T78" fmla="*/ 2108 w 6673"/>
              <a:gd name="T79" fmla="*/ 2798 h 6672"/>
              <a:gd name="T80" fmla="*/ 1780 w 6673"/>
              <a:gd name="T81" fmla="*/ 2486 h 6672"/>
              <a:gd name="T82" fmla="*/ 1348 w 6673"/>
              <a:gd name="T83" fmla="*/ 2422 h 6672"/>
              <a:gd name="T84" fmla="*/ 942 w 6673"/>
              <a:gd name="T85" fmla="*/ 2628 h 6672"/>
              <a:gd name="T86" fmla="*/ 734 w 6673"/>
              <a:gd name="T87" fmla="*/ 3036 h 6672"/>
              <a:gd name="T88" fmla="*/ 790 w 6673"/>
              <a:gd name="T89" fmla="*/ 3450 h 6672"/>
              <a:gd name="T90" fmla="*/ 1072 w 6673"/>
              <a:gd name="T91" fmla="*/ 3772 h 6672"/>
              <a:gd name="T92" fmla="*/ 284 w 6673"/>
              <a:gd name="T93" fmla="*/ 6388 h 6672"/>
              <a:gd name="T94" fmla="*/ 4895 w 6673"/>
              <a:gd name="T95" fmla="*/ 2182 h 6672"/>
              <a:gd name="T96" fmla="*/ 4799 w 6673"/>
              <a:gd name="T97" fmla="*/ 1688 h 6672"/>
              <a:gd name="T98" fmla="*/ 5213 w 6673"/>
              <a:gd name="T99" fmla="*/ 1412 h 6672"/>
              <a:gd name="T100" fmla="*/ 5643 w 6673"/>
              <a:gd name="T101" fmla="*/ 1730 h 6672"/>
              <a:gd name="T102" fmla="*/ 5499 w 6673"/>
              <a:gd name="T103" fmla="*/ 2210 h 6672"/>
              <a:gd name="T104" fmla="*/ 3829 w 6673"/>
              <a:gd name="T105" fmla="*/ 3526 h 6672"/>
              <a:gd name="T106" fmla="*/ 3513 w 6673"/>
              <a:gd name="T107" fmla="*/ 3096 h 6672"/>
              <a:gd name="T108" fmla="*/ 3787 w 6673"/>
              <a:gd name="T109" fmla="*/ 2682 h 6672"/>
              <a:gd name="T110" fmla="*/ 4281 w 6673"/>
              <a:gd name="T111" fmla="*/ 2778 h 6672"/>
              <a:gd name="T112" fmla="*/ 4379 w 6673"/>
              <a:gd name="T113" fmla="*/ 3272 h 6672"/>
              <a:gd name="T114" fmla="*/ 3963 w 6673"/>
              <a:gd name="T115" fmla="*/ 3548 h 6672"/>
              <a:gd name="T116" fmla="*/ 1246 w 6673"/>
              <a:gd name="T117" fmla="*/ 2752 h 6672"/>
              <a:gd name="T118" fmla="*/ 1748 w 6673"/>
              <a:gd name="T119" fmla="*/ 2800 h 6672"/>
              <a:gd name="T120" fmla="*/ 1892 w 6673"/>
              <a:gd name="T121" fmla="*/ 3282 h 6672"/>
              <a:gd name="T122" fmla="*/ 1460 w 6673"/>
              <a:gd name="T123" fmla="*/ 3598 h 6672"/>
              <a:gd name="T124" fmla="*/ 1046 w 6673"/>
              <a:gd name="T125" fmla="*/ 3324 h 6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73" h="6672">
                <a:moveTo>
                  <a:pt x="0" y="0"/>
                </a:moveTo>
                <a:lnTo>
                  <a:pt x="0" y="6672"/>
                </a:lnTo>
                <a:lnTo>
                  <a:pt x="6673" y="6672"/>
                </a:lnTo>
                <a:lnTo>
                  <a:pt x="6673" y="0"/>
                </a:lnTo>
                <a:lnTo>
                  <a:pt x="0" y="0"/>
                </a:lnTo>
                <a:close/>
                <a:moveTo>
                  <a:pt x="2260" y="1734"/>
                </a:moveTo>
                <a:lnTo>
                  <a:pt x="2260" y="1734"/>
                </a:lnTo>
                <a:lnTo>
                  <a:pt x="2264" y="1688"/>
                </a:lnTo>
                <a:lnTo>
                  <a:pt x="2270" y="1644"/>
                </a:lnTo>
                <a:lnTo>
                  <a:pt x="2280" y="1600"/>
                </a:lnTo>
                <a:lnTo>
                  <a:pt x="2296" y="1560"/>
                </a:lnTo>
                <a:lnTo>
                  <a:pt x="2316" y="1520"/>
                </a:lnTo>
                <a:lnTo>
                  <a:pt x="2338" y="1482"/>
                </a:lnTo>
                <a:lnTo>
                  <a:pt x="2364" y="1448"/>
                </a:lnTo>
                <a:lnTo>
                  <a:pt x="2392" y="1416"/>
                </a:lnTo>
                <a:lnTo>
                  <a:pt x="2424" y="1386"/>
                </a:lnTo>
                <a:lnTo>
                  <a:pt x="2460" y="1360"/>
                </a:lnTo>
                <a:lnTo>
                  <a:pt x="2496" y="1338"/>
                </a:lnTo>
                <a:lnTo>
                  <a:pt x="2536" y="1320"/>
                </a:lnTo>
                <a:lnTo>
                  <a:pt x="2578" y="1304"/>
                </a:lnTo>
                <a:lnTo>
                  <a:pt x="2620" y="1294"/>
                </a:lnTo>
                <a:lnTo>
                  <a:pt x="2666" y="1286"/>
                </a:lnTo>
                <a:lnTo>
                  <a:pt x="2712" y="1284"/>
                </a:lnTo>
                <a:lnTo>
                  <a:pt x="2712" y="1284"/>
                </a:lnTo>
                <a:lnTo>
                  <a:pt x="2758" y="1286"/>
                </a:lnTo>
                <a:lnTo>
                  <a:pt x="2802" y="1294"/>
                </a:lnTo>
                <a:lnTo>
                  <a:pt x="2846" y="1304"/>
                </a:lnTo>
                <a:lnTo>
                  <a:pt x="2886" y="1320"/>
                </a:lnTo>
                <a:lnTo>
                  <a:pt x="2926" y="1338"/>
                </a:lnTo>
                <a:lnTo>
                  <a:pt x="2964" y="1360"/>
                </a:lnTo>
                <a:lnTo>
                  <a:pt x="2998" y="1386"/>
                </a:lnTo>
                <a:lnTo>
                  <a:pt x="3030" y="1416"/>
                </a:lnTo>
                <a:lnTo>
                  <a:pt x="3058" y="1448"/>
                </a:lnTo>
                <a:lnTo>
                  <a:pt x="3084" y="1482"/>
                </a:lnTo>
                <a:lnTo>
                  <a:pt x="3108" y="1520"/>
                </a:lnTo>
                <a:lnTo>
                  <a:pt x="3126" y="1560"/>
                </a:lnTo>
                <a:lnTo>
                  <a:pt x="3142" y="1600"/>
                </a:lnTo>
                <a:lnTo>
                  <a:pt x="3152" y="1644"/>
                </a:lnTo>
                <a:lnTo>
                  <a:pt x="3160" y="1688"/>
                </a:lnTo>
                <a:lnTo>
                  <a:pt x="3162" y="1734"/>
                </a:lnTo>
                <a:lnTo>
                  <a:pt x="3162" y="1734"/>
                </a:lnTo>
                <a:lnTo>
                  <a:pt x="3160" y="1780"/>
                </a:lnTo>
                <a:lnTo>
                  <a:pt x="3152" y="1826"/>
                </a:lnTo>
                <a:lnTo>
                  <a:pt x="3142" y="1868"/>
                </a:lnTo>
                <a:lnTo>
                  <a:pt x="3126" y="1910"/>
                </a:lnTo>
                <a:lnTo>
                  <a:pt x="3108" y="1950"/>
                </a:lnTo>
                <a:lnTo>
                  <a:pt x="3084" y="1986"/>
                </a:lnTo>
                <a:lnTo>
                  <a:pt x="3058" y="2022"/>
                </a:lnTo>
                <a:lnTo>
                  <a:pt x="3030" y="2054"/>
                </a:lnTo>
                <a:lnTo>
                  <a:pt x="2998" y="2082"/>
                </a:lnTo>
                <a:lnTo>
                  <a:pt x="2964" y="2108"/>
                </a:lnTo>
                <a:lnTo>
                  <a:pt x="2926" y="2130"/>
                </a:lnTo>
                <a:lnTo>
                  <a:pt x="2886" y="2150"/>
                </a:lnTo>
                <a:lnTo>
                  <a:pt x="2846" y="2164"/>
                </a:lnTo>
                <a:lnTo>
                  <a:pt x="2802" y="2176"/>
                </a:lnTo>
                <a:lnTo>
                  <a:pt x="2758" y="2182"/>
                </a:lnTo>
                <a:lnTo>
                  <a:pt x="2712" y="2186"/>
                </a:lnTo>
                <a:lnTo>
                  <a:pt x="2712" y="2186"/>
                </a:lnTo>
                <a:lnTo>
                  <a:pt x="2666" y="2182"/>
                </a:lnTo>
                <a:lnTo>
                  <a:pt x="2620" y="2176"/>
                </a:lnTo>
                <a:lnTo>
                  <a:pt x="2578" y="2164"/>
                </a:lnTo>
                <a:lnTo>
                  <a:pt x="2536" y="2150"/>
                </a:lnTo>
                <a:lnTo>
                  <a:pt x="2496" y="2130"/>
                </a:lnTo>
                <a:lnTo>
                  <a:pt x="2460" y="2108"/>
                </a:lnTo>
                <a:lnTo>
                  <a:pt x="2424" y="2082"/>
                </a:lnTo>
                <a:lnTo>
                  <a:pt x="2392" y="2054"/>
                </a:lnTo>
                <a:lnTo>
                  <a:pt x="2364" y="2022"/>
                </a:lnTo>
                <a:lnTo>
                  <a:pt x="2338" y="1986"/>
                </a:lnTo>
                <a:lnTo>
                  <a:pt x="2316" y="1950"/>
                </a:lnTo>
                <a:lnTo>
                  <a:pt x="2296" y="1910"/>
                </a:lnTo>
                <a:lnTo>
                  <a:pt x="2280" y="1868"/>
                </a:lnTo>
                <a:lnTo>
                  <a:pt x="2270" y="1826"/>
                </a:lnTo>
                <a:lnTo>
                  <a:pt x="2264" y="1780"/>
                </a:lnTo>
                <a:lnTo>
                  <a:pt x="2260" y="1734"/>
                </a:lnTo>
                <a:lnTo>
                  <a:pt x="2260" y="1734"/>
                </a:lnTo>
                <a:close/>
                <a:moveTo>
                  <a:pt x="6389" y="6388"/>
                </a:moveTo>
                <a:lnTo>
                  <a:pt x="4183" y="6388"/>
                </a:lnTo>
                <a:lnTo>
                  <a:pt x="4183" y="5708"/>
                </a:lnTo>
                <a:lnTo>
                  <a:pt x="5355" y="4732"/>
                </a:lnTo>
                <a:lnTo>
                  <a:pt x="5355" y="2584"/>
                </a:lnTo>
                <a:lnTo>
                  <a:pt x="5355" y="2584"/>
                </a:lnTo>
                <a:lnTo>
                  <a:pt x="5387" y="2578"/>
                </a:lnTo>
                <a:lnTo>
                  <a:pt x="5419" y="2568"/>
                </a:lnTo>
                <a:lnTo>
                  <a:pt x="5449" y="2560"/>
                </a:lnTo>
                <a:lnTo>
                  <a:pt x="5479" y="2548"/>
                </a:lnTo>
                <a:lnTo>
                  <a:pt x="5507" y="2536"/>
                </a:lnTo>
                <a:lnTo>
                  <a:pt x="5535" y="2524"/>
                </a:lnTo>
                <a:lnTo>
                  <a:pt x="5563" y="2510"/>
                </a:lnTo>
                <a:lnTo>
                  <a:pt x="5591" y="2494"/>
                </a:lnTo>
                <a:lnTo>
                  <a:pt x="5617" y="2476"/>
                </a:lnTo>
                <a:lnTo>
                  <a:pt x="5643" y="2460"/>
                </a:lnTo>
                <a:lnTo>
                  <a:pt x="5667" y="2440"/>
                </a:lnTo>
                <a:lnTo>
                  <a:pt x="5691" y="2420"/>
                </a:lnTo>
                <a:lnTo>
                  <a:pt x="5715" y="2400"/>
                </a:lnTo>
                <a:lnTo>
                  <a:pt x="5737" y="2378"/>
                </a:lnTo>
                <a:lnTo>
                  <a:pt x="5759" y="2356"/>
                </a:lnTo>
                <a:lnTo>
                  <a:pt x="5779" y="2332"/>
                </a:lnTo>
                <a:lnTo>
                  <a:pt x="5799" y="2308"/>
                </a:lnTo>
                <a:lnTo>
                  <a:pt x="5817" y="2282"/>
                </a:lnTo>
                <a:lnTo>
                  <a:pt x="5833" y="2258"/>
                </a:lnTo>
                <a:lnTo>
                  <a:pt x="5851" y="2230"/>
                </a:lnTo>
                <a:lnTo>
                  <a:pt x="5865" y="2204"/>
                </a:lnTo>
                <a:lnTo>
                  <a:pt x="5879" y="2174"/>
                </a:lnTo>
                <a:lnTo>
                  <a:pt x="5891" y="2146"/>
                </a:lnTo>
                <a:lnTo>
                  <a:pt x="5903" y="2116"/>
                </a:lnTo>
                <a:lnTo>
                  <a:pt x="5913" y="2086"/>
                </a:lnTo>
                <a:lnTo>
                  <a:pt x="5923" y="2056"/>
                </a:lnTo>
                <a:lnTo>
                  <a:pt x="5931" y="2026"/>
                </a:lnTo>
                <a:lnTo>
                  <a:pt x="5937" y="1994"/>
                </a:lnTo>
                <a:lnTo>
                  <a:pt x="5943" y="1962"/>
                </a:lnTo>
                <a:lnTo>
                  <a:pt x="5945" y="1930"/>
                </a:lnTo>
                <a:lnTo>
                  <a:pt x="5947" y="1896"/>
                </a:lnTo>
                <a:lnTo>
                  <a:pt x="5949" y="1864"/>
                </a:lnTo>
                <a:lnTo>
                  <a:pt x="5949" y="1864"/>
                </a:lnTo>
                <a:lnTo>
                  <a:pt x="5947" y="1826"/>
                </a:lnTo>
                <a:lnTo>
                  <a:pt x="5945" y="1788"/>
                </a:lnTo>
                <a:lnTo>
                  <a:pt x="5941" y="1752"/>
                </a:lnTo>
                <a:lnTo>
                  <a:pt x="5933" y="1716"/>
                </a:lnTo>
                <a:lnTo>
                  <a:pt x="5925" y="1680"/>
                </a:lnTo>
                <a:lnTo>
                  <a:pt x="5915" y="1644"/>
                </a:lnTo>
                <a:lnTo>
                  <a:pt x="5903" y="1610"/>
                </a:lnTo>
                <a:lnTo>
                  <a:pt x="5891" y="1578"/>
                </a:lnTo>
                <a:lnTo>
                  <a:pt x="5877" y="1544"/>
                </a:lnTo>
                <a:lnTo>
                  <a:pt x="5859" y="1512"/>
                </a:lnTo>
                <a:lnTo>
                  <a:pt x="5843" y="1482"/>
                </a:lnTo>
                <a:lnTo>
                  <a:pt x="5823" y="1452"/>
                </a:lnTo>
                <a:lnTo>
                  <a:pt x="5803" y="1424"/>
                </a:lnTo>
                <a:lnTo>
                  <a:pt x="5781" y="1396"/>
                </a:lnTo>
                <a:lnTo>
                  <a:pt x="5757" y="1368"/>
                </a:lnTo>
                <a:lnTo>
                  <a:pt x="5733" y="1344"/>
                </a:lnTo>
                <a:lnTo>
                  <a:pt x="5707" y="1320"/>
                </a:lnTo>
                <a:lnTo>
                  <a:pt x="5681" y="1296"/>
                </a:lnTo>
                <a:lnTo>
                  <a:pt x="5653" y="1274"/>
                </a:lnTo>
                <a:lnTo>
                  <a:pt x="5625" y="1254"/>
                </a:lnTo>
                <a:lnTo>
                  <a:pt x="5595" y="1234"/>
                </a:lnTo>
                <a:lnTo>
                  <a:pt x="5563" y="1216"/>
                </a:lnTo>
                <a:lnTo>
                  <a:pt x="5531" y="1200"/>
                </a:lnTo>
                <a:lnTo>
                  <a:pt x="5499" y="1186"/>
                </a:lnTo>
                <a:lnTo>
                  <a:pt x="5465" y="1172"/>
                </a:lnTo>
                <a:lnTo>
                  <a:pt x="5431" y="1160"/>
                </a:lnTo>
                <a:lnTo>
                  <a:pt x="5397" y="1150"/>
                </a:lnTo>
                <a:lnTo>
                  <a:pt x="5361" y="1142"/>
                </a:lnTo>
                <a:lnTo>
                  <a:pt x="5325" y="1136"/>
                </a:lnTo>
                <a:lnTo>
                  <a:pt x="5289" y="1132"/>
                </a:lnTo>
                <a:lnTo>
                  <a:pt x="5251" y="1128"/>
                </a:lnTo>
                <a:lnTo>
                  <a:pt x="5213" y="1128"/>
                </a:lnTo>
                <a:lnTo>
                  <a:pt x="5213" y="1128"/>
                </a:lnTo>
                <a:lnTo>
                  <a:pt x="5175" y="1128"/>
                </a:lnTo>
                <a:lnTo>
                  <a:pt x="5139" y="1132"/>
                </a:lnTo>
                <a:lnTo>
                  <a:pt x="5101" y="1136"/>
                </a:lnTo>
                <a:lnTo>
                  <a:pt x="5065" y="1142"/>
                </a:lnTo>
                <a:lnTo>
                  <a:pt x="5029" y="1150"/>
                </a:lnTo>
                <a:lnTo>
                  <a:pt x="4995" y="1160"/>
                </a:lnTo>
                <a:lnTo>
                  <a:pt x="4961" y="1172"/>
                </a:lnTo>
                <a:lnTo>
                  <a:pt x="4927" y="1186"/>
                </a:lnTo>
                <a:lnTo>
                  <a:pt x="4895" y="1200"/>
                </a:lnTo>
                <a:lnTo>
                  <a:pt x="4863" y="1216"/>
                </a:lnTo>
                <a:lnTo>
                  <a:pt x="4833" y="1234"/>
                </a:lnTo>
                <a:lnTo>
                  <a:pt x="4803" y="1254"/>
                </a:lnTo>
                <a:lnTo>
                  <a:pt x="4773" y="1274"/>
                </a:lnTo>
                <a:lnTo>
                  <a:pt x="4747" y="1296"/>
                </a:lnTo>
                <a:lnTo>
                  <a:pt x="4719" y="1320"/>
                </a:lnTo>
                <a:lnTo>
                  <a:pt x="4693" y="1344"/>
                </a:lnTo>
                <a:lnTo>
                  <a:pt x="4669" y="1368"/>
                </a:lnTo>
                <a:lnTo>
                  <a:pt x="4647" y="1396"/>
                </a:lnTo>
                <a:lnTo>
                  <a:pt x="4625" y="1424"/>
                </a:lnTo>
                <a:lnTo>
                  <a:pt x="4603" y="1452"/>
                </a:lnTo>
                <a:lnTo>
                  <a:pt x="4585" y="1482"/>
                </a:lnTo>
                <a:lnTo>
                  <a:pt x="4567" y="1512"/>
                </a:lnTo>
                <a:lnTo>
                  <a:pt x="4551" y="1544"/>
                </a:lnTo>
                <a:lnTo>
                  <a:pt x="4537" y="1578"/>
                </a:lnTo>
                <a:lnTo>
                  <a:pt x="4523" y="1610"/>
                </a:lnTo>
                <a:lnTo>
                  <a:pt x="4511" y="1644"/>
                </a:lnTo>
                <a:lnTo>
                  <a:pt x="4501" y="1680"/>
                </a:lnTo>
                <a:lnTo>
                  <a:pt x="4493" y="1716"/>
                </a:lnTo>
                <a:lnTo>
                  <a:pt x="4487" y="1752"/>
                </a:lnTo>
                <a:lnTo>
                  <a:pt x="4483" y="1788"/>
                </a:lnTo>
                <a:lnTo>
                  <a:pt x="4479" y="1826"/>
                </a:lnTo>
                <a:lnTo>
                  <a:pt x="4479" y="1864"/>
                </a:lnTo>
                <a:lnTo>
                  <a:pt x="4479" y="1864"/>
                </a:lnTo>
                <a:lnTo>
                  <a:pt x="4479" y="1896"/>
                </a:lnTo>
                <a:lnTo>
                  <a:pt x="4481" y="1930"/>
                </a:lnTo>
                <a:lnTo>
                  <a:pt x="4485" y="1962"/>
                </a:lnTo>
                <a:lnTo>
                  <a:pt x="4489" y="1994"/>
                </a:lnTo>
                <a:lnTo>
                  <a:pt x="4497" y="2026"/>
                </a:lnTo>
                <a:lnTo>
                  <a:pt x="4505" y="2056"/>
                </a:lnTo>
                <a:lnTo>
                  <a:pt x="4513" y="2086"/>
                </a:lnTo>
                <a:lnTo>
                  <a:pt x="4523" y="2116"/>
                </a:lnTo>
                <a:lnTo>
                  <a:pt x="4535" y="2146"/>
                </a:lnTo>
                <a:lnTo>
                  <a:pt x="4547" y="2174"/>
                </a:lnTo>
                <a:lnTo>
                  <a:pt x="4561" y="2204"/>
                </a:lnTo>
                <a:lnTo>
                  <a:pt x="4577" y="2230"/>
                </a:lnTo>
                <a:lnTo>
                  <a:pt x="4593" y="2258"/>
                </a:lnTo>
                <a:lnTo>
                  <a:pt x="4611" y="2282"/>
                </a:lnTo>
                <a:lnTo>
                  <a:pt x="4629" y="2308"/>
                </a:lnTo>
                <a:lnTo>
                  <a:pt x="4649" y="2332"/>
                </a:lnTo>
                <a:lnTo>
                  <a:pt x="4669" y="2356"/>
                </a:lnTo>
                <a:lnTo>
                  <a:pt x="4689" y="2378"/>
                </a:lnTo>
                <a:lnTo>
                  <a:pt x="4713" y="2400"/>
                </a:lnTo>
                <a:lnTo>
                  <a:pt x="4735" y="2420"/>
                </a:lnTo>
                <a:lnTo>
                  <a:pt x="4759" y="2440"/>
                </a:lnTo>
                <a:lnTo>
                  <a:pt x="4785" y="2460"/>
                </a:lnTo>
                <a:lnTo>
                  <a:pt x="4809" y="2476"/>
                </a:lnTo>
                <a:lnTo>
                  <a:pt x="4837" y="2494"/>
                </a:lnTo>
                <a:lnTo>
                  <a:pt x="4863" y="2510"/>
                </a:lnTo>
                <a:lnTo>
                  <a:pt x="4891" y="2524"/>
                </a:lnTo>
                <a:lnTo>
                  <a:pt x="4919" y="2536"/>
                </a:lnTo>
                <a:lnTo>
                  <a:pt x="4949" y="2548"/>
                </a:lnTo>
                <a:lnTo>
                  <a:pt x="4979" y="2560"/>
                </a:lnTo>
                <a:lnTo>
                  <a:pt x="5009" y="2568"/>
                </a:lnTo>
                <a:lnTo>
                  <a:pt x="5039" y="2578"/>
                </a:lnTo>
                <a:lnTo>
                  <a:pt x="5071" y="2584"/>
                </a:lnTo>
                <a:lnTo>
                  <a:pt x="5071" y="4600"/>
                </a:lnTo>
                <a:lnTo>
                  <a:pt x="3899" y="5576"/>
                </a:lnTo>
                <a:lnTo>
                  <a:pt x="3899" y="6388"/>
                </a:lnTo>
                <a:lnTo>
                  <a:pt x="3567" y="6388"/>
                </a:lnTo>
                <a:lnTo>
                  <a:pt x="3567" y="4988"/>
                </a:lnTo>
                <a:lnTo>
                  <a:pt x="4105" y="4526"/>
                </a:lnTo>
                <a:lnTo>
                  <a:pt x="4105" y="3818"/>
                </a:lnTo>
                <a:lnTo>
                  <a:pt x="4105" y="3818"/>
                </a:lnTo>
                <a:lnTo>
                  <a:pt x="4137" y="3810"/>
                </a:lnTo>
                <a:lnTo>
                  <a:pt x="4167" y="3802"/>
                </a:lnTo>
                <a:lnTo>
                  <a:pt x="4197" y="3792"/>
                </a:lnTo>
                <a:lnTo>
                  <a:pt x="4227" y="3782"/>
                </a:lnTo>
                <a:lnTo>
                  <a:pt x="4257" y="3770"/>
                </a:lnTo>
                <a:lnTo>
                  <a:pt x="4285" y="3756"/>
                </a:lnTo>
                <a:lnTo>
                  <a:pt x="4313" y="3742"/>
                </a:lnTo>
                <a:lnTo>
                  <a:pt x="4341" y="3726"/>
                </a:lnTo>
                <a:lnTo>
                  <a:pt x="4367" y="3710"/>
                </a:lnTo>
                <a:lnTo>
                  <a:pt x="4393" y="3692"/>
                </a:lnTo>
                <a:lnTo>
                  <a:pt x="4417" y="3674"/>
                </a:lnTo>
                <a:lnTo>
                  <a:pt x="4441" y="3654"/>
                </a:lnTo>
                <a:lnTo>
                  <a:pt x="4465" y="3634"/>
                </a:lnTo>
                <a:lnTo>
                  <a:pt x="4487" y="3612"/>
                </a:lnTo>
                <a:lnTo>
                  <a:pt x="4507" y="3590"/>
                </a:lnTo>
                <a:lnTo>
                  <a:pt x="4529" y="3566"/>
                </a:lnTo>
                <a:lnTo>
                  <a:pt x="4547" y="3542"/>
                </a:lnTo>
                <a:lnTo>
                  <a:pt x="4565" y="3516"/>
                </a:lnTo>
                <a:lnTo>
                  <a:pt x="4583" y="3490"/>
                </a:lnTo>
                <a:lnTo>
                  <a:pt x="4599" y="3464"/>
                </a:lnTo>
                <a:lnTo>
                  <a:pt x="4615" y="3436"/>
                </a:lnTo>
                <a:lnTo>
                  <a:pt x="4629" y="3408"/>
                </a:lnTo>
                <a:lnTo>
                  <a:pt x="4641" y="3380"/>
                </a:lnTo>
                <a:lnTo>
                  <a:pt x="4653" y="3350"/>
                </a:lnTo>
                <a:lnTo>
                  <a:pt x="4663" y="3320"/>
                </a:lnTo>
                <a:lnTo>
                  <a:pt x="4673" y="3290"/>
                </a:lnTo>
                <a:lnTo>
                  <a:pt x="4681" y="3258"/>
                </a:lnTo>
                <a:lnTo>
                  <a:pt x="4687" y="3228"/>
                </a:lnTo>
                <a:lnTo>
                  <a:pt x="4691" y="3196"/>
                </a:lnTo>
                <a:lnTo>
                  <a:pt x="4695" y="3162"/>
                </a:lnTo>
                <a:lnTo>
                  <a:pt x="4697" y="3130"/>
                </a:lnTo>
                <a:lnTo>
                  <a:pt x="4699" y="3096"/>
                </a:lnTo>
                <a:lnTo>
                  <a:pt x="4699" y="3096"/>
                </a:lnTo>
                <a:lnTo>
                  <a:pt x="4697" y="3058"/>
                </a:lnTo>
                <a:lnTo>
                  <a:pt x="4695" y="3022"/>
                </a:lnTo>
                <a:lnTo>
                  <a:pt x="4689" y="2984"/>
                </a:lnTo>
                <a:lnTo>
                  <a:pt x="4683" y="2948"/>
                </a:lnTo>
                <a:lnTo>
                  <a:pt x="4675" y="2912"/>
                </a:lnTo>
                <a:lnTo>
                  <a:pt x="4665" y="2878"/>
                </a:lnTo>
                <a:lnTo>
                  <a:pt x="4653" y="2844"/>
                </a:lnTo>
                <a:lnTo>
                  <a:pt x="4641" y="2810"/>
                </a:lnTo>
                <a:lnTo>
                  <a:pt x="4625" y="2778"/>
                </a:lnTo>
                <a:lnTo>
                  <a:pt x="4609" y="2746"/>
                </a:lnTo>
                <a:lnTo>
                  <a:pt x="4591" y="2716"/>
                </a:lnTo>
                <a:lnTo>
                  <a:pt x="4573" y="2686"/>
                </a:lnTo>
                <a:lnTo>
                  <a:pt x="4551" y="2656"/>
                </a:lnTo>
                <a:lnTo>
                  <a:pt x="4531" y="2630"/>
                </a:lnTo>
                <a:lnTo>
                  <a:pt x="4507" y="2602"/>
                </a:lnTo>
                <a:lnTo>
                  <a:pt x="4483" y="2576"/>
                </a:lnTo>
                <a:lnTo>
                  <a:pt x="4457" y="2552"/>
                </a:lnTo>
                <a:lnTo>
                  <a:pt x="4431" y="2530"/>
                </a:lnTo>
                <a:lnTo>
                  <a:pt x="4403" y="2508"/>
                </a:lnTo>
                <a:lnTo>
                  <a:pt x="4373" y="2486"/>
                </a:lnTo>
                <a:lnTo>
                  <a:pt x="4343" y="2468"/>
                </a:lnTo>
                <a:lnTo>
                  <a:pt x="4313" y="2450"/>
                </a:lnTo>
                <a:lnTo>
                  <a:pt x="4281" y="2434"/>
                </a:lnTo>
                <a:lnTo>
                  <a:pt x="4249" y="2420"/>
                </a:lnTo>
                <a:lnTo>
                  <a:pt x="4215" y="2406"/>
                </a:lnTo>
                <a:lnTo>
                  <a:pt x="4181" y="2394"/>
                </a:lnTo>
                <a:lnTo>
                  <a:pt x="4147" y="2384"/>
                </a:lnTo>
                <a:lnTo>
                  <a:pt x="4111" y="2376"/>
                </a:lnTo>
                <a:lnTo>
                  <a:pt x="4075" y="2370"/>
                </a:lnTo>
                <a:lnTo>
                  <a:pt x="4037" y="2366"/>
                </a:lnTo>
                <a:lnTo>
                  <a:pt x="4001" y="2362"/>
                </a:lnTo>
                <a:lnTo>
                  <a:pt x="3963" y="2362"/>
                </a:lnTo>
                <a:lnTo>
                  <a:pt x="3963" y="2362"/>
                </a:lnTo>
                <a:lnTo>
                  <a:pt x="3925" y="2362"/>
                </a:lnTo>
                <a:lnTo>
                  <a:pt x="3887" y="2366"/>
                </a:lnTo>
                <a:lnTo>
                  <a:pt x="3851" y="2370"/>
                </a:lnTo>
                <a:lnTo>
                  <a:pt x="3815" y="2376"/>
                </a:lnTo>
                <a:lnTo>
                  <a:pt x="3779" y="2384"/>
                </a:lnTo>
                <a:lnTo>
                  <a:pt x="3745" y="2394"/>
                </a:lnTo>
                <a:lnTo>
                  <a:pt x="3711" y="2406"/>
                </a:lnTo>
                <a:lnTo>
                  <a:pt x="3677" y="2420"/>
                </a:lnTo>
                <a:lnTo>
                  <a:pt x="3645" y="2434"/>
                </a:lnTo>
                <a:lnTo>
                  <a:pt x="3613" y="2450"/>
                </a:lnTo>
                <a:lnTo>
                  <a:pt x="3581" y="2468"/>
                </a:lnTo>
                <a:lnTo>
                  <a:pt x="3553" y="2486"/>
                </a:lnTo>
                <a:lnTo>
                  <a:pt x="3523" y="2508"/>
                </a:lnTo>
                <a:lnTo>
                  <a:pt x="3495" y="2530"/>
                </a:lnTo>
                <a:lnTo>
                  <a:pt x="3469" y="2552"/>
                </a:lnTo>
                <a:lnTo>
                  <a:pt x="3443" y="2576"/>
                </a:lnTo>
                <a:lnTo>
                  <a:pt x="3419" y="2602"/>
                </a:lnTo>
                <a:lnTo>
                  <a:pt x="3395" y="2630"/>
                </a:lnTo>
                <a:lnTo>
                  <a:pt x="3373" y="2656"/>
                </a:lnTo>
                <a:lnTo>
                  <a:pt x="3353" y="2686"/>
                </a:lnTo>
                <a:lnTo>
                  <a:pt x="3334" y="2716"/>
                </a:lnTo>
                <a:lnTo>
                  <a:pt x="3316" y="2746"/>
                </a:lnTo>
                <a:lnTo>
                  <a:pt x="3300" y="2778"/>
                </a:lnTo>
                <a:lnTo>
                  <a:pt x="3284" y="2810"/>
                </a:lnTo>
                <a:lnTo>
                  <a:pt x="3272" y="2844"/>
                </a:lnTo>
                <a:lnTo>
                  <a:pt x="3260" y="2878"/>
                </a:lnTo>
                <a:lnTo>
                  <a:pt x="3250" y="2912"/>
                </a:lnTo>
                <a:lnTo>
                  <a:pt x="3242" y="2948"/>
                </a:lnTo>
                <a:lnTo>
                  <a:pt x="3236" y="2984"/>
                </a:lnTo>
                <a:lnTo>
                  <a:pt x="3230" y="3022"/>
                </a:lnTo>
                <a:lnTo>
                  <a:pt x="3228" y="3058"/>
                </a:lnTo>
                <a:lnTo>
                  <a:pt x="3226" y="3096"/>
                </a:lnTo>
                <a:lnTo>
                  <a:pt x="3226" y="3096"/>
                </a:lnTo>
                <a:lnTo>
                  <a:pt x="3228" y="3130"/>
                </a:lnTo>
                <a:lnTo>
                  <a:pt x="3230" y="3162"/>
                </a:lnTo>
                <a:lnTo>
                  <a:pt x="3234" y="3196"/>
                </a:lnTo>
                <a:lnTo>
                  <a:pt x="3238" y="3228"/>
                </a:lnTo>
                <a:lnTo>
                  <a:pt x="3244" y="3258"/>
                </a:lnTo>
                <a:lnTo>
                  <a:pt x="3252" y="3290"/>
                </a:lnTo>
                <a:lnTo>
                  <a:pt x="3262" y="3320"/>
                </a:lnTo>
                <a:lnTo>
                  <a:pt x="3272" y="3350"/>
                </a:lnTo>
                <a:lnTo>
                  <a:pt x="3284" y="3380"/>
                </a:lnTo>
                <a:lnTo>
                  <a:pt x="3296" y="3408"/>
                </a:lnTo>
                <a:lnTo>
                  <a:pt x="3310" y="3436"/>
                </a:lnTo>
                <a:lnTo>
                  <a:pt x="3326" y="3464"/>
                </a:lnTo>
                <a:lnTo>
                  <a:pt x="3343" y="3490"/>
                </a:lnTo>
                <a:lnTo>
                  <a:pt x="3359" y="3516"/>
                </a:lnTo>
                <a:lnTo>
                  <a:pt x="3379" y="3542"/>
                </a:lnTo>
                <a:lnTo>
                  <a:pt x="3397" y="3566"/>
                </a:lnTo>
                <a:lnTo>
                  <a:pt x="3417" y="3590"/>
                </a:lnTo>
                <a:lnTo>
                  <a:pt x="3439" y="3612"/>
                </a:lnTo>
                <a:lnTo>
                  <a:pt x="3461" y="3634"/>
                </a:lnTo>
                <a:lnTo>
                  <a:pt x="3485" y="3654"/>
                </a:lnTo>
                <a:lnTo>
                  <a:pt x="3509" y="3674"/>
                </a:lnTo>
                <a:lnTo>
                  <a:pt x="3533" y="3692"/>
                </a:lnTo>
                <a:lnTo>
                  <a:pt x="3559" y="3710"/>
                </a:lnTo>
                <a:lnTo>
                  <a:pt x="3585" y="3726"/>
                </a:lnTo>
                <a:lnTo>
                  <a:pt x="3613" y="3742"/>
                </a:lnTo>
                <a:lnTo>
                  <a:pt x="3641" y="3756"/>
                </a:lnTo>
                <a:lnTo>
                  <a:pt x="3669" y="3770"/>
                </a:lnTo>
                <a:lnTo>
                  <a:pt x="3699" y="3782"/>
                </a:lnTo>
                <a:lnTo>
                  <a:pt x="3729" y="3792"/>
                </a:lnTo>
                <a:lnTo>
                  <a:pt x="3759" y="3802"/>
                </a:lnTo>
                <a:lnTo>
                  <a:pt x="3789" y="3810"/>
                </a:lnTo>
                <a:lnTo>
                  <a:pt x="3821" y="3818"/>
                </a:lnTo>
                <a:lnTo>
                  <a:pt x="3821" y="4394"/>
                </a:lnTo>
                <a:lnTo>
                  <a:pt x="3282" y="4858"/>
                </a:lnTo>
                <a:lnTo>
                  <a:pt x="3282" y="6388"/>
                </a:lnTo>
                <a:lnTo>
                  <a:pt x="2948" y="6388"/>
                </a:lnTo>
                <a:lnTo>
                  <a:pt x="2856" y="2456"/>
                </a:lnTo>
                <a:lnTo>
                  <a:pt x="2856" y="2456"/>
                </a:lnTo>
                <a:lnTo>
                  <a:pt x="2888" y="2448"/>
                </a:lnTo>
                <a:lnTo>
                  <a:pt x="2918" y="2440"/>
                </a:lnTo>
                <a:lnTo>
                  <a:pt x="2948" y="2430"/>
                </a:lnTo>
                <a:lnTo>
                  <a:pt x="2978" y="2420"/>
                </a:lnTo>
                <a:lnTo>
                  <a:pt x="3008" y="2408"/>
                </a:lnTo>
                <a:lnTo>
                  <a:pt x="3036" y="2394"/>
                </a:lnTo>
                <a:lnTo>
                  <a:pt x="3064" y="2380"/>
                </a:lnTo>
                <a:lnTo>
                  <a:pt x="3090" y="2364"/>
                </a:lnTo>
                <a:lnTo>
                  <a:pt x="3116" y="2348"/>
                </a:lnTo>
                <a:lnTo>
                  <a:pt x="3142" y="2330"/>
                </a:lnTo>
                <a:lnTo>
                  <a:pt x="3168" y="2310"/>
                </a:lnTo>
                <a:lnTo>
                  <a:pt x="3190" y="2292"/>
                </a:lnTo>
                <a:lnTo>
                  <a:pt x="3214" y="2270"/>
                </a:lnTo>
                <a:lnTo>
                  <a:pt x="3236" y="2248"/>
                </a:lnTo>
                <a:lnTo>
                  <a:pt x="3258" y="2226"/>
                </a:lnTo>
                <a:lnTo>
                  <a:pt x="3278" y="2202"/>
                </a:lnTo>
                <a:lnTo>
                  <a:pt x="3296" y="2178"/>
                </a:lnTo>
                <a:lnTo>
                  <a:pt x="3316" y="2154"/>
                </a:lnTo>
                <a:lnTo>
                  <a:pt x="3332" y="2128"/>
                </a:lnTo>
                <a:lnTo>
                  <a:pt x="3349" y="2102"/>
                </a:lnTo>
                <a:lnTo>
                  <a:pt x="3365" y="2074"/>
                </a:lnTo>
                <a:lnTo>
                  <a:pt x="3379" y="2046"/>
                </a:lnTo>
                <a:lnTo>
                  <a:pt x="3391" y="2016"/>
                </a:lnTo>
                <a:lnTo>
                  <a:pt x="3403" y="1988"/>
                </a:lnTo>
                <a:lnTo>
                  <a:pt x="3413" y="1958"/>
                </a:lnTo>
                <a:lnTo>
                  <a:pt x="3421" y="1928"/>
                </a:lnTo>
                <a:lnTo>
                  <a:pt x="3429" y="1896"/>
                </a:lnTo>
                <a:lnTo>
                  <a:pt x="3435" y="1864"/>
                </a:lnTo>
                <a:lnTo>
                  <a:pt x="3441" y="1832"/>
                </a:lnTo>
                <a:lnTo>
                  <a:pt x="3445" y="1800"/>
                </a:lnTo>
                <a:lnTo>
                  <a:pt x="3447" y="1768"/>
                </a:lnTo>
                <a:lnTo>
                  <a:pt x="3447" y="1734"/>
                </a:lnTo>
                <a:lnTo>
                  <a:pt x="3447" y="1734"/>
                </a:lnTo>
                <a:lnTo>
                  <a:pt x="3447" y="1696"/>
                </a:lnTo>
                <a:lnTo>
                  <a:pt x="3443" y="1660"/>
                </a:lnTo>
                <a:lnTo>
                  <a:pt x="3439" y="1622"/>
                </a:lnTo>
                <a:lnTo>
                  <a:pt x="3433" y="1586"/>
                </a:lnTo>
                <a:lnTo>
                  <a:pt x="3425" y="1552"/>
                </a:lnTo>
                <a:lnTo>
                  <a:pt x="3415" y="1516"/>
                </a:lnTo>
                <a:lnTo>
                  <a:pt x="3403" y="1482"/>
                </a:lnTo>
                <a:lnTo>
                  <a:pt x="3389" y="1448"/>
                </a:lnTo>
                <a:lnTo>
                  <a:pt x="3375" y="1416"/>
                </a:lnTo>
                <a:lnTo>
                  <a:pt x="3359" y="1384"/>
                </a:lnTo>
                <a:lnTo>
                  <a:pt x="3341" y="1354"/>
                </a:lnTo>
                <a:lnTo>
                  <a:pt x="3320" y="1324"/>
                </a:lnTo>
                <a:lnTo>
                  <a:pt x="3300" y="1294"/>
                </a:lnTo>
                <a:lnTo>
                  <a:pt x="3278" y="1268"/>
                </a:lnTo>
                <a:lnTo>
                  <a:pt x="3256" y="1240"/>
                </a:lnTo>
                <a:lnTo>
                  <a:pt x="3230" y="1214"/>
                </a:lnTo>
                <a:lnTo>
                  <a:pt x="3206" y="1190"/>
                </a:lnTo>
                <a:lnTo>
                  <a:pt x="3178" y="1168"/>
                </a:lnTo>
                <a:lnTo>
                  <a:pt x="3150" y="1146"/>
                </a:lnTo>
                <a:lnTo>
                  <a:pt x="3122" y="1126"/>
                </a:lnTo>
                <a:lnTo>
                  <a:pt x="3092" y="1106"/>
                </a:lnTo>
                <a:lnTo>
                  <a:pt x="3062" y="1088"/>
                </a:lnTo>
                <a:lnTo>
                  <a:pt x="3030" y="1072"/>
                </a:lnTo>
                <a:lnTo>
                  <a:pt x="2998" y="1058"/>
                </a:lnTo>
                <a:lnTo>
                  <a:pt x="2964" y="1044"/>
                </a:lnTo>
                <a:lnTo>
                  <a:pt x="2930" y="1032"/>
                </a:lnTo>
                <a:lnTo>
                  <a:pt x="2894" y="1022"/>
                </a:lnTo>
                <a:lnTo>
                  <a:pt x="2860" y="1014"/>
                </a:lnTo>
                <a:lnTo>
                  <a:pt x="2824" y="1008"/>
                </a:lnTo>
                <a:lnTo>
                  <a:pt x="2786" y="1004"/>
                </a:lnTo>
                <a:lnTo>
                  <a:pt x="2750" y="1000"/>
                </a:lnTo>
                <a:lnTo>
                  <a:pt x="2712" y="1000"/>
                </a:lnTo>
                <a:lnTo>
                  <a:pt x="2712" y="1000"/>
                </a:lnTo>
                <a:lnTo>
                  <a:pt x="2674" y="1000"/>
                </a:lnTo>
                <a:lnTo>
                  <a:pt x="2636" y="1004"/>
                </a:lnTo>
                <a:lnTo>
                  <a:pt x="2600" y="1008"/>
                </a:lnTo>
                <a:lnTo>
                  <a:pt x="2564" y="1014"/>
                </a:lnTo>
                <a:lnTo>
                  <a:pt x="2528" y="1022"/>
                </a:lnTo>
                <a:lnTo>
                  <a:pt x="2492" y="1032"/>
                </a:lnTo>
                <a:lnTo>
                  <a:pt x="2458" y="1044"/>
                </a:lnTo>
                <a:lnTo>
                  <a:pt x="2426" y="1058"/>
                </a:lnTo>
                <a:lnTo>
                  <a:pt x="2392" y="1072"/>
                </a:lnTo>
                <a:lnTo>
                  <a:pt x="2362" y="1088"/>
                </a:lnTo>
                <a:lnTo>
                  <a:pt x="2330" y="1106"/>
                </a:lnTo>
                <a:lnTo>
                  <a:pt x="2300" y="1126"/>
                </a:lnTo>
                <a:lnTo>
                  <a:pt x="2272" y="1146"/>
                </a:lnTo>
                <a:lnTo>
                  <a:pt x="2244" y="1168"/>
                </a:lnTo>
                <a:lnTo>
                  <a:pt x="2218" y="1190"/>
                </a:lnTo>
                <a:lnTo>
                  <a:pt x="2192" y="1214"/>
                </a:lnTo>
                <a:lnTo>
                  <a:pt x="2168" y="1240"/>
                </a:lnTo>
                <a:lnTo>
                  <a:pt x="2144" y="1268"/>
                </a:lnTo>
                <a:lnTo>
                  <a:pt x="2122" y="1294"/>
                </a:lnTo>
                <a:lnTo>
                  <a:pt x="2102" y="1324"/>
                </a:lnTo>
                <a:lnTo>
                  <a:pt x="2082" y="1354"/>
                </a:lnTo>
                <a:lnTo>
                  <a:pt x="2066" y="1384"/>
                </a:lnTo>
                <a:lnTo>
                  <a:pt x="2048" y="1416"/>
                </a:lnTo>
                <a:lnTo>
                  <a:pt x="2034" y="1448"/>
                </a:lnTo>
                <a:lnTo>
                  <a:pt x="2020" y="1482"/>
                </a:lnTo>
                <a:lnTo>
                  <a:pt x="2010" y="1516"/>
                </a:lnTo>
                <a:lnTo>
                  <a:pt x="2000" y="1552"/>
                </a:lnTo>
                <a:lnTo>
                  <a:pt x="1992" y="1586"/>
                </a:lnTo>
                <a:lnTo>
                  <a:pt x="1984" y="1622"/>
                </a:lnTo>
                <a:lnTo>
                  <a:pt x="1980" y="1660"/>
                </a:lnTo>
                <a:lnTo>
                  <a:pt x="1978" y="1696"/>
                </a:lnTo>
                <a:lnTo>
                  <a:pt x="1976" y="1734"/>
                </a:lnTo>
                <a:lnTo>
                  <a:pt x="1976" y="1734"/>
                </a:lnTo>
                <a:lnTo>
                  <a:pt x="1976" y="1768"/>
                </a:lnTo>
                <a:lnTo>
                  <a:pt x="1980" y="1800"/>
                </a:lnTo>
                <a:lnTo>
                  <a:pt x="1982" y="1834"/>
                </a:lnTo>
                <a:lnTo>
                  <a:pt x="1988" y="1866"/>
                </a:lnTo>
                <a:lnTo>
                  <a:pt x="1994" y="1898"/>
                </a:lnTo>
                <a:lnTo>
                  <a:pt x="2002" y="1928"/>
                </a:lnTo>
                <a:lnTo>
                  <a:pt x="2012" y="1958"/>
                </a:lnTo>
                <a:lnTo>
                  <a:pt x="2022" y="1990"/>
                </a:lnTo>
                <a:lnTo>
                  <a:pt x="2034" y="2018"/>
                </a:lnTo>
                <a:lnTo>
                  <a:pt x="2046" y="2048"/>
                </a:lnTo>
                <a:lnTo>
                  <a:pt x="2060" y="2076"/>
                </a:lnTo>
                <a:lnTo>
                  <a:pt x="2076" y="2102"/>
                </a:lnTo>
                <a:lnTo>
                  <a:pt x="2092" y="2130"/>
                </a:lnTo>
                <a:lnTo>
                  <a:pt x="2110" y="2156"/>
                </a:lnTo>
                <a:lnTo>
                  <a:pt x="2128" y="2180"/>
                </a:lnTo>
                <a:lnTo>
                  <a:pt x="2146" y="2204"/>
                </a:lnTo>
                <a:lnTo>
                  <a:pt x="2168" y="2228"/>
                </a:lnTo>
                <a:lnTo>
                  <a:pt x="2188" y="2252"/>
                </a:lnTo>
                <a:lnTo>
                  <a:pt x="2212" y="2272"/>
                </a:lnTo>
                <a:lnTo>
                  <a:pt x="2234" y="2294"/>
                </a:lnTo>
                <a:lnTo>
                  <a:pt x="2258" y="2314"/>
                </a:lnTo>
                <a:lnTo>
                  <a:pt x="2284" y="2332"/>
                </a:lnTo>
                <a:lnTo>
                  <a:pt x="2310" y="2350"/>
                </a:lnTo>
                <a:lnTo>
                  <a:pt x="2336" y="2366"/>
                </a:lnTo>
                <a:lnTo>
                  <a:pt x="2364" y="2382"/>
                </a:lnTo>
                <a:lnTo>
                  <a:pt x="2392" y="2396"/>
                </a:lnTo>
                <a:lnTo>
                  <a:pt x="2420" y="2410"/>
                </a:lnTo>
                <a:lnTo>
                  <a:pt x="2450" y="2422"/>
                </a:lnTo>
                <a:lnTo>
                  <a:pt x="2480" y="2432"/>
                </a:lnTo>
                <a:lnTo>
                  <a:pt x="2510" y="2442"/>
                </a:lnTo>
                <a:lnTo>
                  <a:pt x="2540" y="2450"/>
                </a:lnTo>
                <a:lnTo>
                  <a:pt x="2572" y="2456"/>
                </a:lnTo>
                <a:lnTo>
                  <a:pt x="2662" y="6388"/>
                </a:lnTo>
                <a:lnTo>
                  <a:pt x="2332" y="6388"/>
                </a:lnTo>
                <a:lnTo>
                  <a:pt x="2332" y="4562"/>
                </a:lnTo>
                <a:lnTo>
                  <a:pt x="1724" y="3834"/>
                </a:lnTo>
                <a:lnTo>
                  <a:pt x="1724" y="3834"/>
                </a:lnTo>
                <a:lnTo>
                  <a:pt x="1774" y="3812"/>
                </a:lnTo>
                <a:lnTo>
                  <a:pt x="1824" y="3786"/>
                </a:lnTo>
                <a:lnTo>
                  <a:pt x="1870" y="3758"/>
                </a:lnTo>
                <a:lnTo>
                  <a:pt x="1914" y="3726"/>
                </a:lnTo>
                <a:lnTo>
                  <a:pt x="1956" y="3690"/>
                </a:lnTo>
                <a:lnTo>
                  <a:pt x="1994" y="3652"/>
                </a:lnTo>
                <a:lnTo>
                  <a:pt x="2030" y="3612"/>
                </a:lnTo>
                <a:lnTo>
                  <a:pt x="2064" y="3568"/>
                </a:lnTo>
                <a:lnTo>
                  <a:pt x="2092" y="3522"/>
                </a:lnTo>
                <a:lnTo>
                  <a:pt x="2120" y="3474"/>
                </a:lnTo>
                <a:lnTo>
                  <a:pt x="2142" y="3424"/>
                </a:lnTo>
                <a:lnTo>
                  <a:pt x="2160" y="3372"/>
                </a:lnTo>
                <a:lnTo>
                  <a:pt x="2176" y="3318"/>
                </a:lnTo>
                <a:lnTo>
                  <a:pt x="2188" y="3262"/>
                </a:lnTo>
                <a:lnTo>
                  <a:pt x="2194" y="3206"/>
                </a:lnTo>
                <a:lnTo>
                  <a:pt x="2196" y="3148"/>
                </a:lnTo>
                <a:lnTo>
                  <a:pt x="2196" y="3148"/>
                </a:lnTo>
                <a:lnTo>
                  <a:pt x="2196" y="3110"/>
                </a:lnTo>
                <a:lnTo>
                  <a:pt x="2192" y="3072"/>
                </a:lnTo>
                <a:lnTo>
                  <a:pt x="2188" y="3036"/>
                </a:lnTo>
                <a:lnTo>
                  <a:pt x="2182" y="3000"/>
                </a:lnTo>
                <a:lnTo>
                  <a:pt x="2172" y="2964"/>
                </a:lnTo>
                <a:lnTo>
                  <a:pt x="2162" y="2930"/>
                </a:lnTo>
                <a:lnTo>
                  <a:pt x="2152" y="2896"/>
                </a:lnTo>
                <a:lnTo>
                  <a:pt x="2138" y="2862"/>
                </a:lnTo>
                <a:lnTo>
                  <a:pt x="2124" y="2830"/>
                </a:lnTo>
                <a:lnTo>
                  <a:pt x="2108" y="2798"/>
                </a:lnTo>
                <a:lnTo>
                  <a:pt x="2090" y="2766"/>
                </a:lnTo>
                <a:lnTo>
                  <a:pt x="2070" y="2738"/>
                </a:lnTo>
                <a:lnTo>
                  <a:pt x="2050" y="2708"/>
                </a:lnTo>
                <a:lnTo>
                  <a:pt x="2028" y="2680"/>
                </a:lnTo>
                <a:lnTo>
                  <a:pt x="2004" y="2654"/>
                </a:lnTo>
                <a:lnTo>
                  <a:pt x="1980" y="2628"/>
                </a:lnTo>
                <a:lnTo>
                  <a:pt x="1954" y="2604"/>
                </a:lnTo>
                <a:lnTo>
                  <a:pt x="1928" y="2580"/>
                </a:lnTo>
                <a:lnTo>
                  <a:pt x="1900" y="2558"/>
                </a:lnTo>
                <a:lnTo>
                  <a:pt x="1872" y="2538"/>
                </a:lnTo>
                <a:lnTo>
                  <a:pt x="1842" y="2520"/>
                </a:lnTo>
                <a:lnTo>
                  <a:pt x="1810" y="2502"/>
                </a:lnTo>
                <a:lnTo>
                  <a:pt x="1780" y="2486"/>
                </a:lnTo>
                <a:lnTo>
                  <a:pt x="1746" y="2470"/>
                </a:lnTo>
                <a:lnTo>
                  <a:pt x="1714" y="2458"/>
                </a:lnTo>
                <a:lnTo>
                  <a:pt x="1680" y="2446"/>
                </a:lnTo>
                <a:lnTo>
                  <a:pt x="1644" y="2436"/>
                </a:lnTo>
                <a:lnTo>
                  <a:pt x="1608" y="2428"/>
                </a:lnTo>
                <a:lnTo>
                  <a:pt x="1572" y="2422"/>
                </a:lnTo>
                <a:lnTo>
                  <a:pt x="1536" y="2416"/>
                </a:lnTo>
                <a:lnTo>
                  <a:pt x="1498" y="2414"/>
                </a:lnTo>
                <a:lnTo>
                  <a:pt x="1460" y="2412"/>
                </a:lnTo>
                <a:lnTo>
                  <a:pt x="1460" y="2412"/>
                </a:lnTo>
                <a:lnTo>
                  <a:pt x="1424" y="2414"/>
                </a:lnTo>
                <a:lnTo>
                  <a:pt x="1386" y="2416"/>
                </a:lnTo>
                <a:lnTo>
                  <a:pt x="1348" y="2422"/>
                </a:lnTo>
                <a:lnTo>
                  <a:pt x="1312" y="2428"/>
                </a:lnTo>
                <a:lnTo>
                  <a:pt x="1278" y="2436"/>
                </a:lnTo>
                <a:lnTo>
                  <a:pt x="1242" y="2446"/>
                </a:lnTo>
                <a:lnTo>
                  <a:pt x="1208" y="2458"/>
                </a:lnTo>
                <a:lnTo>
                  <a:pt x="1174" y="2470"/>
                </a:lnTo>
                <a:lnTo>
                  <a:pt x="1142" y="2486"/>
                </a:lnTo>
                <a:lnTo>
                  <a:pt x="1110" y="2502"/>
                </a:lnTo>
                <a:lnTo>
                  <a:pt x="1080" y="2520"/>
                </a:lnTo>
                <a:lnTo>
                  <a:pt x="1050" y="2538"/>
                </a:lnTo>
                <a:lnTo>
                  <a:pt x="1022" y="2558"/>
                </a:lnTo>
                <a:lnTo>
                  <a:pt x="994" y="2580"/>
                </a:lnTo>
                <a:lnTo>
                  <a:pt x="966" y="2604"/>
                </a:lnTo>
                <a:lnTo>
                  <a:pt x="942" y="2628"/>
                </a:lnTo>
                <a:lnTo>
                  <a:pt x="916" y="2654"/>
                </a:lnTo>
                <a:lnTo>
                  <a:pt x="894" y="2680"/>
                </a:lnTo>
                <a:lnTo>
                  <a:pt x="872" y="2708"/>
                </a:lnTo>
                <a:lnTo>
                  <a:pt x="852" y="2738"/>
                </a:lnTo>
                <a:lnTo>
                  <a:pt x="832" y="2766"/>
                </a:lnTo>
                <a:lnTo>
                  <a:pt x="814" y="2798"/>
                </a:lnTo>
                <a:lnTo>
                  <a:pt x="798" y="2830"/>
                </a:lnTo>
                <a:lnTo>
                  <a:pt x="784" y="2862"/>
                </a:lnTo>
                <a:lnTo>
                  <a:pt x="770" y="2896"/>
                </a:lnTo>
                <a:lnTo>
                  <a:pt x="758" y="2930"/>
                </a:lnTo>
                <a:lnTo>
                  <a:pt x="748" y="2964"/>
                </a:lnTo>
                <a:lnTo>
                  <a:pt x="740" y="3000"/>
                </a:lnTo>
                <a:lnTo>
                  <a:pt x="734" y="3036"/>
                </a:lnTo>
                <a:lnTo>
                  <a:pt x="730" y="3072"/>
                </a:lnTo>
                <a:lnTo>
                  <a:pt x="726" y="3110"/>
                </a:lnTo>
                <a:lnTo>
                  <a:pt x="726" y="3148"/>
                </a:lnTo>
                <a:lnTo>
                  <a:pt x="726" y="3148"/>
                </a:lnTo>
                <a:lnTo>
                  <a:pt x="726" y="3184"/>
                </a:lnTo>
                <a:lnTo>
                  <a:pt x="730" y="3218"/>
                </a:lnTo>
                <a:lnTo>
                  <a:pt x="734" y="3254"/>
                </a:lnTo>
                <a:lnTo>
                  <a:pt x="738" y="3288"/>
                </a:lnTo>
                <a:lnTo>
                  <a:pt x="746" y="3322"/>
                </a:lnTo>
                <a:lnTo>
                  <a:pt x="756" y="3354"/>
                </a:lnTo>
                <a:lnTo>
                  <a:pt x="766" y="3386"/>
                </a:lnTo>
                <a:lnTo>
                  <a:pt x="778" y="3418"/>
                </a:lnTo>
                <a:lnTo>
                  <a:pt x="790" y="3450"/>
                </a:lnTo>
                <a:lnTo>
                  <a:pt x="804" y="3480"/>
                </a:lnTo>
                <a:lnTo>
                  <a:pt x="820" y="3510"/>
                </a:lnTo>
                <a:lnTo>
                  <a:pt x="838" y="3538"/>
                </a:lnTo>
                <a:lnTo>
                  <a:pt x="856" y="3566"/>
                </a:lnTo>
                <a:lnTo>
                  <a:pt x="876" y="3592"/>
                </a:lnTo>
                <a:lnTo>
                  <a:pt x="896" y="3618"/>
                </a:lnTo>
                <a:lnTo>
                  <a:pt x="918" y="3644"/>
                </a:lnTo>
                <a:lnTo>
                  <a:pt x="942" y="3668"/>
                </a:lnTo>
                <a:lnTo>
                  <a:pt x="966" y="3690"/>
                </a:lnTo>
                <a:lnTo>
                  <a:pt x="990" y="3712"/>
                </a:lnTo>
                <a:lnTo>
                  <a:pt x="1016" y="3734"/>
                </a:lnTo>
                <a:lnTo>
                  <a:pt x="1044" y="3752"/>
                </a:lnTo>
                <a:lnTo>
                  <a:pt x="1072" y="3772"/>
                </a:lnTo>
                <a:lnTo>
                  <a:pt x="1100" y="3788"/>
                </a:lnTo>
                <a:lnTo>
                  <a:pt x="1130" y="3804"/>
                </a:lnTo>
                <a:lnTo>
                  <a:pt x="1160" y="3818"/>
                </a:lnTo>
                <a:lnTo>
                  <a:pt x="1192" y="3832"/>
                </a:lnTo>
                <a:lnTo>
                  <a:pt x="1224" y="3844"/>
                </a:lnTo>
                <a:lnTo>
                  <a:pt x="1256" y="3854"/>
                </a:lnTo>
                <a:lnTo>
                  <a:pt x="1288" y="3862"/>
                </a:lnTo>
                <a:lnTo>
                  <a:pt x="1322" y="3870"/>
                </a:lnTo>
                <a:lnTo>
                  <a:pt x="1356" y="3876"/>
                </a:lnTo>
                <a:lnTo>
                  <a:pt x="1392" y="3880"/>
                </a:lnTo>
                <a:lnTo>
                  <a:pt x="2048" y="4666"/>
                </a:lnTo>
                <a:lnTo>
                  <a:pt x="2048" y="6388"/>
                </a:lnTo>
                <a:lnTo>
                  <a:pt x="284" y="6388"/>
                </a:lnTo>
                <a:lnTo>
                  <a:pt x="284" y="284"/>
                </a:lnTo>
                <a:lnTo>
                  <a:pt x="6389" y="284"/>
                </a:lnTo>
                <a:lnTo>
                  <a:pt x="6389" y="6388"/>
                </a:lnTo>
                <a:close/>
                <a:moveTo>
                  <a:pt x="5213" y="2314"/>
                </a:moveTo>
                <a:lnTo>
                  <a:pt x="5213" y="2314"/>
                </a:lnTo>
                <a:lnTo>
                  <a:pt x="5167" y="2312"/>
                </a:lnTo>
                <a:lnTo>
                  <a:pt x="5123" y="2304"/>
                </a:lnTo>
                <a:lnTo>
                  <a:pt x="5079" y="2294"/>
                </a:lnTo>
                <a:lnTo>
                  <a:pt x="5039" y="2278"/>
                </a:lnTo>
                <a:lnTo>
                  <a:pt x="4999" y="2260"/>
                </a:lnTo>
                <a:lnTo>
                  <a:pt x="4961" y="2236"/>
                </a:lnTo>
                <a:lnTo>
                  <a:pt x="4927" y="2210"/>
                </a:lnTo>
                <a:lnTo>
                  <a:pt x="4895" y="2182"/>
                </a:lnTo>
                <a:lnTo>
                  <a:pt x="4865" y="2150"/>
                </a:lnTo>
                <a:lnTo>
                  <a:pt x="4839" y="2114"/>
                </a:lnTo>
                <a:lnTo>
                  <a:pt x="4817" y="2078"/>
                </a:lnTo>
                <a:lnTo>
                  <a:pt x="4799" y="2038"/>
                </a:lnTo>
                <a:lnTo>
                  <a:pt x="4783" y="1996"/>
                </a:lnTo>
                <a:lnTo>
                  <a:pt x="4771" y="1954"/>
                </a:lnTo>
                <a:lnTo>
                  <a:pt x="4765" y="1910"/>
                </a:lnTo>
                <a:lnTo>
                  <a:pt x="4763" y="1864"/>
                </a:lnTo>
                <a:lnTo>
                  <a:pt x="4763" y="1864"/>
                </a:lnTo>
                <a:lnTo>
                  <a:pt x="4765" y="1818"/>
                </a:lnTo>
                <a:lnTo>
                  <a:pt x="4771" y="1772"/>
                </a:lnTo>
                <a:lnTo>
                  <a:pt x="4783" y="1730"/>
                </a:lnTo>
                <a:lnTo>
                  <a:pt x="4799" y="1688"/>
                </a:lnTo>
                <a:lnTo>
                  <a:pt x="4817" y="1648"/>
                </a:lnTo>
                <a:lnTo>
                  <a:pt x="4839" y="1612"/>
                </a:lnTo>
                <a:lnTo>
                  <a:pt x="4865" y="1576"/>
                </a:lnTo>
                <a:lnTo>
                  <a:pt x="4895" y="1544"/>
                </a:lnTo>
                <a:lnTo>
                  <a:pt x="4927" y="1516"/>
                </a:lnTo>
                <a:lnTo>
                  <a:pt x="4961" y="1490"/>
                </a:lnTo>
                <a:lnTo>
                  <a:pt x="4999" y="1466"/>
                </a:lnTo>
                <a:lnTo>
                  <a:pt x="5039" y="1448"/>
                </a:lnTo>
                <a:lnTo>
                  <a:pt x="5079" y="1432"/>
                </a:lnTo>
                <a:lnTo>
                  <a:pt x="5123" y="1422"/>
                </a:lnTo>
                <a:lnTo>
                  <a:pt x="5167" y="1414"/>
                </a:lnTo>
                <a:lnTo>
                  <a:pt x="5213" y="1412"/>
                </a:lnTo>
                <a:lnTo>
                  <a:pt x="5213" y="1412"/>
                </a:lnTo>
                <a:lnTo>
                  <a:pt x="5259" y="1414"/>
                </a:lnTo>
                <a:lnTo>
                  <a:pt x="5305" y="1422"/>
                </a:lnTo>
                <a:lnTo>
                  <a:pt x="5347" y="1432"/>
                </a:lnTo>
                <a:lnTo>
                  <a:pt x="5389" y="1448"/>
                </a:lnTo>
                <a:lnTo>
                  <a:pt x="5429" y="1466"/>
                </a:lnTo>
                <a:lnTo>
                  <a:pt x="5465" y="1490"/>
                </a:lnTo>
                <a:lnTo>
                  <a:pt x="5499" y="1516"/>
                </a:lnTo>
                <a:lnTo>
                  <a:pt x="5531" y="1544"/>
                </a:lnTo>
                <a:lnTo>
                  <a:pt x="5561" y="1576"/>
                </a:lnTo>
                <a:lnTo>
                  <a:pt x="5587" y="1612"/>
                </a:lnTo>
                <a:lnTo>
                  <a:pt x="5609" y="1648"/>
                </a:lnTo>
                <a:lnTo>
                  <a:pt x="5629" y="1688"/>
                </a:lnTo>
                <a:lnTo>
                  <a:pt x="5643" y="1730"/>
                </a:lnTo>
                <a:lnTo>
                  <a:pt x="5655" y="1772"/>
                </a:lnTo>
                <a:lnTo>
                  <a:pt x="5661" y="1818"/>
                </a:lnTo>
                <a:lnTo>
                  <a:pt x="5665" y="1864"/>
                </a:lnTo>
                <a:lnTo>
                  <a:pt x="5665" y="1864"/>
                </a:lnTo>
                <a:lnTo>
                  <a:pt x="5661" y="1910"/>
                </a:lnTo>
                <a:lnTo>
                  <a:pt x="5655" y="1954"/>
                </a:lnTo>
                <a:lnTo>
                  <a:pt x="5643" y="1996"/>
                </a:lnTo>
                <a:lnTo>
                  <a:pt x="5629" y="2038"/>
                </a:lnTo>
                <a:lnTo>
                  <a:pt x="5609" y="2078"/>
                </a:lnTo>
                <a:lnTo>
                  <a:pt x="5587" y="2114"/>
                </a:lnTo>
                <a:lnTo>
                  <a:pt x="5561" y="2150"/>
                </a:lnTo>
                <a:lnTo>
                  <a:pt x="5531" y="2182"/>
                </a:lnTo>
                <a:lnTo>
                  <a:pt x="5499" y="2210"/>
                </a:lnTo>
                <a:lnTo>
                  <a:pt x="5465" y="2236"/>
                </a:lnTo>
                <a:lnTo>
                  <a:pt x="5429" y="2260"/>
                </a:lnTo>
                <a:lnTo>
                  <a:pt x="5389" y="2278"/>
                </a:lnTo>
                <a:lnTo>
                  <a:pt x="5347" y="2294"/>
                </a:lnTo>
                <a:lnTo>
                  <a:pt x="5305" y="2304"/>
                </a:lnTo>
                <a:lnTo>
                  <a:pt x="5259" y="2312"/>
                </a:lnTo>
                <a:lnTo>
                  <a:pt x="5213" y="2314"/>
                </a:lnTo>
                <a:lnTo>
                  <a:pt x="5213" y="2314"/>
                </a:lnTo>
                <a:close/>
                <a:moveTo>
                  <a:pt x="3963" y="3548"/>
                </a:moveTo>
                <a:lnTo>
                  <a:pt x="3963" y="3548"/>
                </a:lnTo>
                <a:lnTo>
                  <a:pt x="3917" y="3544"/>
                </a:lnTo>
                <a:lnTo>
                  <a:pt x="3873" y="3538"/>
                </a:lnTo>
                <a:lnTo>
                  <a:pt x="3829" y="3526"/>
                </a:lnTo>
                <a:lnTo>
                  <a:pt x="3787" y="3512"/>
                </a:lnTo>
                <a:lnTo>
                  <a:pt x="3749" y="3492"/>
                </a:lnTo>
                <a:lnTo>
                  <a:pt x="3711" y="3470"/>
                </a:lnTo>
                <a:lnTo>
                  <a:pt x="3677" y="3444"/>
                </a:lnTo>
                <a:lnTo>
                  <a:pt x="3645" y="3414"/>
                </a:lnTo>
                <a:lnTo>
                  <a:pt x="3615" y="3382"/>
                </a:lnTo>
                <a:lnTo>
                  <a:pt x="3589" y="3348"/>
                </a:lnTo>
                <a:lnTo>
                  <a:pt x="3567" y="3312"/>
                </a:lnTo>
                <a:lnTo>
                  <a:pt x="3547" y="3272"/>
                </a:lnTo>
                <a:lnTo>
                  <a:pt x="3533" y="3230"/>
                </a:lnTo>
                <a:lnTo>
                  <a:pt x="3521" y="3188"/>
                </a:lnTo>
                <a:lnTo>
                  <a:pt x="3515" y="3142"/>
                </a:lnTo>
                <a:lnTo>
                  <a:pt x="3513" y="3096"/>
                </a:lnTo>
                <a:lnTo>
                  <a:pt x="3513" y="3096"/>
                </a:lnTo>
                <a:lnTo>
                  <a:pt x="3515" y="3050"/>
                </a:lnTo>
                <a:lnTo>
                  <a:pt x="3521" y="3006"/>
                </a:lnTo>
                <a:lnTo>
                  <a:pt x="3533" y="2962"/>
                </a:lnTo>
                <a:lnTo>
                  <a:pt x="3547" y="2922"/>
                </a:lnTo>
                <a:lnTo>
                  <a:pt x="3567" y="2882"/>
                </a:lnTo>
                <a:lnTo>
                  <a:pt x="3589" y="2844"/>
                </a:lnTo>
                <a:lnTo>
                  <a:pt x="3615" y="2810"/>
                </a:lnTo>
                <a:lnTo>
                  <a:pt x="3645" y="2778"/>
                </a:lnTo>
                <a:lnTo>
                  <a:pt x="3677" y="2748"/>
                </a:lnTo>
                <a:lnTo>
                  <a:pt x="3711" y="2722"/>
                </a:lnTo>
                <a:lnTo>
                  <a:pt x="3749" y="2700"/>
                </a:lnTo>
                <a:lnTo>
                  <a:pt x="3787" y="2682"/>
                </a:lnTo>
                <a:lnTo>
                  <a:pt x="3829" y="2666"/>
                </a:lnTo>
                <a:lnTo>
                  <a:pt x="3873" y="2654"/>
                </a:lnTo>
                <a:lnTo>
                  <a:pt x="3917" y="2648"/>
                </a:lnTo>
                <a:lnTo>
                  <a:pt x="3963" y="2646"/>
                </a:lnTo>
                <a:lnTo>
                  <a:pt x="3963" y="2646"/>
                </a:lnTo>
                <a:lnTo>
                  <a:pt x="4009" y="2648"/>
                </a:lnTo>
                <a:lnTo>
                  <a:pt x="4053" y="2654"/>
                </a:lnTo>
                <a:lnTo>
                  <a:pt x="4097" y="2666"/>
                </a:lnTo>
                <a:lnTo>
                  <a:pt x="4139" y="2682"/>
                </a:lnTo>
                <a:lnTo>
                  <a:pt x="4177" y="2700"/>
                </a:lnTo>
                <a:lnTo>
                  <a:pt x="4215" y="2722"/>
                </a:lnTo>
                <a:lnTo>
                  <a:pt x="4249" y="2748"/>
                </a:lnTo>
                <a:lnTo>
                  <a:pt x="4281" y="2778"/>
                </a:lnTo>
                <a:lnTo>
                  <a:pt x="4311" y="2810"/>
                </a:lnTo>
                <a:lnTo>
                  <a:pt x="4337" y="2844"/>
                </a:lnTo>
                <a:lnTo>
                  <a:pt x="4359" y="2882"/>
                </a:lnTo>
                <a:lnTo>
                  <a:pt x="4379" y="2922"/>
                </a:lnTo>
                <a:lnTo>
                  <a:pt x="4393" y="2962"/>
                </a:lnTo>
                <a:lnTo>
                  <a:pt x="4405" y="3006"/>
                </a:lnTo>
                <a:lnTo>
                  <a:pt x="4411" y="3050"/>
                </a:lnTo>
                <a:lnTo>
                  <a:pt x="4413" y="3096"/>
                </a:lnTo>
                <a:lnTo>
                  <a:pt x="4413" y="3096"/>
                </a:lnTo>
                <a:lnTo>
                  <a:pt x="4411" y="3142"/>
                </a:lnTo>
                <a:lnTo>
                  <a:pt x="4405" y="3188"/>
                </a:lnTo>
                <a:lnTo>
                  <a:pt x="4393" y="3230"/>
                </a:lnTo>
                <a:lnTo>
                  <a:pt x="4379" y="3272"/>
                </a:lnTo>
                <a:lnTo>
                  <a:pt x="4359" y="3312"/>
                </a:lnTo>
                <a:lnTo>
                  <a:pt x="4337" y="3348"/>
                </a:lnTo>
                <a:lnTo>
                  <a:pt x="4311" y="3382"/>
                </a:lnTo>
                <a:lnTo>
                  <a:pt x="4281" y="3414"/>
                </a:lnTo>
                <a:lnTo>
                  <a:pt x="4249" y="3444"/>
                </a:lnTo>
                <a:lnTo>
                  <a:pt x="4215" y="3470"/>
                </a:lnTo>
                <a:lnTo>
                  <a:pt x="4177" y="3492"/>
                </a:lnTo>
                <a:lnTo>
                  <a:pt x="4139" y="3512"/>
                </a:lnTo>
                <a:lnTo>
                  <a:pt x="4097" y="3526"/>
                </a:lnTo>
                <a:lnTo>
                  <a:pt x="4053" y="3538"/>
                </a:lnTo>
                <a:lnTo>
                  <a:pt x="4009" y="3544"/>
                </a:lnTo>
                <a:lnTo>
                  <a:pt x="3963" y="3548"/>
                </a:lnTo>
                <a:lnTo>
                  <a:pt x="3963" y="3548"/>
                </a:lnTo>
                <a:close/>
                <a:moveTo>
                  <a:pt x="1010" y="3148"/>
                </a:moveTo>
                <a:lnTo>
                  <a:pt x="1010" y="3148"/>
                </a:lnTo>
                <a:lnTo>
                  <a:pt x="1012" y="3102"/>
                </a:lnTo>
                <a:lnTo>
                  <a:pt x="1020" y="3058"/>
                </a:lnTo>
                <a:lnTo>
                  <a:pt x="1030" y="3014"/>
                </a:lnTo>
                <a:lnTo>
                  <a:pt x="1046" y="2972"/>
                </a:lnTo>
                <a:lnTo>
                  <a:pt x="1064" y="2934"/>
                </a:lnTo>
                <a:lnTo>
                  <a:pt x="1088" y="2896"/>
                </a:lnTo>
                <a:lnTo>
                  <a:pt x="1114" y="2862"/>
                </a:lnTo>
                <a:lnTo>
                  <a:pt x="1142" y="2830"/>
                </a:lnTo>
                <a:lnTo>
                  <a:pt x="1174" y="2800"/>
                </a:lnTo>
                <a:lnTo>
                  <a:pt x="1210" y="2774"/>
                </a:lnTo>
                <a:lnTo>
                  <a:pt x="1246" y="2752"/>
                </a:lnTo>
                <a:lnTo>
                  <a:pt x="1286" y="2732"/>
                </a:lnTo>
                <a:lnTo>
                  <a:pt x="1326" y="2718"/>
                </a:lnTo>
                <a:lnTo>
                  <a:pt x="1370" y="2706"/>
                </a:lnTo>
                <a:lnTo>
                  <a:pt x="1414" y="2700"/>
                </a:lnTo>
                <a:lnTo>
                  <a:pt x="1460" y="2698"/>
                </a:lnTo>
                <a:lnTo>
                  <a:pt x="1460" y="2698"/>
                </a:lnTo>
                <a:lnTo>
                  <a:pt x="1506" y="2700"/>
                </a:lnTo>
                <a:lnTo>
                  <a:pt x="1552" y="2706"/>
                </a:lnTo>
                <a:lnTo>
                  <a:pt x="1594" y="2718"/>
                </a:lnTo>
                <a:lnTo>
                  <a:pt x="1636" y="2732"/>
                </a:lnTo>
                <a:lnTo>
                  <a:pt x="1676" y="2752"/>
                </a:lnTo>
                <a:lnTo>
                  <a:pt x="1712" y="2774"/>
                </a:lnTo>
                <a:lnTo>
                  <a:pt x="1748" y="2800"/>
                </a:lnTo>
                <a:lnTo>
                  <a:pt x="1780" y="2830"/>
                </a:lnTo>
                <a:lnTo>
                  <a:pt x="1808" y="2862"/>
                </a:lnTo>
                <a:lnTo>
                  <a:pt x="1834" y="2896"/>
                </a:lnTo>
                <a:lnTo>
                  <a:pt x="1856" y="2934"/>
                </a:lnTo>
                <a:lnTo>
                  <a:pt x="1876" y="2972"/>
                </a:lnTo>
                <a:lnTo>
                  <a:pt x="1892" y="3014"/>
                </a:lnTo>
                <a:lnTo>
                  <a:pt x="1902" y="3058"/>
                </a:lnTo>
                <a:lnTo>
                  <a:pt x="1910" y="3102"/>
                </a:lnTo>
                <a:lnTo>
                  <a:pt x="1912" y="3148"/>
                </a:lnTo>
                <a:lnTo>
                  <a:pt x="1912" y="3148"/>
                </a:lnTo>
                <a:lnTo>
                  <a:pt x="1910" y="3194"/>
                </a:lnTo>
                <a:lnTo>
                  <a:pt x="1902" y="3238"/>
                </a:lnTo>
                <a:lnTo>
                  <a:pt x="1892" y="3282"/>
                </a:lnTo>
                <a:lnTo>
                  <a:pt x="1876" y="3324"/>
                </a:lnTo>
                <a:lnTo>
                  <a:pt x="1856" y="3362"/>
                </a:lnTo>
                <a:lnTo>
                  <a:pt x="1834" y="3400"/>
                </a:lnTo>
                <a:lnTo>
                  <a:pt x="1808" y="3434"/>
                </a:lnTo>
                <a:lnTo>
                  <a:pt x="1780" y="3466"/>
                </a:lnTo>
                <a:lnTo>
                  <a:pt x="1748" y="3496"/>
                </a:lnTo>
                <a:lnTo>
                  <a:pt x="1712" y="3522"/>
                </a:lnTo>
                <a:lnTo>
                  <a:pt x="1676" y="3544"/>
                </a:lnTo>
                <a:lnTo>
                  <a:pt x="1636" y="3564"/>
                </a:lnTo>
                <a:lnTo>
                  <a:pt x="1594" y="3578"/>
                </a:lnTo>
                <a:lnTo>
                  <a:pt x="1552" y="3590"/>
                </a:lnTo>
                <a:lnTo>
                  <a:pt x="1506" y="3596"/>
                </a:lnTo>
                <a:lnTo>
                  <a:pt x="1460" y="3598"/>
                </a:lnTo>
                <a:lnTo>
                  <a:pt x="1460" y="3598"/>
                </a:lnTo>
                <a:lnTo>
                  <a:pt x="1414" y="3596"/>
                </a:lnTo>
                <a:lnTo>
                  <a:pt x="1370" y="3590"/>
                </a:lnTo>
                <a:lnTo>
                  <a:pt x="1326" y="3578"/>
                </a:lnTo>
                <a:lnTo>
                  <a:pt x="1286" y="3564"/>
                </a:lnTo>
                <a:lnTo>
                  <a:pt x="1246" y="3544"/>
                </a:lnTo>
                <a:lnTo>
                  <a:pt x="1210" y="3522"/>
                </a:lnTo>
                <a:lnTo>
                  <a:pt x="1174" y="3496"/>
                </a:lnTo>
                <a:lnTo>
                  <a:pt x="1142" y="3466"/>
                </a:lnTo>
                <a:lnTo>
                  <a:pt x="1114" y="3434"/>
                </a:lnTo>
                <a:lnTo>
                  <a:pt x="1088" y="3400"/>
                </a:lnTo>
                <a:lnTo>
                  <a:pt x="1064" y="3362"/>
                </a:lnTo>
                <a:lnTo>
                  <a:pt x="1046" y="3324"/>
                </a:lnTo>
                <a:lnTo>
                  <a:pt x="1030" y="3282"/>
                </a:lnTo>
                <a:lnTo>
                  <a:pt x="1020" y="3238"/>
                </a:lnTo>
                <a:lnTo>
                  <a:pt x="1012" y="3194"/>
                </a:lnTo>
                <a:lnTo>
                  <a:pt x="1010" y="3148"/>
                </a:lnTo>
                <a:lnTo>
                  <a:pt x="1010" y="3148"/>
                </a:lnTo>
                <a:close/>
              </a:path>
            </a:pathLst>
          </a:custGeom>
          <a:solidFill>
            <a:schemeClr val="tx1"/>
          </a:solidFill>
          <a:ln>
            <a:noFill/>
          </a:ln>
        </p:spPr>
        <p:txBody>
          <a:bodyPr vert="horz" wrap="square" lIns="78191" tIns="39096" rIns="78191" bIns="39096" numCol="1" anchor="t" anchorCtr="0" compatLnSpc="1">
            <a:prstTxWarp prst="textNoShape">
              <a:avLst/>
            </a:prstTxWarp>
          </a:bodyPr>
          <a:lstStyle/>
          <a:p>
            <a:endParaRPr lang="en-US" sz="1539"/>
          </a:p>
        </p:txBody>
      </p:sp>
      <p:grpSp>
        <p:nvGrpSpPr>
          <p:cNvPr id="67" name="Group 114"/>
          <p:cNvGrpSpPr>
            <a:grpSpLocks noChangeAspect="1"/>
          </p:cNvGrpSpPr>
          <p:nvPr/>
        </p:nvGrpSpPr>
        <p:grpSpPr bwMode="auto">
          <a:xfrm>
            <a:off x="9175206" y="5043459"/>
            <a:ext cx="594580" cy="612000"/>
            <a:chOff x="986" y="0"/>
            <a:chExt cx="6709" cy="6708"/>
          </a:xfrm>
          <a:solidFill>
            <a:schemeClr val="tx1"/>
          </a:solidFill>
        </p:grpSpPr>
        <p:sp>
          <p:nvSpPr>
            <p:cNvPr id="69" name="Freeform 115"/>
            <p:cNvSpPr>
              <a:spLocks noEditPoints="1"/>
            </p:cNvSpPr>
            <p:nvPr/>
          </p:nvSpPr>
          <p:spPr bwMode="auto">
            <a:xfrm>
              <a:off x="986" y="0"/>
              <a:ext cx="6709" cy="6708"/>
            </a:xfrm>
            <a:custGeom>
              <a:avLst/>
              <a:gdLst>
                <a:gd name="T0" fmla="*/ 0 w 6709"/>
                <a:gd name="T1" fmla="*/ 0 h 6708"/>
                <a:gd name="T2" fmla="*/ 0 w 6709"/>
                <a:gd name="T3" fmla="*/ 6708 h 6708"/>
                <a:gd name="T4" fmla="*/ 6709 w 6709"/>
                <a:gd name="T5" fmla="*/ 6708 h 6708"/>
                <a:gd name="T6" fmla="*/ 6709 w 6709"/>
                <a:gd name="T7" fmla="*/ 0 h 6708"/>
                <a:gd name="T8" fmla="*/ 0 w 6709"/>
                <a:gd name="T9" fmla="*/ 0 h 6708"/>
                <a:gd name="T10" fmla="*/ 6423 w 6709"/>
                <a:gd name="T11" fmla="*/ 6422 h 6708"/>
                <a:gd name="T12" fmla="*/ 286 w 6709"/>
                <a:gd name="T13" fmla="*/ 6422 h 6708"/>
                <a:gd name="T14" fmla="*/ 286 w 6709"/>
                <a:gd name="T15" fmla="*/ 286 h 6708"/>
                <a:gd name="T16" fmla="*/ 6423 w 6709"/>
                <a:gd name="T17" fmla="*/ 286 h 6708"/>
                <a:gd name="T18" fmla="*/ 6423 w 6709"/>
                <a:gd name="T19" fmla="*/ 6422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09" h="6708">
                  <a:moveTo>
                    <a:pt x="0" y="0"/>
                  </a:moveTo>
                  <a:lnTo>
                    <a:pt x="0" y="6708"/>
                  </a:lnTo>
                  <a:lnTo>
                    <a:pt x="6709" y="6708"/>
                  </a:lnTo>
                  <a:lnTo>
                    <a:pt x="6709" y="0"/>
                  </a:lnTo>
                  <a:lnTo>
                    <a:pt x="0" y="0"/>
                  </a:lnTo>
                  <a:close/>
                  <a:moveTo>
                    <a:pt x="6423" y="6422"/>
                  </a:moveTo>
                  <a:lnTo>
                    <a:pt x="286" y="6422"/>
                  </a:lnTo>
                  <a:lnTo>
                    <a:pt x="286" y="286"/>
                  </a:lnTo>
                  <a:lnTo>
                    <a:pt x="6423" y="286"/>
                  </a:lnTo>
                  <a:lnTo>
                    <a:pt x="6423" y="6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sp>
          <p:nvSpPr>
            <p:cNvPr id="70" name="Rectangle 116"/>
            <p:cNvSpPr>
              <a:spLocks noChangeArrowheads="1"/>
            </p:cNvSpPr>
            <p:nvPr/>
          </p:nvSpPr>
          <p:spPr bwMode="auto">
            <a:xfrm>
              <a:off x="1844" y="5576"/>
              <a:ext cx="4957"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sp>
          <p:nvSpPr>
            <p:cNvPr id="71" name="Freeform 117"/>
            <p:cNvSpPr>
              <a:spLocks noEditPoints="1"/>
            </p:cNvSpPr>
            <p:nvPr/>
          </p:nvSpPr>
          <p:spPr bwMode="auto">
            <a:xfrm>
              <a:off x="1844" y="926"/>
              <a:ext cx="4957" cy="1734"/>
            </a:xfrm>
            <a:custGeom>
              <a:avLst/>
              <a:gdLst>
                <a:gd name="T0" fmla="*/ 4957 w 4957"/>
                <a:gd name="T1" fmla="*/ 1448 h 1734"/>
                <a:gd name="T2" fmla="*/ 2661 w 4957"/>
                <a:gd name="T3" fmla="*/ 1448 h 1734"/>
                <a:gd name="T4" fmla="*/ 2661 w 4957"/>
                <a:gd name="T5" fmla="*/ 1010 h 1734"/>
                <a:gd name="T6" fmla="*/ 3175 w 4957"/>
                <a:gd name="T7" fmla="*/ 1010 h 1734"/>
                <a:gd name="T8" fmla="*/ 3175 w 4957"/>
                <a:gd name="T9" fmla="*/ 1278 h 1734"/>
                <a:gd name="T10" fmla="*/ 4051 w 4957"/>
                <a:gd name="T11" fmla="*/ 1278 h 1734"/>
                <a:gd name="T12" fmla="*/ 4051 w 4957"/>
                <a:gd name="T13" fmla="*/ 342 h 1734"/>
                <a:gd name="T14" fmla="*/ 3461 w 4957"/>
                <a:gd name="T15" fmla="*/ 342 h 1734"/>
                <a:gd name="T16" fmla="*/ 3461 w 4957"/>
                <a:gd name="T17" fmla="*/ 0 h 1734"/>
                <a:gd name="T18" fmla="*/ 2374 w 4957"/>
                <a:gd name="T19" fmla="*/ 0 h 1734"/>
                <a:gd name="T20" fmla="*/ 2374 w 4957"/>
                <a:gd name="T21" fmla="*/ 1448 h 1734"/>
                <a:gd name="T22" fmla="*/ 0 w 4957"/>
                <a:gd name="T23" fmla="*/ 1448 h 1734"/>
                <a:gd name="T24" fmla="*/ 0 w 4957"/>
                <a:gd name="T25" fmla="*/ 1734 h 1734"/>
                <a:gd name="T26" fmla="*/ 4957 w 4957"/>
                <a:gd name="T27" fmla="*/ 1734 h 1734"/>
                <a:gd name="T28" fmla="*/ 4957 w 4957"/>
                <a:gd name="T29" fmla="*/ 1448 h 1734"/>
                <a:gd name="T30" fmla="*/ 3765 w 4957"/>
                <a:gd name="T31" fmla="*/ 630 h 1734"/>
                <a:gd name="T32" fmla="*/ 3765 w 4957"/>
                <a:gd name="T33" fmla="*/ 990 h 1734"/>
                <a:gd name="T34" fmla="*/ 3461 w 4957"/>
                <a:gd name="T35" fmla="*/ 990 h 1734"/>
                <a:gd name="T36" fmla="*/ 3461 w 4957"/>
                <a:gd name="T37" fmla="*/ 630 h 1734"/>
                <a:gd name="T38" fmla="*/ 3765 w 4957"/>
                <a:gd name="T39" fmla="*/ 630 h 1734"/>
                <a:gd name="T40" fmla="*/ 2661 w 4957"/>
                <a:gd name="T41" fmla="*/ 286 h 1734"/>
                <a:gd name="T42" fmla="*/ 3175 w 4957"/>
                <a:gd name="T43" fmla="*/ 286 h 1734"/>
                <a:gd name="T44" fmla="*/ 3175 w 4957"/>
                <a:gd name="T45" fmla="*/ 342 h 1734"/>
                <a:gd name="T46" fmla="*/ 3175 w 4957"/>
                <a:gd name="T47" fmla="*/ 724 h 1734"/>
                <a:gd name="T48" fmla="*/ 2661 w 4957"/>
                <a:gd name="T49" fmla="*/ 724 h 1734"/>
                <a:gd name="T50" fmla="*/ 2661 w 4957"/>
                <a:gd name="T51" fmla="*/ 286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57" h="1734">
                  <a:moveTo>
                    <a:pt x="4957" y="1448"/>
                  </a:moveTo>
                  <a:lnTo>
                    <a:pt x="2661" y="1448"/>
                  </a:lnTo>
                  <a:lnTo>
                    <a:pt x="2661" y="1010"/>
                  </a:lnTo>
                  <a:lnTo>
                    <a:pt x="3175" y="1010"/>
                  </a:lnTo>
                  <a:lnTo>
                    <a:pt x="3175" y="1278"/>
                  </a:lnTo>
                  <a:lnTo>
                    <a:pt x="4051" y="1278"/>
                  </a:lnTo>
                  <a:lnTo>
                    <a:pt x="4051" y="342"/>
                  </a:lnTo>
                  <a:lnTo>
                    <a:pt x="3461" y="342"/>
                  </a:lnTo>
                  <a:lnTo>
                    <a:pt x="3461" y="0"/>
                  </a:lnTo>
                  <a:lnTo>
                    <a:pt x="2374" y="0"/>
                  </a:lnTo>
                  <a:lnTo>
                    <a:pt x="2374" y="1448"/>
                  </a:lnTo>
                  <a:lnTo>
                    <a:pt x="0" y="1448"/>
                  </a:lnTo>
                  <a:lnTo>
                    <a:pt x="0" y="1734"/>
                  </a:lnTo>
                  <a:lnTo>
                    <a:pt x="4957" y="1734"/>
                  </a:lnTo>
                  <a:lnTo>
                    <a:pt x="4957" y="1448"/>
                  </a:lnTo>
                  <a:close/>
                  <a:moveTo>
                    <a:pt x="3765" y="630"/>
                  </a:moveTo>
                  <a:lnTo>
                    <a:pt x="3765" y="990"/>
                  </a:lnTo>
                  <a:lnTo>
                    <a:pt x="3461" y="990"/>
                  </a:lnTo>
                  <a:lnTo>
                    <a:pt x="3461" y="630"/>
                  </a:lnTo>
                  <a:lnTo>
                    <a:pt x="3765" y="630"/>
                  </a:lnTo>
                  <a:close/>
                  <a:moveTo>
                    <a:pt x="2661" y="286"/>
                  </a:moveTo>
                  <a:lnTo>
                    <a:pt x="3175" y="286"/>
                  </a:lnTo>
                  <a:lnTo>
                    <a:pt x="3175" y="342"/>
                  </a:lnTo>
                  <a:lnTo>
                    <a:pt x="3175" y="724"/>
                  </a:lnTo>
                  <a:lnTo>
                    <a:pt x="2661" y="724"/>
                  </a:lnTo>
                  <a:lnTo>
                    <a:pt x="2661"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sp>
          <p:nvSpPr>
            <p:cNvPr id="72" name="Freeform 118"/>
            <p:cNvSpPr>
              <a:spLocks noEditPoints="1"/>
            </p:cNvSpPr>
            <p:nvPr/>
          </p:nvSpPr>
          <p:spPr bwMode="auto">
            <a:xfrm>
              <a:off x="2226"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sp>
          <p:nvSpPr>
            <p:cNvPr id="73" name="Freeform 119"/>
            <p:cNvSpPr>
              <a:spLocks noEditPoints="1"/>
            </p:cNvSpPr>
            <p:nvPr/>
          </p:nvSpPr>
          <p:spPr bwMode="auto">
            <a:xfrm>
              <a:off x="3338"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sp>
          <p:nvSpPr>
            <p:cNvPr id="91" name="Freeform 120"/>
            <p:cNvSpPr>
              <a:spLocks noEditPoints="1"/>
            </p:cNvSpPr>
            <p:nvPr/>
          </p:nvSpPr>
          <p:spPr bwMode="auto">
            <a:xfrm>
              <a:off x="4451" y="2832"/>
              <a:ext cx="856" cy="2572"/>
            </a:xfrm>
            <a:custGeom>
              <a:avLst/>
              <a:gdLst>
                <a:gd name="T0" fmla="*/ 856 w 856"/>
                <a:gd name="T1" fmla="*/ 2572 h 2572"/>
                <a:gd name="T2" fmla="*/ 856 w 856"/>
                <a:gd name="T3" fmla="*/ 0 h 2572"/>
                <a:gd name="T4" fmla="*/ 0 w 856"/>
                <a:gd name="T5" fmla="*/ 0 h 2572"/>
                <a:gd name="T6" fmla="*/ 0 w 856"/>
                <a:gd name="T7" fmla="*/ 2572 h 2572"/>
                <a:gd name="T8" fmla="*/ 856 w 856"/>
                <a:gd name="T9" fmla="*/ 2572 h 2572"/>
                <a:gd name="T10" fmla="*/ 286 w 856"/>
                <a:gd name="T11" fmla="*/ 286 h 2572"/>
                <a:gd name="T12" fmla="*/ 570 w 856"/>
                <a:gd name="T13" fmla="*/ 286 h 2572"/>
                <a:gd name="T14" fmla="*/ 570 w 856"/>
                <a:gd name="T15" fmla="*/ 2286 h 2572"/>
                <a:gd name="T16" fmla="*/ 286 w 856"/>
                <a:gd name="T17" fmla="*/ 2286 h 2572"/>
                <a:gd name="T18" fmla="*/ 286 w 856"/>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2572">
                  <a:moveTo>
                    <a:pt x="856" y="2572"/>
                  </a:moveTo>
                  <a:lnTo>
                    <a:pt x="856" y="0"/>
                  </a:lnTo>
                  <a:lnTo>
                    <a:pt x="0" y="0"/>
                  </a:lnTo>
                  <a:lnTo>
                    <a:pt x="0" y="2572"/>
                  </a:lnTo>
                  <a:lnTo>
                    <a:pt x="856" y="2572"/>
                  </a:lnTo>
                  <a:close/>
                  <a:moveTo>
                    <a:pt x="286" y="286"/>
                  </a:moveTo>
                  <a:lnTo>
                    <a:pt x="570" y="286"/>
                  </a:lnTo>
                  <a:lnTo>
                    <a:pt x="570"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sp>
          <p:nvSpPr>
            <p:cNvPr id="92" name="Freeform 121"/>
            <p:cNvSpPr>
              <a:spLocks noEditPoints="1"/>
            </p:cNvSpPr>
            <p:nvPr/>
          </p:nvSpPr>
          <p:spPr bwMode="auto">
            <a:xfrm>
              <a:off x="5561"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grpSp>
      <p:grpSp>
        <p:nvGrpSpPr>
          <p:cNvPr id="93" name="Group 124"/>
          <p:cNvGrpSpPr>
            <a:grpSpLocks noChangeAspect="1"/>
          </p:cNvGrpSpPr>
          <p:nvPr/>
        </p:nvGrpSpPr>
        <p:grpSpPr bwMode="auto">
          <a:xfrm>
            <a:off x="10583594" y="5043459"/>
            <a:ext cx="567478" cy="584540"/>
            <a:chOff x="1273" y="0"/>
            <a:chExt cx="6700" cy="6704"/>
          </a:xfrm>
          <a:solidFill>
            <a:schemeClr val="tx1"/>
          </a:solidFill>
        </p:grpSpPr>
        <p:sp>
          <p:nvSpPr>
            <p:cNvPr id="94" name="Freeform 125"/>
            <p:cNvSpPr>
              <a:spLocks noEditPoints="1"/>
            </p:cNvSpPr>
            <p:nvPr/>
          </p:nvSpPr>
          <p:spPr bwMode="auto">
            <a:xfrm>
              <a:off x="1273" y="0"/>
              <a:ext cx="6700" cy="6704"/>
            </a:xfrm>
            <a:custGeom>
              <a:avLst/>
              <a:gdLst>
                <a:gd name="T0" fmla="*/ 6700 w 6700"/>
                <a:gd name="T1" fmla="*/ 6704 h 6704"/>
                <a:gd name="T2" fmla="*/ 6700 w 6700"/>
                <a:gd name="T3" fmla="*/ 3053 h 6704"/>
                <a:gd name="T4" fmla="*/ 6700 w 6700"/>
                <a:gd name="T5" fmla="*/ 0 h 6704"/>
                <a:gd name="T6" fmla="*/ 804 w 6700"/>
                <a:gd name="T7" fmla="*/ 3563 h 6704"/>
                <a:gd name="T8" fmla="*/ 694 w 6700"/>
                <a:gd name="T9" fmla="*/ 3783 h 6704"/>
                <a:gd name="T10" fmla="*/ 516 w 6700"/>
                <a:gd name="T11" fmla="*/ 3951 h 6704"/>
                <a:gd name="T12" fmla="*/ 286 w 6700"/>
                <a:gd name="T13" fmla="*/ 4045 h 6704"/>
                <a:gd name="T14" fmla="*/ 382 w 6700"/>
                <a:gd name="T15" fmla="*/ 5914 h 6704"/>
                <a:gd name="T16" fmla="*/ 594 w 6700"/>
                <a:gd name="T17" fmla="*/ 6040 h 6704"/>
                <a:gd name="T18" fmla="*/ 748 w 6700"/>
                <a:gd name="T19" fmla="*/ 6230 h 6704"/>
                <a:gd name="T20" fmla="*/ 286 w 6700"/>
                <a:gd name="T21" fmla="*/ 6418 h 6704"/>
                <a:gd name="T22" fmla="*/ 5912 w 6700"/>
                <a:gd name="T23" fmla="*/ 6322 h 6704"/>
                <a:gd name="T24" fmla="*/ 6036 w 6700"/>
                <a:gd name="T25" fmla="*/ 6110 h 6704"/>
                <a:gd name="T26" fmla="*/ 6228 w 6700"/>
                <a:gd name="T27" fmla="*/ 5956 h 6704"/>
                <a:gd name="T28" fmla="*/ 6416 w 6700"/>
                <a:gd name="T29" fmla="*/ 6418 h 6704"/>
                <a:gd name="T30" fmla="*/ 6336 w 6700"/>
                <a:gd name="T31" fmla="*/ 5612 h 6704"/>
                <a:gd name="T32" fmla="*/ 6152 w 6700"/>
                <a:gd name="T33" fmla="*/ 5676 h 6704"/>
                <a:gd name="T34" fmla="*/ 5986 w 6700"/>
                <a:gd name="T35" fmla="*/ 5772 h 6704"/>
                <a:gd name="T36" fmla="*/ 5842 w 6700"/>
                <a:gd name="T37" fmla="*/ 5900 h 6704"/>
                <a:gd name="T38" fmla="*/ 5726 w 6700"/>
                <a:gd name="T39" fmla="*/ 6052 h 6704"/>
                <a:gd name="T40" fmla="*/ 5642 w 6700"/>
                <a:gd name="T41" fmla="*/ 6226 h 6704"/>
                <a:gd name="T42" fmla="*/ 5594 w 6700"/>
                <a:gd name="T43" fmla="*/ 6418 h 6704"/>
                <a:gd name="T44" fmla="*/ 1082 w 6700"/>
                <a:gd name="T45" fmla="*/ 6302 h 6704"/>
                <a:gd name="T46" fmla="*/ 1012 w 6700"/>
                <a:gd name="T47" fmla="*/ 6120 h 6704"/>
                <a:gd name="T48" fmla="*/ 908 w 6700"/>
                <a:gd name="T49" fmla="*/ 5958 h 6704"/>
                <a:gd name="T50" fmla="*/ 774 w 6700"/>
                <a:gd name="T51" fmla="*/ 5820 h 6704"/>
                <a:gd name="T52" fmla="*/ 618 w 6700"/>
                <a:gd name="T53" fmla="*/ 5710 h 6704"/>
                <a:gd name="T54" fmla="*/ 440 w 6700"/>
                <a:gd name="T55" fmla="*/ 5632 h 6704"/>
                <a:gd name="T56" fmla="*/ 286 w 6700"/>
                <a:gd name="T57" fmla="*/ 4923 h 6704"/>
                <a:gd name="T58" fmla="*/ 402 w 6700"/>
                <a:gd name="T59" fmla="*/ 4309 h 6704"/>
                <a:gd name="T60" fmla="*/ 584 w 6700"/>
                <a:gd name="T61" fmla="*/ 4239 h 6704"/>
                <a:gd name="T62" fmla="*/ 746 w 6700"/>
                <a:gd name="T63" fmla="*/ 4135 h 6704"/>
                <a:gd name="T64" fmla="*/ 884 w 6700"/>
                <a:gd name="T65" fmla="*/ 4003 h 6704"/>
                <a:gd name="T66" fmla="*/ 994 w 6700"/>
                <a:gd name="T67" fmla="*/ 3845 h 6704"/>
                <a:gd name="T68" fmla="*/ 1070 w 6700"/>
                <a:gd name="T69" fmla="*/ 3667 h 6704"/>
                <a:gd name="T70" fmla="*/ 5594 w 6700"/>
                <a:gd name="T71" fmla="*/ 3513 h 6704"/>
                <a:gd name="T72" fmla="*/ 5630 w 6700"/>
                <a:gd name="T73" fmla="*/ 3667 h 6704"/>
                <a:gd name="T74" fmla="*/ 5708 w 6700"/>
                <a:gd name="T75" fmla="*/ 3845 h 6704"/>
                <a:gd name="T76" fmla="*/ 5816 w 6700"/>
                <a:gd name="T77" fmla="*/ 4003 h 6704"/>
                <a:gd name="T78" fmla="*/ 5954 w 6700"/>
                <a:gd name="T79" fmla="*/ 4135 h 6704"/>
                <a:gd name="T80" fmla="*/ 6116 w 6700"/>
                <a:gd name="T81" fmla="*/ 4239 h 6704"/>
                <a:gd name="T82" fmla="*/ 6298 w 6700"/>
                <a:gd name="T83" fmla="*/ 4309 h 6704"/>
                <a:gd name="T84" fmla="*/ 6416 w 6700"/>
                <a:gd name="T85" fmla="*/ 5596 h 6704"/>
                <a:gd name="T86" fmla="*/ 6272 w 6700"/>
                <a:gd name="T87" fmla="*/ 3997 h 6704"/>
                <a:gd name="T88" fmla="*/ 6070 w 6700"/>
                <a:gd name="T89" fmla="*/ 3857 h 6704"/>
                <a:gd name="T90" fmla="*/ 5930 w 6700"/>
                <a:gd name="T91" fmla="*/ 3655 h 6704"/>
                <a:gd name="T92" fmla="*/ 6416 w 6700"/>
                <a:gd name="T93" fmla="*/ 4045 h 6704"/>
                <a:gd name="T94" fmla="*/ 6416 w 6700"/>
                <a:gd name="T95" fmla="*/ 2669 h 6704"/>
                <a:gd name="T96" fmla="*/ 6416 w 6700"/>
                <a:gd name="T97" fmla="*/ 1875 h 6704"/>
                <a:gd name="T98" fmla="*/ 6416 w 6700"/>
                <a:gd name="T99" fmla="*/ 1080 h 6704"/>
                <a:gd name="T100" fmla="*/ 6416 w 6700"/>
                <a:gd name="T101" fmla="*/ 286 h 6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00" h="6704">
                  <a:moveTo>
                    <a:pt x="0" y="0"/>
                  </a:moveTo>
                  <a:lnTo>
                    <a:pt x="0" y="0"/>
                  </a:lnTo>
                  <a:lnTo>
                    <a:pt x="0" y="6704"/>
                  </a:lnTo>
                  <a:lnTo>
                    <a:pt x="0" y="6704"/>
                  </a:lnTo>
                  <a:lnTo>
                    <a:pt x="6700" y="6704"/>
                  </a:lnTo>
                  <a:lnTo>
                    <a:pt x="6700" y="5716"/>
                  </a:lnTo>
                  <a:lnTo>
                    <a:pt x="6700" y="4923"/>
                  </a:lnTo>
                  <a:lnTo>
                    <a:pt x="6700" y="4129"/>
                  </a:lnTo>
                  <a:lnTo>
                    <a:pt x="6700" y="3227"/>
                  </a:lnTo>
                  <a:lnTo>
                    <a:pt x="6700" y="3053"/>
                  </a:lnTo>
                  <a:lnTo>
                    <a:pt x="6700" y="2383"/>
                  </a:lnTo>
                  <a:lnTo>
                    <a:pt x="6700" y="1588"/>
                  </a:lnTo>
                  <a:lnTo>
                    <a:pt x="6700" y="794"/>
                  </a:lnTo>
                  <a:lnTo>
                    <a:pt x="6700" y="0"/>
                  </a:lnTo>
                  <a:lnTo>
                    <a:pt x="6700" y="0"/>
                  </a:lnTo>
                  <a:lnTo>
                    <a:pt x="0" y="0"/>
                  </a:lnTo>
                  <a:close/>
                  <a:moveTo>
                    <a:pt x="286" y="3513"/>
                  </a:moveTo>
                  <a:lnTo>
                    <a:pt x="818" y="3513"/>
                  </a:lnTo>
                  <a:lnTo>
                    <a:pt x="818" y="3513"/>
                  </a:lnTo>
                  <a:lnTo>
                    <a:pt x="804" y="3563"/>
                  </a:lnTo>
                  <a:lnTo>
                    <a:pt x="790" y="3609"/>
                  </a:lnTo>
                  <a:lnTo>
                    <a:pt x="770" y="3655"/>
                  </a:lnTo>
                  <a:lnTo>
                    <a:pt x="748" y="3701"/>
                  </a:lnTo>
                  <a:lnTo>
                    <a:pt x="722" y="3743"/>
                  </a:lnTo>
                  <a:lnTo>
                    <a:pt x="694" y="3783"/>
                  </a:lnTo>
                  <a:lnTo>
                    <a:pt x="664" y="3821"/>
                  </a:lnTo>
                  <a:lnTo>
                    <a:pt x="630" y="3857"/>
                  </a:lnTo>
                  <a:lnTo>
                    <a:pt x="594" y="3891"/>
                  </a:lnTo>
                  <a:lnTo>
                    <a:pt x="556" y="3923"/>
                  </a:lnTo>
                  <a:lnTo>
                    <a:pt x="516" y="3951"/>
                  </a:lnTo>
                  <a:lnTo>
                    <a:pt x="472" y="3975"/>
                  </a:lnTo>
                  <a:lnTo>
                    <a:pt x="428" y="3997"/>
                  </a:lnTo>
                  <a:lnTo>
                    <a:pt x="382" y="4017"/>
                  </a:lnTo>
                  <a:lnTo>
                    <a:pt x="334" y="4033"/>
                  </a:lnTo>
                  <a:lnTo>
                    <a:pt x="286" y="4045"/>
                  </a:lnTo>
                  <a:lnTo>
                    <a:pt x="286" y="3513"/>
                  </a:lnTo>
                  <a:close/>
                  <a:moveTo>
                    <a:pt x="286" y="5886"/>
                  </a:moveTo>
                  <a:lnTo>
                    <a:pt x="286" y="5886"/>
                  </a:lnTo>
                  <a:lnTo>
                    <a:pt x="334" y="5898"/>
                  </a:lnTo>
                  <a:lnTo>
                    <a:pt x="382" y="5914"/>
                  </a:lnTo>
                  <a:lnTo>
                    <a:pt x="428" y="5934"/>
                  </a:lnTo>
                  <a:lnTo>
                    <a:pt x="472" y="5956"/>
                  </a:lnTo>
                  <a:lnTo>
                    <a:pt x="516" y="5980"/>
                  </a:lnTo>
                  <a:lnTo>
                    <a:pt x="556" y="6008"/>
                  </a:lnTo>
                  <a:lnTo>
                    <a:pt x="594" y="6040"/>
                  </a:lnTo>
                  <a:lnTo>
                    <a:pt x="630" y="6074"/>
                  </a:lnTo>
                  <a:lnTo>
                    <a:pt x="664" y="6110"/>
                  </a:lnTo>
                  <a:lnTo>
                    <a:pt x="694" y="6148"/>
                  </a:lnTo>
                  <a:lnTo>
                    <a:pt x="722" y="6188"/>
                  </a:lnTo>
                  <a:lnTo>
                    <a:pt x="748" y="6230"/>
                  </a:lnTo>
                  <a:lnTo>
                    <a:pt x="770" y="6276"/>
                  </a:lnTo>
                  <a:lnTo>
                    <a:pt x="790" y="6322"/>
                  </a:lnTo>
                  <a:lnTo>
                    <a:pt x="804" y="6368"/>
                  </a:lnTo>
                  <a:lnTo>
                    <a:pt x="818" y="6418"/>
                  </a:lnTo>
                  <a:lnTo>
                    <a:pt x="286" y="6418"/>
                  </a:lnTo>
                  <a:lnTo>
                    <a:pt x="286" y="5886"/>
                  </a:lnTo>
                  <a:close/>
                  <a:moveTo>
                    <a:pt x="5882" y="6418"/>
                  </a:moveTo>
                  <a:lnTo>
                    <a:pt x="5882" y="6418"/>
                  </a:lnTo>
                  <a:lnTo>
                    <a:pt x="5896" y="6368"/>
                  </a:lnTo>
                  <a:lnTo>
                    <a:pt x="5912" y="6322"/>
                  </a:lnTo>
                  <a:lnTo>
                    <a:pt x="5930" y="6276"/>
                  </a:lnTo>
                  <a:lnTo>
                    <a:pt x="5952" y="6230"/>
                  </a:lnTo>
                  <a:lnTo>
                    <a:pt x="5978" y="6188"/>
                  </a:lnTo>
                  <a:lnTo>
                    <a:pt x="6006" y="6148"/>
                  </a:lnTo>
                  <a:lnTo>
                    <a:pt x="6036" y="6110"/>
                  </a:lnTo>
                  <a:lnTo>
                    <a:pt x="6070" y="6074"/>
                  </a:lnTo>
                  <a:lnTo>
                    <a:pt x="6106" y="6040"/>
                  </a:lnTo>
                  <a:lnTo>
                    <a:pt x="6144" y="6008"/>
                  </a:lnTo>
                  <a:lnTo>
                    <a:pt x="6186" y="5980"/>
                  </a:lnTo>
                  <a:lnTo>
                    <a:pt x="6228" y="5956"/>
                  </a:lnTo>
                  <a:lnTo>
                    <a:pt x="6272" y="5934"/>
                  </a:lnTo>
                  <a:lnTo>
                    <a:pt x="6318" y="5914"/>
                  </a:lnTo>
                  <a:lnTo>
                    <a:pt x="6366" y="5898"/>
                  </a:lnTo>
                  <a:lnTo>
                    <a:pt x="6416" y="5886"/>
                  </a:lnTo>
                  <a:lnTo>
                    <a:pt x="6416" y="6418"/>
                  </a:lnTo>
                  <a:lnTo>
                    <a:pt x="5882" y="6418"/>
                  </a:lnTo>
                  <a:close/>
                  <a:moveTo>
                    <a:pt x="6416" y="5596"/>
                  </a:moveTo>
                  <a:lnTo>
                    <a:pt x="6416" y="5596"/>
                  </a:lnTo>
                  <a:lnTo>
                    <a:pt x="6376" y="5604"/>
                  </a:lnTo>
                  <a:lnTo>
                    <a:pt x="6336" y="5612"/>
                  </a:lnTo>
                  <a:lnTo>
                    <a:pt x="6298" y="5622"/>
                  </a:lnTo>
                  <a:lnTo>
                    <a:pt x="6260" y="5632"/>
                  </a:lnTo>
                  <a:lnTo>
                    <a:pt x="6224" y="5646"/>
                  </a:lnTo>
                  <a:lnTo>
                    <a:pt x="6188" y="5660"/>
                  </a:lnTo>
                  <a:lnTo>
                    <a:pt x="6152" y="5676"/>
                  </a:lnTo>
                  <a:lnTo>
                    <a:pt x="6116" y="5692"/>
                  </a:lnTo>
                  <a:lnTo>
                    <a:pt x="6082" y="5710"/>
                  </a:lnTo>
                  <a:lnTo>
                    <a:pt x="6050" y="5730"/>
                  </a:lnTo>
                  <a:lnTo>
                    <a:pt x="6018" y="5750"/>
                  </a:lnTo>
                  <a:lnTo>
                    <a:pt x="5986" y="5772"/>
                  </a:lnTo>
                  <a:lnTo>
                    <a:pt x="5954" y="5796"/>
                  </a:lnTo>
                  <a:lnTo>
                    <a:pt x="5926" y="5820"/>
                  </a:lnTo>
                  <a:lnTo>
                    <a:pt x="5896" y="5846"/>
                  </a:lnTo>
                  <a:lnTo>
                    <a:pt x="5870" y="5872"/>
                  </a:lnTo>
                  <a:lnTo>
                    <a:pt x="5842" y="5900"/>
                  </a:lnTo>
                  <a:lnTo>
                    <a:pt x="5816" y="5928"/>
                  </a:lnTo>
                  <a:lnTo>
                    <a:pt x="5792" y="5958"/>
                  </a:lnTo>
                  <a:lnTo>
                    <a:pt x="5770" y="5988"/>
                  </a:lnTo>
                  <a:lnTo>
                    <a:pt x="5748" y="6020"/>
                  </a:lnTo>
                  <a:lnTo>
                    <a:pt x="5726" y="6052"/>
                  </a:lnTo>
                  <a:lnTo>
                    <a:pt x="5708" y="6086"/>
                  </a:lnTo>
                  <a:lnTo>
                    <a:pt x="5688" y="6120"/>
                  </a:lnTo>
                  <a:lnTo>
                    <a:pt x="5672" y="6154"/>
                  </a:lnTo>
                  <a:lnTo>
                    <a:pt x="5656" y="6190"/>
                  </a:lnTo>
                  <a:lnTo>
                    <a:pt x="5642" y="6226"/>
                  </a:lnTo>
                  <a:lnTo>
                    <a:pt x="5630" y="6264"/>
                  </a:lnTo>
                  <a:lnTo>
                    <a:pt x="5618" y="6302"/>
                  </a:lnTo>
                  <a:lnTo>
                    <a:pt x="5608" y="6340"/>
                  </a:lnTo>
                  <a:lnTo>
                    <a:pt x="5600" y="6378"/>
                  </a:lnTo>
                  <a:lnTo>
                    <a:pt x="5594" y="6418"/>
                  </a:lnTo>
                  <a:lnTo>
                    <a:pt x="1106" y="6418"/>
                  </a:lnTo>
                  <a:lnTo>
                    <a:pt x="1106" y="6418"/>
                  </a:lnTo>
                  <a:lnTo>
                    <a:pt x="1100" y="6378"/>
                  </a:lnTo>
                  <a:lnTo>
                    <a:pt x="1092" y="6340"/>
                  </a:lnTo>
                  <a:lnTo>
                    <a:pt x="1082" y="6302"/>
                  </a:lnTo>
                  <a:lnTo>
                    <a:pt x="1070" y="6264"/>
                  </a:lnTo>
                  <a:lnTo>
                    <a:pt x="1058" y="6226"/>
                  </a:lnTo>
                  <a:lnTo>
                    <a:pt x="1044" y="6190"/>
                  </a:lnTo>
                  <a:lnTo>
                    <a:pt x="1028" y="6154"/>
                  </a:lnTo>
                  <a:lnTo>
                    <a:pt x="1012" y="6120"/>
                  </a:lnTo>
                  <a:lnTo>
                    <a:pt x="994" y="6086"/>
                  </a:lnTo>
                  <a:lnTo>
                    <a:pt x="974" y="6052"/>
                  </a:lnTo>
                  <a:lnTo>
                    <a:pt x="952" y="6020"/>
                  </a:lnTo>
                  <a:lnTo>
                    <a:pt x="930" y="5988"/>
                  </a:lnTo>
                  <a:lnTo>
                    <a:pt x="908" y="5958"/>
                  </a:lnTo>
                  <a:lnTo>
                    <a:pt x="884" y="5928"/>
                  </a:lnTo>
                  <a:lnTo>
                    <a:pt x="858" y="5900"/>
                  </a:lnTo>
                  <a:lnTo>
                    <a:pt x="832" y="5872"/>
                  </a:lnTo>
                  <a:lnTo>
                    <a:pt x="804" y="5846"/>
                  </a:lnTo>
                  <a:lnTo>
                    <a:pt x="774" y="5820"/>
                  </a:lnTo>
                  <a:lnTo>
                    <a:pt x="746" y="5796"/>
                  </a:lnTo>
                  <a:lnTo>
                    <a:pt x="714" y="5772"/>
                  </a:lnTo>
                  <a:lnTo>
                    <a:pt x="684" y="5750"/>
                  </a:lnTo>
                  <a:lnTo>
                    <a:pt x="650" y="5730"/>
                  </a:lnTo>
                  <a:lnTo>
                    <a:pt x="618" y="5710"/>
                  </a:lnTo>
                  <a:lnTo>
                    <a:pt x="584" y="5692"/>
                  </a:lnTo>
                  <a:lnTo>
                    <a:pt x="548" y="5676"/>
                  </a:lnTo>
                  <a:lnTo>
                    <a:pt x="512" y="5660"/>
                  </a:lnTo>
                  <a:lnTo>
                    <a:pt x="476" y="5646"/>
                  </a:lnTo>
                  <a:lnTo>
                    <a:pt x="440" y="5632"/>
                  </a:lnTo>
                  <a:lnTo>
                    <a:pt x="402" y="5622"/>
                  </a:lnTo>
                  <a:lnTo>
                    <a:pt x="364" y="5612"/>
                  </a:lnTo>
                  <a:lnTo>
                    <a:pt x="324" y="5604"/>
                  </a:lnTo>
                  <a:lnTo>
                    <a:pt x="286" y="5596"/>
                  </a:lnTo>
                  <a:lnTo>
                    <a:pt x="286" y="4923"/>
                  </a:lnTo>
                  <a:lnTo>
                    <a:pt x="286" y="4335"/>
                  </a:lnTo>
                  <a:lnTo>
                    <a:pt x="286" y="4335"/>
                  </a:lnTo>
                  <a:lnTo>
                    <a:pt x="324" y="4327"/>
                  </a:lnTo>
                  <a:lnTo>
                    <a:pt x="364" y="4319"/>
                  </a:lnTo>
                  <a:lnTo>
                    <a:pt x="402" y="4309"/>
                  </a:lnTo>
                  <a:lnTo>
                    <a:pt x="440" y="4299"/>
                  </a:lnTo>
                  <a:lnTo>
                    <a:pt x="476" y="4285"/>
                  </a:lnTo>
                  <a:lnTo>
                    <a:pt x="512" y="4271"/>
                  </a:lnTo>
                  <a:lnTo>
                    <a:pt x="548" y="4255"/>
                  </a:lnTo>
                  <a:lnTo>
                    <a:pt x="584" y="4239"/>
                  </a:lnTo>
                  <a:lnTo>
                    <a:pt x="618" y="4221"/>
                  </a:lnTo>
                  <a:lnTo>
                    <a:pt x="650" y="4201"/>
                  </a:lnTo>
                  <a:lnTo>
                    <a:pt x="684" y="4181"/>
                  </a:lnTo>
                  <a:lnTo>
                    <a:pt x="714" y="4159"/>
                  </a:lnTo>
                  <a:lnTo>
                    <a:pt x="746" y="4135"/>
                  </a:lnTo>
                  <a:lnTo>
                    <a:pt x="774" y="4111"/>
                  </a:lnTo>
                  <a:lnTo>
                    <a:pt x="804" y="4085"/>
                  </a:lnTo>
                  <a:lnTo>
                    <a:pt x="832" y="4059"/>
                  </a:lnTo>
                  <a:lnTo>
                    <a:pt x="858" y="4031"/>
                  </a:lnTo>
                  <a:lnTo>
                    <a:pt x="884" y="4003"/>
                  </a:lnTo>
                  <a:lnTo>
                    <a:pt x="908" y="3973"/>
                  </a:lnTo>
                  <a:lnTo>
                    <a:pt x="930" y="3943"/>
                  </a:lnTo>
                  <a:lnTo>
                    <a:pt x="952" y="3911"/>
                  </a:lnTo>
                  <a:lnTo>
                    <a:pt x="974" y="3879"/>
                  </a:lnTo>
                  <a:lnTo>
                    <a:pt x="994" y="3845"/>
                  </a:lnTo>
                  <a:lnTo>
                    <a:pt x="1012" y="3811"/>
                  </a:lnTo>
                  <a:lnTo>
                    <a:pt x="1028" y="3777"/>
                  </a:lnTo>
                  <a:lnTo>
                    <a:pt x="1044" y="3741"/>
                  </a:lnTo>
                  <a:lnTo>
                    <a:pt x="1058" y="3705"/>
                  </a:lnTo>
                  <a:lnTo>
                    <a:pt x="1070" y="3667"/>
                  </a:lnTo>
                  <a:lnTo>
                    <a:pt x="1082" y="3629"/>
                  </a:lnTo>
                  <a:lnTo>
                    <a:pt x="1092" y="3591"/>
                  </a:lnTo>
                  <a:lnTo>
                    <a:pt x="1100" y="3553"/>
                  </a:lnTo>
                  <a:lnTo>
                    <a:pt x="1106" y="3513"/>
                  </a:lnTo>
                  <a:lnTo>
                    <a:pt x="5594" y="3513"/>
                  </a:lnTo>
                  <a:lnTo>
                    <a:pt x="5594" y="3513"/>
                  </a:lnTo>
                  <a:lnTo>
                    <a:pt x="5600" y="3553"/>
                  </a:lnTo>
                  <a:lnTo>
                    <a:pt x="5608" y="3591"/>
                  </a:lnTo>
                  <a:lnTo>
                    <a:pt x="5618" y="3629"/>
                  </a:lnTo>
                  <a:lnTo>
                    <a:pt x="5630" y="3667"/>
                  </a:lnTo>
                  <a:lnTo>
                    <a:pt x="5642" y="3705"/>
                  </a:lnTo>
                  <a:lnTo>
                    <a:pt x="5656" y="3741"/>
                  </a:lnTo>
                  <a:lnTo>
                    <a:pt x="5672" y="3777"/>
                  </a:lnTo>
                  <a:lnTo>
                    <a:pt x="5688" y="3811"/>
                  </a:lnTo>
                  <a:lnTo>
                    <a:pt x="5708" y="3845"/>
                  </a:lnTo>
                  <a:lnTo>
                    <a:pt x="5726" y="3879"/>
                  </a:lnTo>
                  <a:lnTo>
                    <a:pt x="5748" y="3911"/>
                  </a:lnTo>
                  <a:lnTo>
                    <a:pt x="5770" y="3943"/>
                  </a:lnTo>
                  <a:lnTo>
                    <a:pt x="5792" y="3973"/>
                  </a:lnTo>
                  <a:lnTo>
                    <a:pt x="5816" y="4003"/>
                  </a:lnTo>
                  <a:lnTo>
                    <a:pt x="5842" y="4031"/>
                  </a:lnTo>
                  <a:lnTo>
                    <a:pt x="5870" y="4059"/>
                  </a:lnTo>
                  <a:lnTo>
                    <a:pt x="5896" y="4085"/>
                  </a:lnTo>
                  <a:lnTo>
                    <a:pt x="5926" y="4111"/>
                  </a:lnTo>
                  <a:lnTo>
                    <a:pt x="5954" y="4135"/>
                  </a:lnTo>
                  <a:lnTo>
                    <a:pt x="5986" y="4159"/>
                  </a:lnTo>
                  <a:lnTo>
                    <a:pt x="6018" y="4181"/>
                  </a:lnTo>
                  <a:lnTo>
                    <a:pt x="6050" y="4201"/>
                  </a:lnTo>
                  <a:lnTo>
                    <a:pt x="6082" y="4221"/>
                  </a:lnTo>
                  <a:lnTo>
                    <a:pt x="6116" y="4239"/>
                  </a:lnTo>
                  <a:lnTo>
                    <a:pt x="6152" y="4255"/>
                  </a:lnTo>
                  <a:lnTo>
                    <a:pt x="6188" y="4271"/>
                  </a:lnTo>
                  <a:lnTo>
                    <a:pt x="6224" y="4285"/>
                  </a:lnTo>
                  <a:lnTo>
                    <a:pt x="6260" y="4299"/>
                  </a:lnTo>
                  <a:lnTo>
                    <a:pt x="6298" y="4309"/>
                  </a:lnTo>
                  <a:lnTo>
                    <a:pt x="6336" y="4319"/>
                  </a:lnTo>
                  <a:lnTo>
                    <a:pt x="6376" y="4327"/>
                  </a:lnTo>
                  <a:lnTo>
                    <a:pt x="6416" y="4335"/>
                  </a:lnTo>
                  <a:lnTo>
                    <a:pt x="6416" y="4923"/>
                  </a:lnTo>
                  <a:lnTo>
                    <a:pt x="6416" y="5596"/>
                  </a:lnTo>
                  <a:close/>
                  <a:moveTo>
                    <a:pt x="6416" y="4045"/>
                  </a:moveTo>
                  <a:lnTo>
                    <a:pt x="6416" y="4045"/>
                  </a:lnTo>
                  <a:lnTo>
                    <a:pt x="6366" y="4033"/>
                  </a:lnTo>
                  <a:lnTo>
                    <a:pt x="6318" y="4017"/>
                  </a:lnTo>
                  <a:lnTo>
                    <a:pt x="6272" y="3997"/>
                  </a:lnTo>
                  <a:lnTo>
                    <a:pt x="6228" y="3975"/>
                  </a:lnTo>
                  <a:lnTo>
                    <a:pt x="6186" y="3951"/>
                  </a:lnTo>
                  <a:lnTo>
                    <a:pt x="6144" y="3923"/>
                  </a:lnTo>
                  <a:lnTo>
                    <a:pt x="6106" y="3891"/>
                  </a:lnTo>
                  <a:lnTo>
                    <a:pt x="6070" y="3857"/>
                  </a:lnTo>
                  <a:lnTo>
                    <a:pt x="6036" y="3821"/>
                  </a:lnTo>
                  <a:lnTo>
                    <a:pt x="6006" y="3783"/>
                  </a:lnTo>
                  <a:lnTo>
                    <a:pt x="5978" y="3743"/>
                  </a:lnTo>
                  <a:lnTo>
                    <a:pt x="5952" y="3701"/>
                  </a:lnTo>
                  <a:lnTo>
                    <a:pt x="5930" y="3655"/>
                  </a:lnTo>
                  <a:lnTo>
                    <a:pt x="5912" y="3609"/>
                  </a:lnTo>
                  <a:lnTo>
                    <a:pt x="5896" y="3563"/>
                  </a:lnTo>
                  <a:lnTo>
                    <a:pt x="5882" y="3513"/>
                  </a:lnTo>
                  <a:lnTo>
                    <a:pt x="6416" y="3513"/>
                  </a:lnTo>
                  <a:lnTo>
                    <a:pt x="6416" y="4045"/>
                  </a:lnTo>
                  <a:close/>
                  <a:moveTo>
                    <a:pt x="6416" y="3227"/>
                  </a:moveTo>
                  <a:lnTo>
                    <a:pt x="286" y="3227"/>
                  </a:lnTo>
                  <a:lnTo>
                    <a:pt x="286" y="3053"/>
                  </a:lnTo>
                  <a:lnTo>
                    <a:pt x="286" y="2669"/>
                  </a:lnTo>
                  <a:lnTo>
                    <a:pt x="6416" y="2669"/>
                  </a:lnTo>
                  <a:lnTo>
                    <a:pt x="6416" y="3053"/>
                  </a:lnTo>
                  <a:lnTo>
                    <a:pt x="6416" y="3227"/>
                  </a:lnTo>
                  <a:close/>
                  <a:moveTo>
                    <a:pt x="286" y="2383"/>
                  </a:moveTo>
                  <a:lnTo>
                    <a:pt x="286" y="1875"/>
                  </a:lnTo>
                  <a:lnTo>
                    <a:pt x="6416" y="1875"/>
                  </a:lnTo>
                  <a:lnTo>
                    <a:pt x="6416" y="2383"/>
                  </a:lnTo>
                  <a:lnTo>
                    <a:pt x="286" y="2383"/>
                  </a:lnTo>
                  <a:close/>
                  <a:moveTo>
                    <a:pt x="286" y="1588"/>
                  </a:moveTo>
                  <a:lnTo>
                    <a:pt x="286" y="1080"/>
                  </a:lnTo>
                  <a:lnTo>
                    <a:pt x="6416" y="1080"/>
                  </a:lnTo>
                  <a:lnTo>
                    <a:pt x="6416" y="1588"/>
                  </a:lnTo>
                  <a:lnTo>
                    <a:pt x="286" y="1588"/>
                  </a:lnTo>
                  <a:close/>
                  <a:moveTo>
                    <a:pt x="286" y="794"/>
                  </a:moveTo>
                  <a:lnTo>
                    <a:pt x="286" y="286"/>
                  </a:lnTo>
                  <a:lnTo>
                    <a:pt x="6416" y="286"/>
                  </a:lnTo>
                  <a:lnTo>
                    <a:pt x="6416" y="794"/>
                  </a:lnTo>
                  <a:lnTo>
                    <a:pt x="286" y="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sp>
          <p:nvSpPr>
            <p:cNvPr id="95" name="Freeform 126"/>
            <p:cNvSpPr>
              <a:spLocks noEditPoints="1"/>
            </p:cNvSpPr>
            <p:nvPr/>
          </p:nvSpPr>
          <p:spPr bwMode="auto">
            <a:xfrm>
              <a:off x="3647" y="3989"/>
              <a:ext cx="1952" cy="1953"/>
            </a:xfrm>
            <a:custGeom>
              <a:avLst/>
              <a:gdLst>
                <a:gd name="T0" fmla="*/ 828 w 1952"/>
                <a:gd name="T1" fmla="*/ 12 h 1953"/>
                <a:gd name="T2" fmla="*/ 596 w 1952"/>
                <a:gd name="T3" fmla="*/ 76 h 1953"/>
                <a:gd name="T4" fmla="*/ 392 w 1952"/>
                <a:gd name="T5" fmla="*/ 194 h 1953"/>
                <a:gd name="T6" fmla="*/ 224 w 1952"/>
                <a:gd name="T7" fmla="*/ 356 h 1953"/>
                <a:gd name="T8" fmla="*/ 96 w 1952"/>
                <a:gd name="T9" fmla="*/ 554 h 1953"/>
                <a:gd name="T10" fmla="*/ 20 w 1952"/>
                <a:gd name="T11" fmla="*/ 780 h 1953"/>
                <a:gd name="T12" fmla="*/ 0 w 1952"/>
                <a:gd name="T13" fmla="*/ 976 h 1953"/>
                <a:gd name="T14" fmla="*/ 32 w 1952"/>
                <a:gd name="T15" fmla="*/ 1221 h 1953"/>
                <a:gd name="T16" fmla="*/ 118 w 1952"/>
                <a:gd name="T17" fmla="*/ 1441 h 1953"/>
                <a:gd name="T18" fmla="*/ 254 w 1952"/>
                <a:gd name="T19" fmla="*/ 1633 h 1953"/>
                <a:gd name="T20" fmla="*/ 430 w 1952"/>
                <a:gd name="T21" fmla="*/ 1785 h 1953"/>
                <a:gd name="T22" fmla="*/ 640 w 1952"/>
                <a:gd name="T23" fmla="*/ 1893 h 1953"/>
                <a:gd name="T24" fmla="*/ 876 w 1952"/>
                <a:gd name="T25" fmla="*/ 1947 h 1953"/>
                <a:gd name="T26" fmla="*/ 1076 w 1952"/>
                <a:gd name="T27" fmla="*/ 1947 h 1953"/>
                <a:gd name="T28" fmla="*/ 1312 w 1952"/>
                <a:gd name="T29" fmla="*/ 1893 h 1953"/>
                <a:gd name="T30" fmla="*/ 1522 w 1952"/>
                <a:gd name="T31" fmla="*/ 1785 h 1953"/>
                <a:gd name="T32" fmla="*/ 1698 w 1952"/>
                <a:gd name="T33" fmla="*/ 1633 h 1953"/>
                <a:gd name="T34" fmla="*/ 1834 w 1952"/>
                <a:gd name="T35" fmla="*/ 1441 h 1953"/>
                <a:gd name="T36" fmla="*/ 1922 w 1952"/>
                <a:gd name="T37" fmla="*/ 1221 h 1953"/>
                <a:gd name="T38" fmla="*/ 1952 w 1952"/>
                <a:gd name="T39" fmla="*/ 976 h 1953"/>
                <a:gd name="T40" fmla="*/ 1932 w 1952"/>
                <a:gd name="T41" fmla="*/ 780 h 1953"/>
                <a:gd name="T42" fmla="*/ 1856 w 1952"/>
                <a:gd name="T43" fmla="*/ 554 h 1953"/>
                <a:gd name="T44" fmla="*/ 1728 w 1952"/>
                <a:gd name="T45" fmla="*/ 356 h 1953"/>
                <a:gd name="T46" fmla="*/ 1560 w 1952"/>
                <a:gd name="T47" fmla="*/ 194 h 1953"/>
                <a:gd name="T48" fmla="*/ 1356 w 1952"/>
                <a:gd name="T49" fmla="*/ 76 h 1953"/>
                <a:gd name="T50" fmla="*/ 1124 w 1952"/>
                <a:gd name="T51" fmla="*/ 12 h 1953"/>
                <a:gd name="T52" fmla="*/ 976 w 1952"/>
                <a:gd name="T53" fmla="*/ 1667 h 1953"/>
                <a:gd name="T54" fmla="*/ 838 w 1952"/>
                <a:gd name="T55" fmla="*/ 1653 h 1953"/>
                <a:gd name="T56" fmla="*/ 678 w 1952"/>
                <a:gd name="T57" fmla="*/ 1599 h 1953"/>
                <a:gd name="T58" fmla="*/ 538 w 1952"/>
                <a:gd name="T59" fmla="*/ 1509 h 1953"/>
                <a:gd name="T60" fmla="*/ 424 w 1952"/>
                <a:gd name="T61" fmla="*/ 1389 h 1953"/>
                <a:gd name="T62" fmla="*/ 340 w 1952"/>
                <a:gd name="T63" fmla="*/ 1245 h 1953"/>
                <a:gd name="T64" fmla="*/ 294 w 1952"/>
                <a:gd name="T65" fmla="*/ 1081 h 1953"/>
                <a:gd name="T66" fmla="*/ 286 w 1952"/>
                <a:gd name="T67" fmla="*/ 940 h 1953"/>
                <a:gd name="T68" fmla="*/ 318 w 1952"/>
                <a:gd name="T69" fmla="*/ 770 h 1953"/>
                <a:gd name="T70" fmla="*/ 386 w 1952"/>
                <a:gd name="T71" fmla="*/ 618 h 1953"/>
                <a:gd name="T72" fmla="*/ 488 w 1952"/>
                <a:gd name="T73" fmla="*/ 488 h 1953"/>
                <a:gd name="T74" fmla="*/ 618 w 1952"/>
                <a:gd name="T75" fmla="*/ 386 h 1953"/>
                <a:gd name="T76" fmla="*/ 772 w 1952"/>
                <a:gd name="T77" fmla="*/ 316 h 1953"/>
                <a:gd name="T78" fmla="*/ 940 w 1952"/>
                <a:gd name="T79" fmla="*/ 286 h 1953"/>
                <a:gd name="T80" fmla="*/ 1082 w 1952"/>
                <a:gd name="T81" fmla="*/ 294 h 1953"/>
                <a:gd name="T82" fmla="*/ 1244 w 1952"/>
                <a:gd name="T83" fmla="*/ 340 h 1953"/>
                <a:gd name="T84" fmla="*/ 1388 w 1952"/>
                <a:gd name="T85" fmla="*/ 424 h 1953"/>
                <a:gd name="T86" fmla="*/ 1508 w 1952"/>
                <a:gd name="T87" fmla="*/ 538 h 1953"/>
                <a:gd name="T88" fmla="*/ 1598 w 1952"/>
                <a:gd name="T89" fmla="*/ 678 h 1953"/>
                <a:gd name="T90" fmla="*/ 1652 w 1952"/>
                <a:gd name="T91" fmla="*/ 838 h 1953"/>
                <a:gd name="T92" fmla="*/ 1666 w 1952"/>
                <a:gd name="T93" fmla="*/ 976 h 1953"/>
                <a:gd name="T94" fmla="*/ 1644 w 1952"/>
                <a:gd name="T95" fmla="*/ 1149 h 1953"/>
                <a:gd name="T96" fmla="*/ 1582 w 1952"/>
                <a:gd name="T97" fmla="*/ 1305 h 1953"/>
                <a:gd name="T98" fmla="*/ 1486 w 1952"/>
                <a:gd name="T99" fmla="*/ 1441 h 1953"/>
                <a:gd name="T100" fmla="*/ 1362 w 1952"/>
                <a:gd name="T101" fmla="*/ 1549 h 1953"/>
                <a:gd name="T102" fmla="*/ 1214 w 1952"/>
                <a:gd name="T103" fmla="*/ 1625 h 1953"/>
                <a:gd name="T104" fmla="*/ 1046 w 1952"/>
                <a:gd name="T105" fmla="*/ 1663 h 1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52" h="1953">
                  <a:moveTo>
                    <a:pt x="976" y="0"/>
                  </a:moveTo>
                  <a:lnTo>
                    <a:pt x="976" y="0"/>
                  </a:lnTo>
                  <a:lnTo>
                    <a:pt x="926" y="2"/>
                  </a:lnTo>
                  <a:lnTo>
                    <a:pt x="876" y="6"/>
                  </a:lnTo>
                  <a:lnTo>
                    <a:pt x="828" y="12"/>
                  </a:lnTo>
                  <a:lnTo>
                    <a:pt x="780" y="20"/>
                  </a:lnTo>
                  <a:lnTo>
                    <a:pt x="732" y="30"/>
                  </a:lnTo>
                  <a:lnTo>
                    <a:pt x="686" y="44"/>
                  </a:lnTo>
                  <a:lnTo>
                    <a:pt x="640" y="60"/>
                  </a:lnTo>
                  <a:lnTo>
                    <a:pt x="596" y="76"/>
                  </a:lnTo>
                  <a:lnTo>
                    <a:pt x="554" y="96"/>
                  </a:lnTo>
                  <a:lnTo>
                    <a:pt x="512" y="118"/>
                  </a:lnTo>
                  <a:lnTo>
                    <a:pt x="470" y="142"/>
                  </a:lnTo>
                  <a:lnTo>
                    <a:pt x="430" y="166"/>
                  </a:lnTo>
                  <a:lnTo>
                    <a:pt x="392" y="194"/>
                  </a:lnTo>
                  <a:lnTo>
                    <a:pt x="356" y="224"/>
                  </a:lnTo>
                  <a:lnTo>
                    <a:pt x="320" y="254"/>
                  </a:lnTo>
                  <a:lnTo>
                    <a:pt x="286" y="286"/>
                  </a:lnTo>
                  <a:lnTo>
                    <a:pt x="254" y="320"/>
                  </a:lnTo>
                  <a:lnTo>
                    <a:pt x="224" y="356"/>
                  </a:lnTo>
                  <a:lnTo>
                    <a:pt x="194" y="392"/>
                  </a:lnTo>
                  <a:lnTo>
                    <a:pt x="168" y="430"/>
                  </a:lnTo>
                  <a:lnTo>
                    <a:pt x="142" y="470"/>
                  </a:lnTo>
                  <a:lnTo>
                    <a:pt x="118" y="512"/>
                  </a:lnTo>
                  <a:lnTo>
                    <a:pt x="96" y="554"/>
                  </a:lnTo>
                  <a:lnTo>
                    <a:pt x="78" y="596"/>
                  </a:lnTo>
                  <a:lnTo>
                    <a:pt x="60" y="640"/>
                  </a:lnTo>
                  <a:lnTo>
                    <a:pt x="44" y="686"/>
                  </a:lnTo>
                  <a:lnTo>
                    <a:pt x="32" y="732"/>
                  </a:lnTo>
                  <a:lnTo>
                    <a:pt x="20" y="780"/>
                  </a:lnTo>
                  <a:lnTo>
                    <a:pt x="12" y="828"/>
                  </a:lnTo>
                  <a:lnTo>
                    <a:pt x="6" y="876"/>
                  </a:lnTo>
                  <a:lnTo>
                    <a:pt x="2" y="926"/>
                  </a:lnTo>
                  <a:lnTo>
                    <a:pt x="0" y="976"/>
                  </a:lnTo>
                  <a:lnTo>
                    <a:pt x="0" y="976"/>
                  </a:lnTo>
                  <a:lnTo>
                    <a:pt x="2" y="1026"/>
                  </a:lnTo>
                  <a:lnTo>
                    <a:pt x="6" y="1077"/>
                  </a:lnTo>
                  <a:lnTo>
                    <a:pt x="12" y="1125"/>
                  </a:lnTo>
                  <a:lnTo>
                    <a:pt x="20" y="1173"/>
                  </a:lnTo>
                  <a:lnTo>
                    <a:pt x="32" y="1221"/>
                  </a:lnTo>
                  <a:lnTo>
                    <a:pt x="44" y="1267"/>
                  </a:lnTo>
                  <a:lnTo>
                    <a:pt x="60" y="1313"/>
                  </a:lnTo>
                  <a:lnTo>
                    <a:pt x="78" y="1357"/>
                  </a:lnTo>
                  <a:lnTo>
                    <a:pt x="96" y="1399"/>
                  </a:lnTo>
                  <a:lnTo>
                    <a:pt x="118" y="1441"/>
                  </a:lnTo>
                  <a:lnTo>
                    <a:pt x="142" y="1483"/>
                  </a:lnTo>
                  <a:lnTo>
                    <a:pt x="168" y="1523"/>
                  </a:lnTo>
                  <a:lnTo>
                    <a:pt x="194" y="1561"/>
                  </a:lnTo>
                  <a:lnTo>
                    <a:pt x="224" y="1597"/>
                  </a:lnTo>
                  <a:lnTo>
                    <a:pt x="254" y="1633"/>
                  </a:lnTo>
                  <a:lnTo>
                    <a:pt x="286" y="1667"/>
                  </a:lnTo>
                  <a:lnTo>
                    <a:pt x="320" y="1699"/>
                  </a:lnTo>
                  <a:lnTo>
                    <a:pt x="356" y="1729"/>
                  </a:lnTo>
                  <a:lnTo>
                    <a:pt x="392" y="1759"/>
                  </a:lnTo>
                  <a:lnTo>
                    <a:pt x="430" y="1785"/>
                  </a:lnTo>
                  <a:lnTo>
                    <a:pt x="470" y="1811"/>
                  </a:lnTo>
                  <a:lnTo>
                    <a:pt x="512" y="1835"/>
                  </a:lnTo>
                  <a:lnTo>
                    <a:pt x="554" y="1857"/>
                  </a:lnTo>
                  <a:lnTo>
                    <a:pt x="596" y="1877"/>
                  </a:lnTo>
                  <a:lnTo>
                    <a:pt x="640" y="1893"/>
                  </a:lnTo>
                  <a:lnTo>
                    <a:pt x="686" y="1909"/>
                  </a:lnTo>
                  <a:lnTo>
                    <a:pt x="732" y="1923"/>
                  </a:lnTo>
                  <a:lnTo>
                    <a:pt x="780" y="1933"/>
                  </a:lnTo>
                  <a:lnTo>
                    <a:pt x="828" y="1941"/>
                  </a:lnTo>
                  <a:lnTo>
                    <a:pt x="876" y="1947"/>
                  </a:lnTo>
                  <a:lnTo>
                    <a:pt x="926" y="1951"/>
                  </a:lnTo>
                  <a:lnTo>
                    <a:pt x="976" y="1953"/>
                  </a:lnTo>
                  <a:lnTo>
                    <a:pt x="976" y="1953"/>
                  </a:lnTo>
                  <a:lnTo>
                    <a:pt x="1026" y="1951"/>
                  </a:lnTo>
                  <a:lnTo>
                    <a:pt x="1076" y="1947"/>
                  </a:lnTo>
                  <a:lnTo>
                    <a:pt x="1124" y="1941"/>
                  </a:lnTo>
                  <a:lnTo>
                    <a:pt x="1172" y="1933"/>
                  </a:lnTo>
                  <a:lnTo>
                    <a:pt x="1220" y="1923"/>
                  </a:lnTo>
                  <a:lnTo>
                    <a:pt x="1266" y="1909"/>
                  </a:lnTo>
                  <a:lnTo>
                    <a:pt x="1312" y="1893"/>
                  </a:lnTo>
                  <a:lnTo>
                    <a:pt x="1356" y="1877"/>
                  </a:lnTo>
                  <a:lnTo>
                    <a:pt x="1398" y="1857"/>
                  </a:lnTo>
                  <a:lnTo>
                    <a:pt x="1440" y="1835"/>
                  </a:lnTo>
                  <a:lnTo>
                    <a:pt x="1482" y="1811"/>
                  </a:lnTo>
                  <a:lnTo>
                    <a:pt x="1522" y="1785"/>
                  </a:lnTo>
                  <a:lnTo>
                    <a:pt x="1560" y="1759"/>
                  </a:lnTo>
                  <a:lnTo>
                    <a:pt x="1596" y="1729"/>
                  </a:lnTo>
                  <a:lnTo>
                    <a:pt x="1632" y="1699"/>
                  </a:lnTo>
                  <a:lnTo>
                    <a:pt x="1666" y="1667"/>
                  </a:lnTo>
                  <a:lnTo>
                    <a:pt x="1698" y="1633"/>
                  </a:lnTo>
                  <a:lnTo>
                    <a:pt x="1728" y="1597"/>
                  </a:lnTo>
                  <a:lnTo>
                    <a:pt x="1758" y="1561"/>
                  </a:lnTo>
                  <a:lnTo>
                    <a:pt x="1786" y="1523"/>
                  </a:lnTo>
                  <a:lnTo>
                    <a:pt x="1810" y="1483"/>
                  </a:lnTo>
                  <a:lnTo>
                    <a:pt x="1834" y="1441"/>
                  </a:lnTo>
                  <a:lnTo>
                    <a:pt x="1856" y="1399"/>
                  </a:lnTo>
                  <a:lnTo>
                    <a:pt x="1876" y="1357"/>
                  </a:lnTo>
                  <a:lnTo>
                    <a:pt x="1892" y="1313"/>
                  </a:lnTo>
                  <a:lnTo>
                    <a:pt x="1908" y="1267"/>
                  </a:lnTo>
                  <a:lnTo>
                    <a:pt x="1922" y="1221"/>
                  </a:lnTo>
                  <a:lnTo>
                    <a:pt x="1932" y="1173"/>
                  </a:lnTo>
                  <a:lnTo>
                    <a:pt x="1940" y="1125"/>
                  </a:lnTo>
                  <a:lnTo>
                    <a:pt x="1946" y="1077"/>
                  </a:lnTo>
                  <a:lnTo>
                    <a:pt x="1950" y="1026"/>
                  </a:lnTo>
                  <a:lnTo>
                    <a:pt x="1952" y="976"/>
                  </a:lnTo>
                  <a:lnTo>
                    <a:pt x="1952" y="976"/>
                  </a:lnTo>
                  <a:lnTo>
                    <a:pt x="1950" y="926"/>
                  </a:lnTo>
                  <a:lnTo>
                    <a:pt x="1946" y="876"/>
                  </a:lnTo>
                  <a:lnTo>
                    <a:pt x="1940" y="828"/>
                  </a:lnTo>
                  <a:lnTo>
                    <a:pt x="1932" y="780"/>
                  </a:lnTo>
                  <a:lnTo>
                    <a:pt x="1922" y="732"/>
                  </a:lnTo>
                  <a:lnTo>
                    <a:pt x="1908" y="686"/>
                  </a:lnTo>
                  <a:lnTo>
                    <a:pt x="1892" y="640"/>
                  </a:lnTo>
                  <a:lnTo>
                    <a:pt x="1876" y="596"/>
                  </a:lnTo>
                  <a:lnTo>
                    <a:pt x="1856" y="554"/>
                  </a:lnTo>
                  <a:lnTo>
                    <a:pt x="1834" y="512"/>
                  </a:lnTo>
                  <a:lnTo>
                    <a:pt x="1810" y="470"/>
                  </a:lnTo>
                  <a:lnTo>
                    <a:pt x="1786" y="430"/>
                  </a:lnTo>
                  <a:lnTo>
                    <a:pt x="1758" y="392"/>
                  </a:lnTo>
                  <a:lnTo>
                    <a:pt x="1728" y="356"/>
                  </a:lnTo>
                  <a:lnTo>
                    <a:pt x="1698" y="320"/>
                  </a:lnTo>
                  <a:lnTo>
                    <a:pt x="1666" y="286"/>
                  </a:lnTo>
                  <a:lnTo>
                    <a:pt x="1632" y="254"/>
                  </a:lnTo>
                  <a:lnTo>
                    <a:pt x="1596" y="224"/>
                  </a:lnTo>
                  <a:lnTo>
                    <a:pt x="1560" y="194"/>
                  </a:lnTo>
                  <a:lnTo>
                    <a:pt x="1522" y="166"/>
                  </a:lnTo>
                  <a:lnTo>
                    <a:pt x="1482" y="142"/>
                  </a:lnTo>
                  <a:lnTo>
                    <a:pt x="1440" y="118"/>
                  </a:lnTo>
                  <a:lnTo>
                    <a:pt x="1398" y="96"/>
                  </a:lnTo>
                  <a:lnTo>
                    <a:pt x="1356" y="76"/>
                  </a:lnTo>
                  <a:lnTo>
                    <a:pt x="1312" y="60"/>
                  </a:lnTo>
                  <a:lnTo>
                    <a:pt x="1266" y="44"/>
                  </a:lnTo>
                  <a:lnTo>
                    <a:pt x="1220" y="30"/>
                  </a:lnTo>
                  <a:lnTo>
                    <a:pt x="1172" y="20"/>
                  </a:lnTo>
                  <a:lnTo>
                    <a:pt x="1124" y="12"/>
                  </a:lnTo>
                  <a:lnTo>
                    <a:pt x="1076" y="6"/>
                  </a:lnTo>
                  <a:lnTo>
                    <a:pt x="1026" y="2"/>
                  </a:lnTo>
                  <a:lnTo>
                    <a:pt x="976" y="0"/>
                  </a:lnTo>
                  <a:lnTo>
                    <a:pt x="976" y="0"/>
                  </a:lnTo>
                  <a:close/>
                  <a:moveTo>
                    <a:pt x="976" y="1667"/>
                  </a:moveTo>
                  <a:lnTo>
                    <a:pt x="976" y="1667"/>
                  </a:lnTo>
                  <a:lnTo>
                    <a:pt x="940" y="1667"/>
                  </a:lnTo>
                  <a:lnTo>
                    <a:pt x="906" y="1663"/>
                  </a:lnTo>
                  <a:lnTo>
                    <a:pt x="872" y="1659"/>
                  </a:lnTo>
                  <a:lnTo>
                    <a:pt x="838" y="1653"/>
                  </a:lnTo>
                  <a:lnTo>
                    <a:pt x="804" y="1645"/>
                  </a:lnTo>
                  <a:lnTo>
                    <a:pt x="772" y="1635"/>
                  </a:lnTo>
                  <a:lnTo>
                    <a:pt x="740" y="1625"/>
                  </a:lnTo>
                  <a:lnTo>
                    <a:pt x="708" y="1613"/>
                  </a:lnTo>
                  <a:lnTo>
                    <a:pt x="678" y="1599"/>
                  </a:lnTo>
                  <a:lnTo>
                    <a:pt x="648" y="1583"/>
                  </a:lnTo>
                  <a:lnTo>
                    <a:pt x="618" y="1567"/>
                  </a:lnTo>
                  <a:lnTo>
                    <a:pt x="590" y="1549"/>
                  </a:lnTo>
                  <a:lnTo>
                    <a:pt x="564" y="1529"/>
                  </a:lnTo>
                  <a:lnTo>
                    <a:pt x="538" y="1509"/>
                  </a:lnTo>
                  <a:lnTo>
                    <a:pt x="512" y="1487"/>
                  </a:lnTo>
                  <a:lnTo>
                    <a:pt x="488" y="1465"/>
                  </a:lnTo>
                  <a:lnTo>
                    <a:pt x="466" y="1441"/>
                  </a:lnTo>
                  <a:lnTo>
                    <a:pt x="444" y="1415"/>
                  </a:lnTo>
                  <a:lnTo>
                    <a:pt x="424" y="1389"/>
                  </a:lnTo>
                  <a:lnTo>
                    <a:pt x="404" y="1363"/>
                  </a:lnTo>
                  <a:lnTo>
                    <a:pt x="386" y="1335"/>
                  </a:lnTo>
                  <a:lnTo>
                    <a:pt x="370" y="1305"/>
                  </a:lnTo>
                  <a:lnTo>
                    <a:pt x="354" y="1275"/>
                  </a:lnTo>
                  <a:lnTo>
                    <a:pt x="340" y="1245"/>
                  </a:lnTo>
                  <a:lnTo>
                    <a:pt x="328" y="1215"/>
                  </a:lnTo>
                  <a:lnTo>
                    <a:pt x="318" y="1181"/>
                  </a:lnTo>
                  <a:lnTo>
                    <a:pt x="308" y="1149"/>
                  </a:lnTo>
                  <a:lnTo>
                    <a:pt x="300" y="1115"/>
                  </a:lnTo>
                  <a:lnTo>
                    <a:pt x="294" y="1081"/>
                  </a:lnTo>
                  <a:lnTo>
                    <a:pt x="290" y="1047"/>
                  </a:lnTo>
                  <a:lnTo>
                    <a:pt x="286" y="1012"/>
                  </a:lnTo>
                  <a:lnTo>
                    <a:pt x="286" y="976"/>
                  </a:lnTo>
                  <a:lnTo>
                    <a:pt x="286" y="976"/>
                  </a:lnTo>
                  <a:lnTo>
                    <a:pt x="286" y="940"/>
                  </a:lnTo>
                  <a:lnTo>
                    <a:pt x="290" y="906"/>
                  </a:lnTo>
                  <a:lnTo>
                    <a:pt x="294" y="872"/>
                  </a:lnTo>
                  <a:lnTo>
                    <a:pt x="300" y="838"/>
                  </a:lnTo>
                  <a:lnTo>
                    <a:pt x="308" y="804"/>
                  </a:lnTo>
                  <a:lnTo>
                    <a:pt x="318" y="770"/>
                  </a:lnTo>
                  <a:lnTo>
                    <a:pt x="328" y="738"/>
                  </a:lnTo>
                  <a:lnTo>
                    <a:pt x="340" y="708"/>
                  </a:lnTo>
                  <a:lnTo>
                    <a:pt x="354" y="678"/>
                  </a:lnTo>
                  <a:lnTo>
                    <a:pt x="370" y="648"/>
                  </a:lnTo>
                  <a:lnTo>
                    <a:pt x="386" y="618"/>
                  </a:lnTo>
                  <a:lnTo>
                    <a:pt x="404" y="590"/>
                  </a:lnTo>
                  <a:lnTo>
                    <a:pt x="424" y="564"/>
                  </a:lnTo>
                  <a:lnTo>
                    <a:pt x="444" y="538"/>
                  </a:lnTo>
                  <a:lnTo>
                    <a:pt x="466" y="512"/>
                  </a:lnTo>
                  <a:lnTo>
                    <a:pt x="488" y="488"/>
                  </a:lnTo>
                  <a:lnTo>
                    <a:pt x="512" y="466"/>
                  </a:lnTo>
                  <a:lnTo>
                    <a:pt x="538" y="444"/>
                  </a:lnTo>
                  <a:lnTo>
                    <a:pt x="564" y="424"/>
                  </a:lnTo>
                  <a:lnTo>
                    <a:pt x="590" y="404"/>
                  </a:lnTo>
                  <a:lnTo>
                    <a:pt x="618" y="386"/>
                  </a:lnTo>
                  <a:lnTo>
                    <a:pt x="648" y="370"/>
                  </a:lnTo>
                  <a:lnTo>
                    <a:pt x="678" y="354"/>
                  </a:lnTo>
                  <a:lnTo>
                    <a:pt x="708" y="340"/>
                  </a:lnTo>
                  <a:lnTo>
                    <a:pt x="740" y="328"/>
                  </a:lnTo>
                  <a:lnTo>
                    <a:pt x="772" y="316"/>
                  </a:lnTo>
                  <a:lnTo>
                    <a:pt x="804" y="308"/>
                  </a:lnTo>
                  <a:lnTo>
                    <a:pt x="838" y="300"/>
                  </a:lnTo>
                  <a:lnTo>
                    <a:pt x="872" y="294"/>
                  </a:lnTo>
                  <a:lnTo>
                    <a:pt x="906" y="290"/>
                  </a:lnTo>
                  <a:lnTo>
                    <a:pt x="940" y="286"/>
                  </a:lnTo>
                  <a:lnTo>
                    <a:pt x="976" y="286"/>
                  </a:lnTo>
                  <a:lnTo>
                    <a:pt x="976" y="286"/>
                  </a:lnTo>
                  <a:lnTo>
                    <a:pt x="1012" y="286"/>
                  </a:lnTo>
                  <a:lnTo>
                    <a:pt x="1046" y="290"/>
                  </a:lnTo>
                  <a:lnTo>
                    <a:pt x="1082" y="294"/>
                  </a:lnTo>
                  <a:lnTo>
                    <a:pt x="1116" y="300"/>
                  </a:lnTo>
                  <a:lnTo>
                    <a:pt x="1148" y="308"/>
                  </a:lnTo>
                  <a:lnTo>
                    <a:pt x="1182" y="316"/>
                  </a:lnTo>
                  <a:lnTo>
                    <a:pt x="1214" y="328"/>
                  </a:lnTo>
                  <a:lnTo>
                    <a:pt x="1244" y="340"/>
                  </a:lnTo>
                  <a:lnTo>
                    <a:pt x="1276" y="354"/>
                  </a:lnTo>
                  <a:lnTo>
                    <a:pt x="1304" y="370"/>
                  </a:lnTo>
                  <a:lnTo>
                    <a:pt x="1334" y="386"/>
                  </a:lnTo>
                  <a:lnTo>
                    <a:pt x="1362" y="404"/>
                  </a:lnTo>
                  <a:lnTo>
                    <a:pt x="1388" y="424"/>
                  </a:lnTo>
                  <a:lnTo>
                    <a:pt x="1414" y="444"/>
                  </a:lnTo>
                  <a:lnTo>
                    <a:pt x="1440" y="466"/>
                  </a:lnTo>
                  <a:lnTo>
                    <a:pt x="1464" y="488"/>
                  </a:lnTo>
                  <a:lnTo>
                    <a:pt x="1486" y="512"/>
                  </a:lnTo>
                  <a:lnTo>
                    <a:pt x="1508" y="538"/>
                  </a:lnTo>
                  <a:lnTo>
                    <a:pt x="1528" y="564"/>
                  </a:lnTo>
                  <a:lnTo>
                    <a:pt x="1548" y="590"/>
                  </a:lnTo>
                  <a:lnTo>
                    <a:pt x="1566" y="618"/>
                  </a:lnTo>
                  <a:lnTo>
                    <a:pt x="1582" y="648"/>
                  </a:lnTo>
                  <a:lnTo>
                    <a:pt x="1598" y="678"/>
                  </a:lnTo>
                  <a:lnTo>
                    <a:pt x="1612" y="708"/>
                  </a:lnTo>
                  <a:lnTo>
                    <a:pt x="1624" y="738"/>
                  </a:lnTo>
                  <a:lnTo>
                    <a:pt x="1636" y="770"/>
                  </a:lnTo>
                  <a:lnTo>
                    <a:pt x="1644" y="804"/>
                  </a:lnTo>
                  <a:lnTo>
                    <a:pt x="1652" y="838"/>
                  </a:lnTo>
                  <a:lnTo>
                    <a:pt x="1658" y="872"/>
                  </a:lnTo>
                  <a:lnTo>
                    <a:pt x="1662" y="906"/>
                  </a:lnTo>
                  <a:lnTo>
                    <a:pt x="1666" y="940"/>
                  </a:lnTo>
                  <a:lnTo>
                    <a:pt x="1666" y="976"/>
                  </a:lnTo>
                  <a:lnTo>
                    <a:pt x="1666" y="976"/>
                  </a:lnTo>
                  <a:lnTo>
                    <a:pt x="1666" y="1012"/>
                  </a:lnTo>
                  <a:lnTo>
                    <a:pt x="1662" y="1047"/>
                  </a:lnTo>
                  <a:lnTo>
                    <a:pt x="1658" y="1081"/>
                  </a:lnTo>
                  <a:lnTo>
                    <a:pt x="1652" y="1115"/>
                  </a:lnTo>
                  <a:lnTo>
                    <a:pt x="1644" y="1149"/>
                  </a:lnTo>
                  <a:lnTo>
                    <a:pt x="1636" y="1181"/>
                  </a:lnTo>
                  <a:lnTo>
                    <a:pt x="1624" y="1215"/>
                  </a:lnTo>
                  <a:lnTo>
                    <a:pt x="1612" y="1245"/>
                  </a:lnTo>
                  <a:lnTo>
                    <a:pt x="1598" y="1275"/>
                  </a:lnTo>
                  <a:lnTo>
                    <a:pt x="1582" y="1305"/>
                  </a:lnTo>
                  <a:lnTo>
                    <a:pt x="1566" y="1335"/>
                  </a:lnTo>
                  <a:lnTo>
                    <a:pt x="1548" y="1363"/>
                  </a:lnTo>
                  <a:lnTo>
                    <a:pt x="1528" y="1389"/>
                  </a:lnTo>
                  <a:lnTo>
                    <a:pt x="1508" y="1415"/>
                  </a:lnTo>
                  <a:lnTo>
                    <a:pt x="1486" y="1441"/>
                  </a:lnTo>
                  <a:lnTo>
                    <a:pt x="1464" y="1465"/>
                  </a:lnTo>
                  <a:lnTo>
                    <a:pt x="1440" y="1487"/>
                  </a:lnTo>
                  <a:lnTo>
                    <a:pt x="1414" y="1509"/>
                  </a:lnTo>
                  <a:lnTo>
                    <a:pt x="1388" y="1529"/>
                  </a:lnTo>
                  <a:lnTo>
                    <a:pt x="1362" y="1549"/>
                  </a:lnTo>
                  <a:lnTo>
                    <a:pt x="1334" y="1567"/>
                  </a:lnTo>
                  <a:lnTo>
                    <a:pt x="1304" y="1583"/>
                  </a:lnTo>
                  <a:lnTo>
                    <a:pt x="1276" y="1599"/>
                  </a:lnTo>
                  <a:lnTo>
                    <a:pt x="1244" y="1613"/>
                  </a:lnTo>
                  <a:lnTo>
                    <a:pt x="1214" y="1625"/>
                  </a:lnTo>
                  <a:lnTo>
                    <a:pt x="1182" y="1635"/>
                  </a:lnTo>
                  <a:lnTo>
                    <a:pt x="1148" y="1645"/>
                  </a:lnTo>
                  <a:lnTo>
                    <a:pt x="1116" y="1653"/>
                  </a:lnTo>
                  <a:lnTo>
                    <a:pt x="1082" y="1659"/>
                  </a:lnTo>
                  <a:lnTo>
                    <a:pt x="1046" y="1663"/>
                  </a:lnTo>
                  <a:lnTo>
                    <a:pt x="1012" y="1667"/>
                  </a:lnTo>
                  <a:lnTo>
                    <a:pt x="976" y="1667"/>
                  </a:lnTo>
                  <a:lnTo>
                    <a:pt x="976" y="16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sp>
          <p:nvSpPr>
            <p:cNvPr id="96" name="Freeform 127"/>
            <p:cNvSpPr>
              <a:spLocks noEditPoints="1"/>
            </p:cNvSpPr>
            <p:nvPr/>
          </p:nvSpPr>
          <p:spPr bwMode="auto">
            <a:xfrm>
              <a:off x="4334" y="4465"/>
              <a:ext cx="578" cy="945"/>
            </a:xfrm>
            <a:custGeom>
              <a:avLst/>
              <a:gdLst>
                <a:gd name="T0" fmla="*/ 526 w 578"/>
                <a:gd name="T1" fmla="*/ 482 h 945"/>
                <a:gd name="T2" fmla="*/ 468 w 578"/>
                <a:gd name="T3" fmla="*/ 436 h 945"/>
                <a:gd name="T4" fmla="*/ 372 w 578"/>
                <a:gd name="T5" fmla="*/ 398 h 945"/>
                <a:gd name="T6" fmla="*/ 318 w 578"/>
                <a:gd name="T7" fmla="*/ 202 h 945"/>
                <a:gd name="T8" fmla="*/ 366 w 578"/>
                <a:gd name="T9" fmla="*/ 218 h 945"/>
                <a:gd name="T10" fmla="*/ 398 w 578"/>
                <a:gd name="T11" fmla="*/ 262 h 945"/>
                <a:gd name="T12" fmla="*/ 552 w 578"/>
                <a:gd name="T13" fmla="*/ 302 h 945"/>
                <a:gd name="T14" fmla="*/ 530 w 578"/>
                <a:gd name="T15" fmla="*/ 208 h 945"/>
                <a:gd name="T16" fmla="*/ 494 w 578"/>
                <a:gd name="T17" fmla="*/ 156 h 945"/>
                <a:gd name="T18" fmla="*/ 446 w 578"/>
                <a:gd name="T19" fmla="*/ 118 h 945"/>
                <a:gd name="T20" fmla="*/ 386 w 578"/>
                <a:gd name="T21" fmla="*/ 94 h 945"/>
                <a:gd name="T22" fmla="*/ 318 w 578"/>
                <a:gd name="T23" fmla="*/ 0 h 945"/>
                <a:gd name="T24" fmla="*/ 234 w 578"/>
                <a:gd name="T25" fmla="*/ 82 h 945"/>
                <a:gd name="T26" fmla="*/ 168 w 578"/>
                <a:gd name="T27" fmla="*/ 98 h 945"/>
                <a:gd name="T28" fmla="*/ 90 w 578"/>
                <a:gd name="T29" fmla="*/ 140 h 945"/>
                <a:gd name="T30" fmla="*/ 48 w 578"/>
                <a:gd name="T31" fmla="*/ 190 h 945"/>
                <a:gd name="T32" fmla="*/ 22 w 578"/>
                <a:gd name="T33" fmla="*/ 252 h 945"/>
                <a:gd name="T34" fmla="*/ 18 w 578"/>
                <a:gd name="T35" fmla="*/ 328 h 945"/>
                <a:gd name="T36" fmla="*/ 34 w 578"/>
                <a:gd name="T37" fmla="*/ 388 h 945"/>
                <a:gd name="T38" fmla="*/ 82 w 578"/>
                <a:gd name="T39" fmla="*/ 446 h 945"/>
                <a:gd name="T40" fmla="*/ 130 w 578"/>
                <a:gd name="T41" fmla="*/ 476 h 945"/>
                <a:gd name="T42" fmla="*/ 224 w 578"/>
                <a:gd name="T43" fmla="*/ 508 h 945"/>
                <a:gd name="T44" fmla="*/ 258 w 578"/>
                <a:gd name="T45" fmla="*/ 518 h 945"/>
                <a:gd name="T46" fmla="*/ 214 w 578"/>
                <a:gd name="T47" fmla="*/ 721 h 945"/>
                <a:gd name="T48" fmla="*/ 170 w 578"/>
                <a:gd name="T49" fmla="*/ 683 h 945"/>
                <a:gd name="T50" fmla="*/ 148 w 578"/>
                <a:gd name="T51" fmla="*/ 627 h 945"/>
                <a:gd name="T52" fmla="*/ 4 w 578"/>
                <a:gd name="T53" fmla="*/ 629 h 945"/>
                <a:gd name="T54" fmla="*/ 36 w 578"/>
                <a:gd name="T55" fmla="*/ 729 h 945"/>
                <a:gd name="T56" fmla="*/ 76 w 578"/>
                <a:gd name="T57" fmla="*/ 785 h 945"/>
                <a:gd name="T58" fmla="*/ 154 w 578"/>
                <a:gd name="T59" fmla="*/ 833 h 945"/>
                <a:gd name="T60" fmla="*/ 258 w 578"/>
                <a:gd name="T61" fmla="*/ 855 h 945"/>
                <a:gd name="T62" fmla="*/ 318 w 578"/>
                <a:gd name="T63" fmla="*/ 855 h 945"/>
                <a:gd name="T64" fmla="*/ 446 w 578"/>
                <a:gd name="T65" fmla="*/ 825 h 945"/>
                <a:gd name="T66" fmla="*/ 510 w 578"/>
                <a:gd name="T67" fmla="*/ 781 h 945"/>
                <a:gd name="T68" fmla="*/ 550 w 578"/>
                <a:gd name="T69" fmla="*/ 733 h 945"/>
                <a:gd name="T70" fmla="*/ 576 w 578"/>
                <a:gd name="T71" fmla="*/ 667 h 945"/>
                <a:gd name="T72" fmla="*/ 578 w 578"/>
                <a:gd name="T73" fmla="*/ 613 h 945"/>
                <a:gd name="T74" fmla="*/ 566 w 578"/>
                <a:gd name="T75" fmla="*/ 546 h 945"/>
                <a:gd name="T76" fmla="*/ 258 w 578"/>
                <a:gd name="T77" fmla="*/ 370 h 945"/>
                <a:gd name="T78" fmla="*/ 198 w 578"/>
                <a:gd name="T79" fmla="*/ 350 h 945"/>
                <a:gd name="T80" fmla="*/ 170 w 578"/>
                <a:gd name="T81" fmla="*/ 318 h 945"/>
                <a:gd name="T82" fmla="*/ 166 w 578"/>
                <a:gd name="T83" fmla="*/ 268 h 945"/>
                <a:gd name="T84" fmla="*/ 194 w 578"/>
                <a:gd name="T85" fmla="*/ 222 h 945"/>
                <a:gd name="T86" fmla="*/ 224 w 578"/>
                <a:gd name="T87" fmla="*/ 206 h 945"/>
                <a:gd name="T88" fmla="*/ 420 w 578"/>
                <a:gd name="T89" fmla="*/ 677 h 945"/>
                <a:gd name="T90" fmla="*/ 394 w 578"/>
                <a:gd name="T91" fmla="*/ 707 h 945"/>
                <a:gd name="T92" fmla="*/ 338 w 578"/>
                <a:gd name="T93" fmla="*/ 733 h 945"/>
                <a:gd name="T94" fmla="*/ 348 w 578"/>
                <a:gd name="T95" fmla="*/ 544 h 945"/>
                <a:gd name="T96" fmla="*/ 406 w 578"/>
                <a:gd name="T97" fmla="*/ 573 h 945"/>
                <a:gd name="T98" fmla="*/ 430 w 578"/>
                <a:gd name="T99" fmla="*/ 635 h 945"/>
                <a:gd name="T100" fmla="*/ 426 w 578"/>
                <a:gd name="T101" fmla="*/ 667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8" h="945">
                  <a:moveTo>
                    <a:pt x="552" y="514"/>
                  </a:moveTo>
                  <a:lnTo>
                    <a:pt x="552" y="514"/>
                  </a:lnTo>
                  <a:lnTo>
                    <a:pt x="540" y="498"/>
                  </a:lnTo>
                  <a:lnTo>
                    <a:pt x="526" y="482"/>
                  </a:lnTo>
                  <a:lnTo>
                    <a:pt x="510" y="466"/>
                  </a:lnTo>
                  <a:lnTo>
                    <a:pt x="490" y="450"/>
                  </a:lnTo>
                  <a:lnTo>
                    <a:pt x="490" y="450"/>
                  </a:lnTo>
                  <a:lnTo>
                    <a:pt x="468" y="436"/>
                  </a:lnTo>
                  <a:lnTo>
                    <a:pt x="440" y="422"/>
                  </a:lnTo>
                  <a:lnTo>
                    <a:pt x="408" y="410"/>
                  </a:lnTo>
                  <a:lnTo>
                    <a:pt x="372" y="398"/>
                  </a:lnTo>
                  <a:lnTo>
                    <a:pt x="372" y="398"/>
                  </a:lnTo>
                  <a:lnTo>
                    <a:pt x="344" y="392"/>
                  </a:lnTo>
                  <a:lnTo>
                    <a:pt x="344" y="392"/>
                  </a:lnTo>
                  <a:lnTo>
                    <a:pt x="318" y="386"/>
                  </a:lnTo>
                  <a:lnTo>
                    <a:pt x="318" y="202"/>
                  </a:lnTo>
                  <a:lnTo>
                    <a:pt x="318" y="202"/>
                  </a:lnTo>
                  <a:lnTo>
                    <a:pt x="336" y="204"/>
                  </a:lnTo>
                  <a:lnTo>
                    <a:pt x="352" y="208"/>
                  </a:lnTo>
                  <a:lnTo>
                    <a:pt x="366" y="218"/>
                  </a:lnTo>
                  <a:lnTo>
                    <a:pt x="380" y="230"/>
                  </a:lnTo>
                  <a:lnTo>
                    <a:pt x="380" y="230"/>
                  </a:lnTo>
                  <a:lnTo>
                    <a:pt x="390" y="246"/>
                  </a:lnTo>
                  <a:lnTo>
                    <a:pt x="398" y="262"/>
                  </a:lnTo>
                  <a:lnTo>
                    <a:pt x="404" y="282"/>
                  </a:lnTo>
                  <a:lnTo>
                    <a:pt x="406" y="302"/>
                  </a:lnTo>
                  <a:lnTo>
                    <a:pt x="552" y="302"/>
                  </a:lnTo>
                  <a:lnTo>
                    <a:pt x="552" y="302"/>
                  </a:lnTo>
                  <a:lnTo>
                    <a:pt x="550" y="276"/>
                  </a:lnTo>
                  <a:lnTo>
                    <a:pt x="544" y="250"/>
                  </a:lnTo>
                  <a:lnTo>
                    <a:pt x="538" y="228"/>
                  </a:lnTo>
                  <a:lnTo>
                    <a:pt x="530" y="208"/>
                  </a:lnTo>
                  <a:lnTo>
                    <a:pt x="530" y="208"/>
                  </a:lnTo>
                  <a:lnTo>
                    <a:pt x="518" y="188"/>
                  </a:lnTo>
                  <a:lnTo>
                    <a:pt x="506" y="172"/>
                  </a:lnTo>
                  <a:lnTo>
                    <a:pt x="494" y="156"/>
                  </a:lnTo>
                  <a:lnTo>
                    <a:pt x="478" y="142"/>
                  </a:lnTo>
                  <a:lnTo>
                    <a:pt x="478" y="142"/>
                  </a:lnTo>
                  <a:lnTo>
                    <a:pt x="462" y="130"/>
                  </a:lnTo>
                  <a:lnTo>
                    <a:pt x="446" y="118"/>
                  </a:lnTo>
                  <a:lnTo>
                    <a:pt x="426" y="108"/>
                  </a:lnTo>
                  <a:lnTo>
                    <a:pt x="406" y="100"/>
                  </a:lnTo>
                  <a:lnTo>
                    <a:pt x="406" y="100"/>
                  </a:lnTo>
                  <a:lnTo>
                    <a:pt x="386" y="94"/>
                  </a:lnTo>
                  <a:lnTo>
                    <a:pt x="364" y="88"/>
                  </a:lnTo>
                  <a:lnTo>
                    <a:pt x="342" y="84"/>
                  </a:lnTo>
                  <a:lnTo>
                    <a:pt x="318" y="80"/>
                  </a:lnTo>
                  <a:lnTo>
                    <a:pt x="318" y="0"/>
                  </a:lnTo>
                  <a:lnTo>
                    <a:pt x="258" y="0"/>
                  </a:lnTo>
                  <a:lnTo>
                    <a:pt x="258" y="80"/>
                  </a:lnTo>
                  <a:lnTo>
                    <a:pt x="258" y="80"/>
                  </a:lnTo>
                  <a:lnTo>
                    <a:pt x="234" y="82"/>
                  </a:lnTo>
                  <a:lnTo>
                    <a:pt x="212" y="86"/>
                  </a:lnTo>
                  <a:lnTo>
                    <a:pt x="190" y="92"/>
                  </a:lnTo>
                  <a:lnTo>
                    <a:pt x="168" y="98"/>
                  </a:lnTo>
                  <a:lnTo>
                    <a:pt x="168" y="98"/>
                  </a:lnTo>
                  <a:lnTo>
                    <a:pt x="146" y="106"/>
                  </a:lnTo>
                  <a:lnTo>
                    <a:pt x="126" y="116"/>
                  </a:lnTo>
                  <a:lnTo>
                    <a:pt x="108" y="128"/>
                  </a:lnTo>
                  <a:lnTo>
                    <a:pt x="90" y="140"/>
                  </a:lnTo>
                  <a:lnTo>
                    <a:pt x="90" y="140"/>
                  </a:lnTo>
                  <a:lnTo>
                    <a:pt x="76" y="156"/>
                  </a:lnTo>
                  <a:lnTo>
                    <a:pt x="60" y="172"/>
                  </a:lnTo>
                  <a:lnTo>
                    <a:pt x="48" y="190"/>
                  </a:lnTo>
                  <a:lnTo>
                    <a:pt x="38" y="208"/>
                  </a:lnTo>
                  <a:lnTo>
                    <a:pt x="38" y="208"/>
                  </a:lnTo>
                  <a:lnTo>
                    <a:pt x="28" y="230"/>
                  </a:lnTo>
                  <a:lnTo>
                    <a:pt x="22" y="252"/>
                  </a:lnTo>
                  <a:lnTo>
                    <a:pt x="18" y="276"/>
                  </a:lnTo>
                  <a:lnTo>
                    <a:pt x="18" y="302"/>
                  </a:lnTo>
                  <a:lnTo>
                    <a:pt x="18" y="302"/>
                  </a:lnTo>
                  <a:lnTo>
                    <a:pt x="18" y="328"/>
                  </a:lnTo>
                  <a:lnTo>
                    <a:pt x="22" y="350"/>
                  </a:lnTo>
                  <a:lnTo>
                    <a:pt x="28" y="370"/>
                  </a:lnTo>
                  <a:lnTo>
                    <a:pt x="34" y="388"/>
                  </a:lnTo>
                  <a:lnTo>
                    <a:pt x="34" y="388"/>
                  </a:lnTo>
                  <a:lnTo>
                    <a:pt x="44" y="406"/>
                  </a:lnTo>
                  <a:lnTo>
                    <a:pt x="56" y="420"/>
                  </a:lnTo>
                  <a:lnTo>
                    <a:pt x="68" y="434"/>
                  </a:lnTo>
                  <a:lnTo>
                    <a:pt x="82" y="446"/>
                  </a:lnTo>
                  <a:lnTo>
                    <a:pt x="82" y="446"/>
                  </a:lnTo>
                  <a:lnTo>
                    <a:pt x="98" y="458"/>
                  </a:lnTo>
                  <a:lnTo>
                    <a:pt x="114" y="468"/>
                  </a:lnTo>
                  <a:lnTo>
                    <a:pt x="130" y="476"/>
                  </a:lnTo>
                  <a:lnTo>
                    <a:pt x="148" y="484"/>
                  </a:lnTo>
                  <a:lnTo>
                    <a:pt x="148" y="484"/>
                  </a:lnTo>
                  <a:lnTo>
                    <a:pt x="186" y="498"/>
                  </a:lnTo>
                  <a:lnTo>
                    <a:pt x="224" y="508"/>
                  </a:lnTo>
                  <a:lnTo>
                    <a:pt x="224" y="508"/>
                  </a:lnTo>
                  <a:lnTo>
                    <a:pt x="244" y="514"/>
                  </a:lnTo>
                  <a:lnTo>
                    <a:pt x="244" y="514"/>
                  </a:lnTo>
                  <a:lnTo>
                    <a:pt x="258" y="518"/>
                  </a:lnTo>
                  <a:lnTo>
                    <a:pt x="258" y="735"/>
                  </a:lnTo>
                  <a:lnTo>
                    <a:pt x="258" y="735"/>
                  </a:lnTo>
                  <a:lnTo>
                    <a:pt x="234" y="729"/>
                  </a:lnTo>
                  <a:lnTo>
                    <a:pt x="214" y="721"/>
                  </a:lnTo>
                  <a:lnTo>
                    <a:pt x="194" y="707"/>
                  </a:lnTo>
                  <a:lnTo>
                    <a:pt x="178" y="693"/>
                  </a:lnTo>
                  <a:lnTo>
                    <a:pt x="178" y="693"/>
                  </a:lnTo>
                  <a:lnTo>
                    <a:pt x="170" y="683"/>
                  </a:lnTo>
                  <a:lnTo>
                    <a:pt x="164" y="673"/>
                  </a:lnTo>
                  <a:lnTo>
                    <a:pt x="158" y="663"/>
                  </a:lnTo>
                  <a:lnTo>
                    <a:pt x="154" y="651"/>
                  </a:lnTo>
                  <a:lnTo>
                    <a:pt x="148" y="627"/>
                  </a:lnTo>
                  <a:lnTo>
                    <a:pt x="146" y="599"/>
                  </a:lnTo>
                  <a:lnTo>
                    <a:pt x="0" y="599"/>
                  </a:lnTo>
                  <a:lnTo>
                    <a:pt x="0" y="599"/>
                  </a:lnTo>
                  <a:lnTo>
                    <a:pt x="4" y="629"/>
                  </a:lnTo>
                  <a:lnTo>
                    <a:pt x="10" y="657"/>
                  </a:lnTo>
                  <a:lnTo>
                    <a:pt x="16" y="683"/>
                  </a:lnTo>
                  <a:lnTo>
                    <a:pt x="24" y="707"/>
                  </a:lnTo>
                  <a:lnTo>
                    <a:pt x="36" y="729"/>
                  </a:lnTo>
                  <a:lnTo>
                    <a:pt x="48" y="749"/>
                  </a:lnTo>
                  <a:lnTo>
                    <a:pt x="60" y="767"/>
                  </a:lnTo>
                  <a:lnTo>
                    <a:pt x="76" y="785"/>
                  </a:lnTo>
                  <a:lnTo>
                    <a:pt x="76" y="785"/>
                  </a:lnTo>
                  <a:lnTo>
                    <a:pt x="94" y="799"/>
                  </a:lnTo>
                  <a:lnTo>
                    <a:pt x="112" y="813"/>
                  </a:lnTo>
                  <a:lnTo>
                    <a:pt x="132" y="825"/>
                  </a:lnTo>
                  <a:lnTo>
                    <a:pt x="154" y="833"/>
                  </a:lnTo>
                  <a:lnTo>
                    <a:pt x="178" y="841"/>
                  </a:lnTo>
                  <a:lnTo>
                    <a:pt x="202" y="849"/>
                  </a:lnTo>
                  <a:lnTo>
                    <a:pt x="230" y="853"/>
                  </a:lnTo>
                  <a:lnTo>
                    <a:pt x="258" y="855"/>
                  </a:lnTo>
                  <a:lnTo>
                    <a:pt x="258" y="945"/>
                  </a:lnTo>
                  <a:lnTo>
                    <a:pt x="318" y="945"/>
                  </a:lnTo>
                  <a:lnTo>
                    <a:pt x="318" y="855"/>
                  </a:lnTo>
                  <a:lnTo>
                    <a:pt x="318" y="855"/>
                  </a:lnTo>
                  <a:lnTo>
                    <a:pt x="356" y="851"/>
                  </a:lnTo>
                  <a:lnTo>
                    <a:pt x="390" y="845"/>
                  </a:lnTo>
                  <a:lnTo>
                    <a:pt x="420" y="837"/>
                  </a:lnTo>
                  <a:lnTo>
                    <a:pt x="446" y="825"/>
                  </a:lnTo>
                  <a:lnTo>
                    <a:pt x="446" y="825"/>
                  </a:lnTo>
                  <a:lnTo>
                    <a:pt x="470" y="811"/>
                  </a:lnTo>
                  <a:lnTo>
                    <a:pt x="492" y="797"/>
                  </a:lnTo>
                  <a:lnTo>
                    <a:pt x="510" y="781"/>
                  </a:lnTo>
                  <a:lnTo>
                    <a:pt x="526" y="765"/>
                  </a:lnTo>
                  <a:lnTo>
                    <a:pt x="526" y="765"/>
                  </a:lnTo>
                  <a:lnTo>
                    <a:pt x="540" y="749"/>
                  </a:lnTo>
                  <a:lnTo>
                    <a:pt x="550" y="733"/>
                  </a:lnTo>
                  <a:lnTo>
                    <a:pt x="560" y="715"/>
                  </a:lnTo>
                  <a:lnTo>
                    <a:pt x="566" y="697"/>
                  </a:lnTo>
                  <a:lnTo>
                    <a:pt x="566" y="697"/>
                  </a:lnTo>
                  <a:lnTo>
                    <a:pt x="576" y="667"/>
                  </a:lnTo>
                  <a:lnTo>
                    <a:pt x="578" y="653"/>
                  </a:lnTo>
                  <a:lnTo>
                    <a:pt x="578" y="641"/>
                  </a:lnTo>
                  <a:lnTo>
                    <a:pt x="578" y="641"/>
                  </a:lnTo>
                  <a:lnTo>
                    <a:pt x="578" y="613"/>
                  </a:lnTo>
                  <a:lnTo>
                    <a:pt x="574" y="581"/>
                  </a:lnTo>
                  <a:lnTo>
                    <a:pt x="574" y="581"/>
                  </a:lnTo>
                  <a:lnTo>
                    <a:pt x="572" y="565"/>
                  </a:lnTo>
                  <a:lnTo>
                    <a:pt x="566" y="546"/>
                  </a:lnTo>
                  <a:lnTo>
                    <a:pt x="560" y="530"/>
                  </a:lnTo>
                  <a:lnTo>
                    <a:pt x="552" y="514"/>
                  </a:lnTo>
                  <a:lnTo>
                    <a:pt x="552" y="514"/>
                  </a:lnTo>
                  <a:close/>
                  <a:moveTo>
                    <a:pt x="258" y="370"/>
                  </a:moveTo>
                  <a:lnTo>
                    <a:pt x="258" y="370"/>
                  </a:lnTo>
                  <a:lnTo>
                    <a:pt x="234" y="364"/>
                  </a:lnTo>
                  <a:lnTo>
                    <a:pt x="216" y="358"/>
                  </a:lnTo>
                  <a:lnTo>
                    <a:pt x="198" y="350"/>
                  </a:lnTo>
                  <a:lnTo>
                    <a:pt x="186" y="340"/>
                  </a:lnTo>
                  <a:lnTo>
                    <a:pt x="186" y="340"/>
                  </a:lnTo>
                  <a:lnTo>
                    <a:pt x="176" y="330"/>
                  </a:lnTo>
                  <a:lnTo>
                    <a:pt x="170" y="318"/>
                  </a:lnTo>
                  <a:lnTo>
                    <a:pt x="166" y="304"/>
                  </a:lnTo>
                  <a:lnTo>
                    <a:pt x="164" y="288"/>
                  </a:lnTo>
                  <a:lnTo>
                    <a:pt x="164" y="288"/>
                  </a:lnTo>
                  <a:lnTo>
                    <a:pt x="166" y="268"/>
                  </a:lnTo>
                  <a:lnTo>
                    <a:pt x="172" y="250"/>
                  </a:lnTo>
                  <a:lnTo>
                    <a:pt x="172" y="250"/>
                  </a:lnTo>
                  <a:lnTo>
                    <a:pt x="182" y="236"/>
                  </a:lnTo>
                  <a:lnTo>
                    <a:pt x="194" y="222"/>
                  </a:lnTo>
                  <a:lnTo>
                    <a:pt x="194" y="222"/>
                  </a:lnTo>
                  <a:lnTo>
                    <a:pt x="208" y="214"/>
                  </a:lnTo>
                  <a:lnTo>
                    <a:pt x="224" y="206"/>
                  </a:lnTo>
                  <a:lnTo>
                    <a:pt x="224" y="206"/>
                  </a:lnTo>
                  <a:lnTo>
                    <a:pt x="240" y="202"/>
                  </a:lnTo>
                  <a:lnTo>
                    <a:pt x="258" y="202"/>
                  </a:lnTo>
                  <a:lnTo>
                    <a:pt x="258" y="370"/>
                  </a:lnTo>
                  <a:close/>
                  <a:moveTo>
                    <a:pt x="420" y="677"/>
                  </a:moveTo>
                  <a:lnTo>
                    <a:pt x="420" y="677"/>
                  </a:lnTo>
                  <a:lnTo>
                    <a:pt x="408" y="693"/>
                  </a:lnTo>
                  <a:lnTo>
                    <a:pt x="394" y="707"/>
                  </a:lnTo>
                  <a:lnTo>
                    <a:pt x="394" y="707"/>
                  </a:lnTo>
                  <a:lnTo>
                    <a:pt x="378" y="719"/>
                  </a:lnTo>
                  <a:lnTo>
                    <a:pt x="358" y="727"/>
                  </a:lnTo>
                  <a:lnTo>
                    <a:pt x="358" y="727"/>
                  </a:lnTo>
                  <a:lnTo>
                    <a:pt x="338" y="733"/>
                  </a:lnTo>
                  <a:lnTo>
                    <a:pt x="318" y="735"/>
                  </a:lnTo>
                  <a:lnTo>
                    <a:pt x="318" y="536"/>
                  </a:lnTo>
                  <a:lnTo>
                    <a:pt x="318" y="536"/>
                  </a:lnTo>
                  <a:lnTo>
                    <a:pt x="348" y="544"/>
                  </a:lnTo>
                  <a:lnTo>
                    <a:pt x="372" y="554"/>
                  </a:lnTo>
                  <a:lnTo>
                    <a:pt x="390" y="562"/>
                  </a:lnTo>
                  <a:lnTo>
                    <a:pt x="406" y="573"/>
                  </a:lnTo>
                  <a:lnTo>
                    <a:pt x="406" y="573"/>
                  </a:lnTo>
                  <a:lnTo>
                    <a:pt x="416" y="585"/>
                  </a:lnTo>
                  <a:lnTo>
                    <a:pt x="424" y="599"/>
                  </a:lnTo>
                  <a:lnTo>
                    <a:pt x="430" y="615"/>
                  </a:lnTo>
                  <a:lnTo>
                    <a:pt x="430" y="635"/>
                  </a:lnTo>
                  <a:lnTo>
                    <a:pt x="430" y="635"/>
                  </a:lnTo>
                  <a:lnTo>
                    <a:pt x="430" y="647"/>
                  </a:lnTo>
                  <a:lnTo>
                    <a:pt x="428" y="657"/>
                  </a:lnTo>
                  <a:lnTo>
                    <a:pt x="426" y="667"/>
                  </a:lnTo>
                  <a:lnTo>
                    <a:pt x="420" y="677"/>
                  </a:lnTo>
                  <a:lnTo>
                    <a:pt x="420" y="6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539"/>
            </a:p>
          </p:txBody>
        </p:sp>
      </p:grpSp>
      <p:sp>
        <p:nvSpPr>
          <p:cNvPr id="17" name="TextBox 16">
            <a:extLst>
              <a:ext uri="{FF2B5EF4-FFF2-40B4-BE49-F238E27FC236}">
                <a16:creationId xmlns:a16="http://schemas.microsoft.com/office/drawing/2014/main" id="{BEB55A3C-2D1E-42EE-B16D-F14251F60FB4}"/>
              </a:ext>
            </a:extLst>
          </p:cNvPr>
          <p:cNvSpPr txBox="1"/>
          <p:nvPr/>
        </p:nvSpPr>
        <p:spPr>
          <a:xfrm>
            <a:off x="8918037" y="1985855"/>
            <a:ext cx="1100945" cy="553998"/>
          </a:xfrm>
          <a:prstGeom prst="rect">
            <a:avLst/>
          </a:prstGeom>
          <a:noFill/>
        </p:spPr>
        <p:txBody>
          <a:bodyPr wrap="square" rtlCol="0">
            <a:spAutoFit/>
          </a:bodyPr>
          <a:lstStyle/>
          <a:p>
            <a:pPr algn="ctr"/>
            <a:r>
              <a:rPr lang="en-US" dirty="0"/>
              <a:t> </a:t>
            </a:r>
            <a:r>
              <a:rPr lang="el-GR" sz="1200" dirty="0"/>
              <a:t>Εκτιμάται μέχρι 15/09</a:t>
            </a:r>
            <a:endParaRPr lang="en-GB" dirty="0"/>
          </a:p>
        </p:txBody>
      </p:sp>
      <p:sp>
        <p:nvSpPr>
          <p:cNvPr id="127" name="TextBox 126">
            <a:extLst>
              <a:ext uri="{FF2B5EF4-FFF2-40B4-BE49-F238E27FC236}">
                <a16:creationId xmlns:a16="http://schemas.microsoft.com/office/drawing/2014/main" id="{24358819-F2E2-4471-A575-AF6C7E4E6FE5}"/>
              </a:ext>
            </a:extLst>
          </p:cNvPr>
          <p:cNvSpPr txBox="1"/>
          <p:nvPr/>
        </p:nvSpPr>
        <p:spPr>
          <a:xfrm>
            <a:off x="8902555" y="3471576"/>
            <a:ext cx="1100945" cy="553998"/>
          </a:xfrm>
          <a:prstGeom prst="rect">
            <a:avLst/>
          </a:prstGeom>
          <a:noFill/>
        </p:spPr>
        <p:txBody>
          <a:bodyPr wrap="square" rtlCol="0">
            <a:spAutoFit/>
          </a:bodyPr>
          <a:lstStyle/>
          <a:p>
            <a:pPr algn="ctr"/>
            <a:r>
              <a:rPr lang="en-US" dirty="0"/>
              <a:t> </a:t>
            </a:r>
            <a:r>
              <a:rPr lang="el-GR" sz="1200" dirty="0"/>
              <a:t>Εκτιμάται μέχρι 15/10</a:t>
            </a:r>
            <a:endParaRPr lang="en-GB" dirty="0"/>
          </a:p>
        </p:txBody>
      </p:sp>
      <p:sp>
        <p:nvSpPr>
          <p:cNvPr id="128" name="TextBox 127">
            <a:extLst>
              <a:ext uri="{FF2B5EF4-FFF2-40B4-BE49-F238E27FC236}">
                <a16:creationId xmlns:a16="http://schemas.microsoft.com/office/drawing/2014/main" id="{F32154E6-0B2C-40CF-AFB3-4E6AB60AD37E}"/>
              </a:ext>
            </a:extLst>
          </p:cNvPr>
          <p:cNvSpPr txBox="1"/>
          <p:nvPr/>
        </p:nvSpPr>
        <p:spPr>
          <a:xfrm>
            <a:off x="8954266" y="4203396"/>
            <a:ext cx="1100945" cy="553998"/>
          </a:xfrm>
          <a:prstGeom prst="rect">
            <a:avLst/>
          </a:prstGeom>
          <a:noFill/>
        </p:spPr>
        <p:txBody>
          <a:bodyPr wrap="square" rtlCol="0">
            <a:spAutoFit/>
          </a:bodyPr>
          <a:lstStyle/>
          <a:p>
            <a:pPr algn="ctr"/>
            <a:r>
              <a:rPr lang="en-US" dirty="0"/>
              <a:t> </a:t>
            </a:r>
            <a:r>
              <a:rPr lang="el-GR" sz="1200" dirty="0"/>
              <a:t>Εκτιμάται μέχρι 15/10</a:t>
            </a:r>
            <a:endParaRPr lang="en-GB" dirty="0"/>
          </a:p>
        </p:txBody>
      </p:sp>
      <p:sp>
        <p:nvSpPr>
          <p:cNvPr id="130" name="Content Placeholder 16">
            <a:extLst>
              <a:ext uri="{FF2B5EF4-FFF2-40B4-BE49-F238E27FC236}">
                <a16:creationId xmlns:a16="http://schemas.microsoft.com/office/drawing/2014/main" id="{1B6B8CC2-62C7-49FB-8EA4-8696BE2748BB}"/>
              </a:ext>
            </a:extLst>
          </p:cNvPr>
          <p:cNvSpPr txBox="1">
            <a:spLocks/>
          </p:cNvSpPr>
          <p:nvPr/>
        </p:nvSpPr>
        <p:spPr bwMode="auto">
          <a:xfrm>
            <a:off x="10408608" y="2823648"/>
            <a:ext cx="1100945" cy="341011"/>
          </a:xfrm>
          <a:prstGeom prst="rect">
            <a:avLst/>
          </a:prstGeom>
          <a:noFill/>
          <a:ln w="0">
            <a:noFill/>
            <a:miter lim="800000"/>
            <a:headEnd/>
            <a:tailEnd/>
          </a:ln>
        </p:spPr>
        <p:txBody>
          <a:bodyPr lIns="30783" tIns="30783" rIns="30783" bIns="30783" anchor="ctr"/>
          <a:lstStyle/>
          <a:p>
            <a:pPr marL="0" lvl="1" algn="ctr" defTabSz="891697" fontAlgn="base">
              <a:spcBef>
                <a:spcPct val="0"/>
              </a:spcBef>
              <a:spcAft>
                <a:spcPts val="85"/>
              </a:spcAft>
              <a:defRPr/>
            </a:pPr>
            <a:r>
              <a:rPr lang="el-GR" sz="1400" kern="0" dirty="0"/>
              <a:t>24,6 Εκατ. €</a:t>
            </a:r>
            <a:endParaRPr lang="en-GB" sz="1400" kern="0" dirty="0"/>
          </a:p>
        </p:txBody>
      </p:sp>
      <p:sp>
        <p:nvSpPr>
          <p:cNvPr id="131" name="Content Placeholder 16">
            <a:extLst>
              <a:ext uri="{FF2B5EF4-FFF2-40B4-BE49-F238E27FC236}">
                <a16:creationId xmlns:a16="http://schemas.microsoft.com/office/drawing/2014/main" id="{1BA424A0-3B6B-4DEF-9D38-F1A59719BA50}"/>
              </a:ext>
            </a:extLst>
          </p:cNvPr>
          <p:cNvSpPr txBox="1">
            <a:spLocks/>
          </p:cNvSpPr>
          <p:nvPr/>
        </p:nvSpPr>
        <p:spPr bwMode="auto">
          <a:xfrm>
            <a:off x="10408608" y="3586093"/>
            <a:ext cx="1100945" cy="341011"/>
          </a:xfrm>
          <a:prstGeom prst="rect">
            <a:avLst/>
          </a:prstGeom>
          <a:noFill/>
          <a:ln w="0">
            <a:noFill/>
            <a:miter lim="800000"/>
            <a:headEnd/>
            <a:tailEnd/>
          </a:ln>
        </p:spPr>
        <p:txBody>
          <a:bodyPr lIns="30783" tIns="30783" rIns="30783" bIns="30783" anchor="ctr"/>
          <a:lstStyle/>
          <a:p>
            <a:pPr marL="0" lvl="1" algn="ctr" defTabSz="891697" fontAlgn="base">
              <a:spcBef>
                <a:spcPct val="0"/>
              </a:spcBef>
              <a:spcAft>
                <a:spcPts val="85"/>
              </a:spcAft>
              <a:defRPr/>
            </a:pPr>
            <a:r>
              <a:rPr lang="el-GR" sz="1400" kern="0" dirty="0"/>
              <a:t>15 Εκατ. €</a:t>
            </a:r>
            <a:endParaRPr lang="en-GB" sz="1400" kern="0" dirty="0"/>
          </a:p>
        </p:txBody>
      </p:sp>
      <p:sp>
        <p:nvSpPr>
          <p:cNvPr id="132" name="Content Placeholder 16">
            <a:extLst>
              <a:ext uri="{FF2B5EF4-FFF2-40B4-BE49-F238E27FC236}">
                <a16:creationId xmlns:a16="http://schemas.microsoft.com/office/drawing/2014/main" id="{AFA160D5-8FEC-4732-81AE-9C80BF63368F}"/>
              </a:ext>
            </a:extLst>
          </p:cNvPr>
          <p:cNvSpPr txBox="1">
            <a:spLocks/>
          </p:cNvSpPr>
          <p:nvPr/>
        </p:nvSpPr>
        <p:spPr bwMode="auto">
          <a:xfrm>
            <a:off x="10408608" y="4322915"/>
            <a:ext cx="1100945" cy="341011"/>
          </a:xfrm>
          <a:prstGeom prst="rect">
            <a:avLst/>
          </a:prstGeom>
          <a:noFill/>
          <a:ln w="0">
            <a:noFill/>
            <a:miter lim="800000"/>
            <a:headEnd/>
            <a:tailEnd/>
          </a:ln>
        </p:spPr>
        <p:txBody>
          <a:bodyPr lIns="30783" tIns="30783" rIns="30783" bIns="30783" anchor="ctr"/>
          <a:lstStyle/>
          <a:p>
            <a:pPr marL="0" lvl="1" algn="ctr" defTabSz="891697" fontAlgn="base">
              <a:spcBef>
                <a:spcPct val="0"/>
              </a:spcBef>
              <a:spcAft>
                <a:spcPts val="85"/>
              </a:spcAft>
              <a:defRPr/>
            </a:pPr>
            <a:r>
              <a:rPr lang="el-GR" sz="1400" kern="0" dirty="0"/>
              <a:t>15,6 Εκατ. €</a:t>
            </a:r>
            <a:endParaRPr lang="en-GB" sz="1400" kern="0" dirty="0"/>
          </a:p>
        </p:txBody>
      </p:sp>
      <p:sp>
        <p:nvSpPr>
          <p:cNvPr id="136" name="Freeform 128">
            <a:extLst>
              <a:ext uri="{FF2B5EF4-FFF2-40B4-BE49-F238E27FC236}">
                <a16:creationId xmlns:a16="http://schemas.microsoft.com/office/drawing/2014/main" id="{90B58846-9564-4587-A030-FC5DC1DEC083}"/>
              </a:ext>
            </a:extLst>
          </p:cNvPr>
          <p:cNvSpPr>
            <a:spLocks noChangeAspect="1" noEditPoints="1"/>
          </p:cNvSpPr>
          <p:nvPr/>
        </p:nvSpPr>
        <p:spPr bwMode="auto">
          <a:xfrm>
            <a:off x="7959743" y="5040923"/>
            <a:ext cx="610266" cy="6120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137" name="Freeform 24">
            <a:extLst>
              <a:ext uri="{FF2B5EF4-FFF2-40B4-BE49-F238E27FC236}">
                <a16:creationId xmlns:a16="http://schemas.microsoft.com/office/drawing/2014/main" id="{6E78C394-C51D-4603-ADCA-283702E7C40A}"/>
              </a:ext>
            </a:extLst>
          </p:cNvPr>
          <p:cNvSpPr>
            <a:spLocks noChangeAspect="1" noEditPoints="1"/>
          </p:cNvSpPr>
          <p:nvPr/>
        </p:nvSpPr>
        <p:spPr bwMode="auto">
          <a:xfrm>
            <a:off x="6743477" y="5040923"/>
            <a:ext cx="612000" cy="612000"/>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700">
              <a:solidFill>
                <a:schemeClr val="accent1"/>
              </a:solidFill>
            </a:endParaRPr>
          </a:p>
        </p:txBody>
      </p:sp>
      <p:sp>
        <p:nvSpPr>
          <p:cNvPr id="138" name="Google Shape;116;p3">
            <a:extLst>
              <a:ext uri="{FF2B5EF4-FFF2-40B4-BE49-F238E27FC236}">
                <a16:creationId xmlns:a16="http://schemas.microsoft.com/office/drawing/2014/main" id="{A0EB9AEA-98D7-4B9C-AE11-CB156604367D}"/>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Ψηφιακή Μεταρρύθμιση ΥΠΕΞ</a:t>
            </a:r>
          </a:p>
        </p:txBody>
      </p:sp>
    </p:spTree>
    <p:extLst>
      <p:ext uri="{BB962C8B-B14F-4D97-AF65-F5344CB8AC3E}">
        <p14:creationId xmlns:p14="http://schemas.microsoft.com/office/powerpoint/2010/main" val="42323082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building, stone, government building, colonnade&#10;&#10;Description automatically generated">
            <a:extLst>
              <a:ext uri="{FF2B5EF4-FFF2-40B4-BE49-F238E27FC236}">
                <a16:creationId xmlns:a16="http://schemas.microsoft.com/office/drawing/2014/main" id="{19538348-D829-4641-9124-1886074832D3}"/>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0" y="-380"/>
            <a:ext cx="12192676" cy="6858380"/>
          </a:xfrm>
          <a:prstGeom prst="rect">
            <a:avLst/>
          </a:prstGeom>
        </p:spPr>
      </p:pic>
      <p:graphicFrame>
        <p:nvGraphicFramePr>
          <p:cNvPr id="7" name="Object 6" hidden="1">
            <a:extLst>
              <a:ext uri="{FF2B5EF4-FFF2-40B4-BE49-F238E27FC236}">
                <a16:creationId xmlns:a16="http://schemas.microsoft.com/office/drawing/2014/main" id="{8A2B45E6-C490-4119-B0D0-475C31EE97BB}"/>
              </a:ext>
            </a:extLst>
          </p:cNvPr>
          <p:cNvGraphicFramePr>
            <a:graphicFrameLocks noChangeAspect="1"/>
          </p:cNvGraphicFramePr>
          <p:nvPr>
            <p:custDataLst>
              <p:tags r:id="rId2"/>
            </p:custDataLst>
          </p:nvPr>
        </p:nvGraphicFramePr>
        <p:xfrm>
          <a:off x="1593" y="1591"/>
          <a:ext cx="1588" cy="1588"/>
        </p:xfrm>
        <a:graphic>
          <a:graphicData uri="http://schemas.openxmlformats.org/presentationml/2006/ole">
            <mc:AlternateContent xmlns:mc="http://schemas.openxmlformats.org/markup-compatibility/2006">
              <mc:Choice xmlns:v="urn:schemas-microsoft-com:vml" Requires="v">
                <p:oleObj spid="_x0000_s80002"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8A2B45E6-C490-4119-B0D0-475C31EE97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C38DB20-36FD-4622-BED2-2D5B9F9A9840}"/>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33" eaLnBrk="1" fontAlgn="auto" hangingPunct="1">
              <a:spcBef>
                <a:spcPts val="0"/>
              </a:spcBef>
              <a:spcAft>
                <a:spcPts val="0"/>
              </a:spcAft>
              <a:defRPr/>
            </a:pPr>
            <a:endParaRPr lang="en-GB" sz="11000" err="1">
              <a:solidFill>
                <a:prstClr val="white"/>
              </a:solidFill>
              <a:latin typeface="KPMG Extralight" panose="020B0303030202040204" pitchFamily="34" charset="0"/>
              <a:sym typeface="KPMG Extralight" panose="020B0303030202040204" pitchFamily="34" charset="0"/>
            </a:endParaRPr>
          </a:p>
        </p:txBody>
      </p:sp>
      <p:sp>
        <p:nvSpPr>
          <p:cNvPr id="28" name="Title 1">
            <a:extLst>
              <a:ext uri="{FF2B5EF4-FFF2-40B4-BE49-F238E27FC236}">
                <a16:creationId xmlns:a16="http://schemas.microsoft.com/office/drawing/2014/main" id="{23662372-4A27-4372-9561-FAF19776ECAE}"/>
              </a:ext>
            </a:extLst>
          </p:cNvPr>
          <p:cNvSpPr txBox="1">
            <a:spLocks/>
          </p:cNvSpPr>
          <p:nvPr/>
        </p:nvSpPr>
        <p:spPr>
          <a:xfrm>
            <a:off x="3242930" y="1782697"/>
            <a:ext cx="8432107" cy="1844737"/>
          </a:xfrm>
          <a:prstGeom prst="rect">
            <a:avLst/>
          </a:prstGeom>
          <a:noFill/>
        </p:spPr>
        <p:txBody>
          <a:bodyPr vert="horz" lIns="0" tIns="0" rIns="0" bIns="0" rtlCol="0" anchor="t" anchorCtr="0">
            <a:noAutofit/>
          </a:bodyPr>
          <a:lstStyle>
            <a:lvl1pPr algn="l" defTabSz="914400" rtl="0" eaLnBrk="1" latinLnBrk="0" hangingPunct="1">
              <a:lnSpc>
                <a:spcPct val="70000"/>
              </a:lnSpc>
              <a:spcBef>
                <a:spcPct val="0"/>
              </a:spcBef>
              <a:buNone/>
              <a:defRPr sz="11000" kern="1200" baseline="0">
                <a:solidFill>
                  <a:srgbClr val="00338D"/>
                </a:solidFill>
                <a:latin typeface="+mj-lt"/>
                <a:ea typeface="+mj-ea"/>
                <a:cs typeface="+mj-cs"/>
              </a:defRPr>
            </a:lvl1pPr>
          </a:lstStyle>
          <a:p>
            <a:pPr>
              <a:lnSpc>
                <a:spcPct val="100000"/>
              </a:lnSpc>
            </a:pPr>
            <a:r>
              <a:rPr lang="el-GR" sz="3600"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Επιχειρησιακός Σχεδιασμός </a:t>
            </a:r>
            <a:b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br>
            <a:endParaRPr lang="en-US"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11" name="Text Placeholder 2">
            <a:extLst>
              <a:ext uri="{FF2B5EF4-FFF2-40B4-BE49-F238E27FC236}">
                <a16:creationId xmlns:a16="http://schemas.microsoft.com/office/drawing/2014/main" id="{93DDD6AE-3D8F-40AD-BDDF-8344A497E04A}"/>
              </a:ext>
            </a:extLst>
          </p:cNvPr>
          <p:cNvSpPr txBox="1">
            <a:spLocks/>
          </p:cNvSpPr>
          <p:nvPr/>
        </p:nvSpPr>
        <p:spPr>
          <a:xfrm>
            <a:off x="442912" y="0"/>
            <a:ext cx="4344987" cy="6858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l-GR" sz="34800" dirty="0">
                <a:solidFill>
                  <a:srgbClr val="013476"/>
                </a:solidFill>
                <a:latin typeface="Georgia" panose="02040502050405020303" pitchFamily="18" charset="0"/>
              </a:rPr>
              <a:t>5</a:t>
            </a:r>
            <a:endParaRPr lang="en-GB" sz="34800" dirty="0">
              <a:solidFill>
                <a:srgbClr val="013476"/>
              </a:solidFill>
              <a:latin typeface="Georgia" panose="02040502050405020303" pitchFamily="18" charset="0"/>
            </a:endParaRPr>
          </a:p>
        </p:txBody>
      </p:sp>
    </p:spTree>
    <p:extLst>
      <p:ext uri="{BB962C8B-B14F-4D97-AF65-F5344CB8AC3E}">
        <p14:creationId xmlns:p14="http://schemas.microsoft.com/office/powerpoint/2010/main" val="24188328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537FBA04-566C-412E-8BC6-0F8823FEBC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133" name="think-cell Slide" r:id="rId5" imgW="395" imgH="394" progId="TCLayout.ActiveDocument.1">
                  <p:embed/>
                </p:oleObj>
              </mc:Choice>
              <mc:Fallback>
                <p:oleObj name="think-cell Slide" r:id="rId5" imgW="395" imgH="394" progId="TCLayout.ActiveDocument.1">
                  <p:embed/>
                  <p:pic>
                    <p:nvPicPr>
                      <p:cNvPr id="24" name="Object 23" hidden="1">
                        <a:extLst>
                          <a:ext uri="{FF2B5EF4-FFF2-40B4-BE49-F238E27FC236}">
                            <a16:creationId xmlns:a16="http://schemas.microsoft.com/office/drawing/2014/main" id="{537FBA04-566C-412E-8BC6-0F8823FEBC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CF8E5A67-612F-4173-B6B2-B1890EBD5FDC}"/>
              </a:ext>
            </a:extLst>
          </p:cNvPr>
          <p:cNvPicPr>
            <a:picLocks noChangeAspect="1"/>
          </p:cNvPicPr>
          <p:nvPr/>
        </p:nvPicPr>
        <p:blipFill rotWithShape="1">
          <a:blip r:embed="rId7"/>
          <a:srcRect l="62146" b="1686"/>
          <a:stretch/>
        </p:blipFill>
        <p:spPr>
          <a:xfrm>
            <a:off x="-567" y="3044062"/>
            <a:ext cx="1202046" cy="3808534"/>
          </a:xfrm>
          <a:prstGeom prst="rect">
            <a:avLst/>
          </a:prstGeom>
        </p:spPr>
      </p:pic>
      <p:sp>
        <p:nvSpPr>
          <p:cNvPr id="16" name="Google Shape;116;p3">
            <a:extLst>
              <a:ext uri="{FF2B5EF4-FFF2-40B4-BE49-F238E27FC236}">
                <a16:creationId xmlns:a16="http://schemas.microsoft.com/office/drawing/2014/main" id="{2A50C5E4-9855-49FB-96AA-F5AA7C63141D}"/>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Σύνδεση Στρατηγικού και Επιχειρησιακού Σχεδιασμού</a:t>
            </a:r>
          </a:p>
        </p:txBody>
      </p:sp>
      <p:pic>
        <p:nvPicPr>
          <p:cNvPr id="4" name="Picture 3">
            <a:extLst>
              <a:ext uri="{FF2B5EF4-FFF2-40B4-BE49-F238E27FC236}">
                <a16:creationId xmlns:a16="http://schemas.microsoft.com/office/drawing/2014/main" id="{B7752BBB-ADF7-4D05-A454-9BC637AC7DFE}"/>
              </a:ext>
            </a:extLst>
          </p:cNvPr>
          <p:cNvPicPr>
            <a:picLocks noChangeAspect="1"/>
          </p:cNvPicPr>
          <p:nvPr/>
        </p:nvPicPr>
        <p:blipFill>
          <a:blip r:embed="rId8"/>
          <a:stretch>
            <a:fillRect/>
          </a:stretch>
        </p:blipFill>
        <p:spPr>
          <a:xfrm>
            <a:off x="2527378" y="991096"/>
            <a:ext cx="7137244" cy="5733648"/>
          </a:xfrm>
          <a:prstGeom prst="rect">
            <a:avLst/>
          </a:prstGeom>
        </p:spPr>
      </p:pic>
    </p:spTree>
    <p:extLst>
      <p:ext uri="{BB962C8B-B14F-4D97-AF65-F5344CB8AC3E}">
        <p14:creationId xmlns:p14="http://schemas.microsoft.com/office/powerpoint/2010/main" val="42628596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AC568EAC-D4A2-4B7C-9144-B1D3932D0E6D}"/>
              </a:ext>
            </a:extLst>
          </p:cNvPr>
          <p:cNvGraphicFramePr>
            <a:graphicFrameLocks noChangeAspect="1"/>
          </p:cNvGraphicFramePr>
          <p:nvPr>
            <p:custDataLst>
              <p:tags r:id="rId2"/>
            </p:custDataLst>
            <p:extLst>
              <p:ext uri="{D42A27DB-BD31-4B8C-83A1-F6EECF244321}">
                <p14:modId xmlns:p14="http://schemas.microsoft.com/office/powerpoint/2010/main" val="3274182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3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6A15407E-2545-4850-A7B9-849EE5F49A22}"/>
              </a:ext>
            </a:extLst>
          </p:cNvPr>
          <p:cNvPicPr>
            <a:picLocks noChangeAspect="1"/>
          </p:cNvPicPr>
          <p:nvPr/>
        </p:nvPicPr>
        <p:blipFill rotWithShape="1">
          <a:blip r:embed="rId7"/>
          <a:srcRect l="62146" b="1686"/>
          <a:stretch/>
        </p:blipFill>
        <p:spPr>
          <a:xfrm>
            <a:off x="-567" y="3033427"/>
            <a:ext cx="1202046" cy="3808534"/>
          </a:xfrm>
          <a:prstGeom prst="rect">
            <a:avLst/>
          </a:prstGeom>
        </p:spPr>
      </p:pic>
      <p:sp>
        <p:nvSpPr>
          <p:cNvPr id="2" name="TextBox 1">
            <a:extLst>
              <a:ext uri="{FF2B5EF4-FFF2-40B4-BE49-F238E27FC236}">
                <a16:creationId xmlns:a16="http://schemas.microsoft.com/office/drawing/2014/main" id="{02541C1C-4E7A-4EB3-905D-82344AC7486F}"/>
              </a:ext>
            </a:extLst>
          </p:cNvPr>
          <p:cNvSpPr txBox="1"/>
          <p:nvPr/>
        </p:nvSpPr>
        <p:spPr>
          <a:xfrm>
            <a:off x="878272" y="2906053"/>
            <a:ext cx="7184904" cy="584775"/>
          </a:xfrm>
          <a:prstGeom prst="rect">
            <a:avLst/>
          </a:prstGeom>
          <a:noFill/>
        </p:spPr>
        <p:txBody>
          <a:bodyPr wrap="square" rtlCol="0">
            <a:spAutoFit/>
          </a:bodyPr>
          <a:lstStyle/>
          <a:p>
            <a:r>
              <a:rPr lang="el-GR" sz="1600" dirty="0"/>
              <a:t>Υποβολή προτεινόμενων Δράσεων από τις </a:t>
            </a:r>
            <a:r>
              <a:rPr lang="el-GR" sz="1600" b="1" dirty="0"/>
              <a:t>Διπλωματικές και Προξενικές </a:t>
            </a:r>
            <a:r>
              <a:rPr lang="el-GR" sz="1600" dirty="0"/>
              <a:t>Αρχές και οι υπαγόμενες σε αυτές </a:t>
            </a:r>
            <a:r>
              <a:rPr lang="el-GR" sz="1600" b="1" dirty="0"/>
              <a:t>οργανικές μονάδες</a:t>
            </a:r>
            <a:endParaRPr lang="en-GB" sz="1600" b="1" dirty="0"/>
          </a:p>
        </p:txBody>
      </p:sp>
      <p:pic>
        <p:nvPicPr>
          <p:cNvPr id="5" name="Picture 4">
            <a:extLst>
              <a:ext uri="{FF2B5EF4-FFF2-40B4-BE49-F238E27FC236}">
                <a16:creationId xmlns:a16="http://schemas.microsoft.com/office/drawing/2014/main" id="{781F6896-6BF3-4D02-B07E-1382BE5CFF66}"/>
              </a:ext>
            </a:extLst>
          </p:cNvPr>
          <p:cNvPicPr>
            <a:picLocks noChangeAspect="1"/>
          </p:cNvPicPr>
          <p:nvPr/>
        </p:nvPicPr>
        <p:blipFill>
          <a:blip r:embed="rId8"/>
          <a:stretch>
            <a:fillRect/>
          </a:stretch>
        </p:blipFill>
        <p:spPr>
          <a:xfrm>
            <a:off x="8063176" y="1022767"/>
            <a:ext cx="3421688" cy="5544001"/>
          </a:xfrm>
          <a:prstGeom prst="rect">
            <a:avLst/>
          </a:prstGeom>
        </p:spPr>
      </p:pic>
      <p:sp>
        <p:nvSpPr>
          <p:cNvPr id="6" name="TextBox 5">
            <a:extLst>
              <a:ext uri="{FF2B5EF4-FFF2-40B4-BE49-F238E27FC236}">
                <a16:creationId xmlns:a16="http://schemas.microsoft.com/office/drawing/2014/main" id="{9C3B33DF-3867-43E7-9859-953FA7AED4D9}"/>
              </a:ext>
            </a:extLst>
          </p:cNvPr>
          <p:cNvSpPr txBox="1"/>
          <p:nvPr/>
        </p:nvSpPr>
        <p:spPr>
          <a:xfrm>
            <a:off x="874753" y="1400292"/>
            <a:ext cx="7027588" cy="584775"/>
          </a:xfrm>
          <a:prstGeom prst="rect">
            <a:avLst/>
          </a:prstGeom>
          <a:noFill/>
        </p:spPr>
        <p:txBody>
          <a:bodyPr wrap="square" rtlCol="0">
            <a:spAutoFit/>
          </a:bodyPr>
          <a:lstStyle/>
          <a:p>
            <a:r>
              <a:rPr lang="el-GR" sz="1600" dirty="0"/>
              <a:t>Ανάπτυξη </a:t>
            </a:r>
            <a:r>
              <a:rPr lang="el-GR" sz="1600" b="1" dirty="0"/>
              <a:t>Πλατφόρμας καταγραφής </a:t>
            </a:r>
            <a:r>
              <a:rPr lang="el-GR" sz="1600" dirty="0"/>
              <a:t>προτεινόμενων δράσεων</a:t>
            </a:r>
          </a:p>
          <a:p>
            <a:r>
              <a:rPr lang="el-GR" sz="1600" i="1" dirty="0"/>
              <a:t>Οδηγός χρήσης, </a:t>
            </a:r>
            <a:r>
              <a:rPr lang="en-US" sz="1600" i="1" dirty="0"/>
              <a:t>FAQs, video</a:t>
            </a:r>
            <a:endParaRPr lang="en-GB" sz="1600" i="1" dirty="0"/>
          </a:p>
        </p:txBody>
      </p:sp>
      <p:sp>
        <p:nvSpPr>
          <p:cNvPr id="7" name="TextBox 6">
            <a:extLst>
              <a:ext uri="{FF2B5EF4-FFF2-40B4-BE49-F238E27FC236}">
                <a16:creationId xmlns:a16="http://schemas.microsoft.com/office/drawing/2014/main" id="{AA3F1363-2525-4F33-B664-E8AD3281A2D6}"/>
              </a:ext>
            </a:extLst>
          </p:cNvPr>
          <p:cNvSpPr txBox="1"/>
          <p:nvPr/>
        </p:nvSpPr>
        <p:spPr>
          <a:xfrm>
            <a:off x="874753" y="3785774"/>
            <a:ext cx="6872748" cy="584775"/>
          </a:xfrm>
          <a:prstGeom prst="rect">
            <a:avLst/>
          </a:prstGeom>
          <a:noFill/>
        </p:spPr>
        <p:txBody>
          <a:bodyPr wrap="square" rtlCol="0">
            <a:spAutoFit/>
          </a:bodyPr>
          <a:lstStyle/>
          <a:p>
            <a:r>
              <a:rPr lang="el-GR" sz="1600" dirty="0"/>
              <a:t>Εξέταση συνόλου Δράσεων ανά Στόχο ευθύνης προς </a:t>
            </a:r>
            <a:r>
              <a:rPr lang="el-GR" sz="1600" b="1" dirty="0"/>
              <a:t>έγκριση/τροποποίηση/απόρριψη </a:t>
            </a:r>
            <a:r>
              <a:rPr lang="el-GR" sz="1600" dirty="0"/>
              <a:t>από τους Γενικούς Διευθυντές</a:t>
            </a:r>
            <a:endParaRPr lang="en-GB" sz="1600" dirty="0"/>
          </a:p>
        </p:txBody>
      </p:sp>
      <p:sp>
        <p:nvSpPr>
          <p:cNvPr id="8" name="TextBox 7">
            <a:extLst>
              <a:ext uri="{FF2B5EF4-FFF2-40B4-BE49-F238E27FC236}">
                <a16:creationId xmlns:a16="http://schemas.microsoft.com/office/drawing/2014/main" id="{C3EB7E7F-0AB3-4D30-B505-4AD0406731B8}"/>
              </a:ext>
            </a:extLst>
          </p:cNvPr>
          <p:cNvSpPr txBox="1"/>
          <p:nvPr/>
        </p:nvSpPr>
        <p:spPr>
          <a:xfrm>
            <a:off x="874753" y="4666841"/>
            <a:ext cx="6626942" cy="338554"/>
          </a:xfrm>
          <a:prstGeom prst="rect">
            <a:avLst/>
          </a:prstGeom>
          <a:noFill/>
        </p:spPr>
        <p:txBody>
          <a:bodyPr wrap="square" rtlCol="0">
            <a:spAutoFit/>
          </a:bodyPr>
          <a:lstStyle/>
          <a:p>
            <a:r>
              <a:rPr lang="el-GR" sz="1600" dirty="0"/>
              <a:t>Υποβολή Δράσεων από </a:t>
            </a:r>
            <a:r>
              <a:rPr lang="el-GR" sz="1600" b="1" dirty="0"/>
              <a:t>Κεντρική και Περιφερειακή Υπηρεσία</a:t>
            </a:r>
            <a:endParaRPr lang="en-GB" sz="1600" b="1" dirty="0"/>
          </a:p>
        </p:txBody>
      </p:sp>
      <p:sp>
        <p:nvSpPr>
          <p:cNvPr id="9" name="TextBox 8">
            <a:extLst>
              <a:ext uri="{FF2B5EF4-FFF2-40B4-BE49-F238E27FC236}">
                <a16:creationId xmlns:a16="http://schemas.microsoft.com/office/drawing/2014/main" id="{4D0FF60F-3095-46CC-A42C-C1D674DD48B2}"/>
              </a:ext>
            </a:extLst>
          </p:cNvPr>
          <p:cNvSpPr txBox="1"/>
          <p:nvPr/>
        </p:nvSpPr>
        <p:spPr>
          <a:xfrm>
            <a:off x="874753" y="5256951"/>
            <a:ext cx="6493458" cy="338554"/>
          </a:xfrm>
          <a:prstGeom prst="rect">
            <a:avLst/>
          </a:prstGeom>
          <a:noFill/>
        </p:spPr>
        <p:txBody>
          <a:bodyPr wrap="square" rtlCol="0">
            <a:spAutoFit/>
          </a:bodyPr>
          <a:lstStyle/>
          <a:p>
            <a:r>
              <a:rPr lang="el-GR" sz="1600" dirty="0"/>
              <a:t>Υποβολή Δράσεων από </a:t>
            </a:r>
            <a:r>
              <a:rPr lang="el-GR" sz="1600" b="1" dirty="0"/>
              <a:t>Υπηρεσιακή και Πολιτική ηγεσία</a:t>
            </a:r>
            <a:endParaRPr lang="en-GB" sz="1600" b="1" dirty="0"/>
          </a:p>
        </p:txBody>
      </p:sp>
      <p:sp>
        <p:nvSpPr>
          <p:cNvPr id="11" name="TextBox 10">
            <a:extLst>
              <a:ext uri="{FF2B5EF4-FFF2-40B4-BE49-F238E27FC236}">
                <a16:creationId xmlns:a16="http://schemas.microsoft.com/office/drawing/2014/main" id="{60BE642E-D69E-4DDF-BA56-DE0BFCAF0D72}"/>
              </a:ext>
            </a:extLst>
          </p:cNvPr>
          <p:cNvSpPr txBox="1"/>
          <p:nvPr/>
        </p:nvSpPr>
        <p:spPr>
          <a:xfrm>
            <a:off x="874753" y="2093820"/>
            <a:ext cx="7027588" cy="584775"/>
          </a:xfrm>
          <a:prstGeom prst="rect">
            <a:avLst/>
          </a:prstGeom>
          <a:noFill/>
        </p:spPr>
        <p:txBody>
          <a:bodyPr wrap="square" rtlCol="0">
            <a:spAutoFit/>
          </a:bodyPr>
          <a:lstStyle/>
          <a:p>
            <a:r>
              <a:rPr lang="el-GR" sz="1600" b="1" dirty="0"/>
              <a:t>Πιλοτική</a:t>
            </a:r>
            <a:r>
              <a:rPr lang="el-GR" sz="1600" dirty="0"/>
              <a:t> εφαρμογή Πλατφόρμας καταγραφής προτεινόμενων δράσεων σε 25 οργανικές μονάδες – </a:t>
            </a:r>
            <a:r>
              <a:rPr lang="el-GR" sz="1600" b="1" dirty="0"/>
              <a:t>ενσωμάτωση </a:t>
            </a:r>
            <a:r>
              <a:rPr lang="en-US" sz="1600" b="1" dirty="0"/>
              <a:t>feedback</a:t>
            </a:r>
            <a:endParaRPr lang="en-GB" sz="1600" b="1" dirty="0"/>
          </a:p>
        </p:txBody>
      </p:sp>
      <p:sp>
        <p:nvSpPr>
          <p:cNvPr id="17" name="Google Shape;116;p3">
            <a:extLst>
              <a:ext uri="{FF2B5EF4-FFF2-40B4-BE49-F238E27FC236}">
                <a16:creationId xmlns:a16="http://schemas.microsoft.com/office/drawing/2014/main" id="{CC4DE0BB-C8F1-4AE2-8396-2779FA975650}"/>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Κατάρτιση Επιχειρησιακού Σχεδίου 2022 </a:t>
            </a:r>
          </a:p>
        </p:txBody>
      </p:sp>
    </p:spTree>
    <p:extLst>
      <p:ext uri="{BB962C8B-B14F-4D97-AF65-F5344CB8AC3E}">
        <p14:creationId xmlns:p14="http://schemas.microsoft.com/office/powerpoint/2010/main" val="22461622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A2629D4-06B9-4810-8A06-7FB122E3183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56"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id="{BA2629D4-06B9-4810-8A06-7FB122E318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8" name="Google Shape;116;p3">
            <a:extLst>
              <a:ext uri="{FF2B5EF4-FFF2-40B4-BE49-F238E27FC236}">
                <a16:creationId xmlns:a16="http://schemas.microsoft.com/office/drawing/2014/main" id="{A0EB9AEA-98D7-4B9C-AE11-CB156604367D}"/>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Το Επιχειρησιακό Σχέδιο σε αριθμούς</a:t>
            </a:r>
          </a:p>
        </p:txBody>
      </p:sp>
      <p:grpSp>
        <p:nvGrpSpPr>
          <p:cNvPr id="57" name="Group 56">
            <a:extLst>
              <a:ext uri="{FF2B5EF4-FFF2-40B4-BE49-F238E27FC236}">
                <a16:creationId xmlns:a16="http://schemas.microsoft.com/office/drawing/2014/main" id="{1D59A0F0-1FE4-444F-8CFD-6F097BB79564}"/>
              </a:ext>
            </a:extLst>
          </p:cNvPr>
          <p:cNvGrpSpPr/>
          <p:nvPr/>
        </p:nvGrpSpPr>
        <p:grpSpPr>
          <a:xfrm>
            <a:off x="649225" y="1076156"/>
            <a:ext cx="10969354" cy="5561828"/>
            <a:chOff x="1651678" y="991096"/>
            <a:chExt cx="9945635" cy="5561828"/>
          </a:xfrm>
        </p:grpSpPr>
        <p:sp>
          <p:nvSpPr>
            <p:cNvPr id="58" name="TextBox 14">
              <a:extLst>
                <a:ext uri="{FF2B5EF4-FFF2-40B4-BE49-F238E27FC236}">
                  <a16:creationId xmlns:a16="http://schemas.microsoft.com/office/drawing/2014/main" id="{3B8E4A0F-9D23-4D1F-94EA-CE8AD308CD40}"/>
                </a:ext>
              </a:extLst>
            </p:cNvPr>
            <p:cNvSpPr txBox="1"/>
            <p:nvPr/>
          </p:nvSpPr>
          <p:spPr>
            <a:xfrm>
              <a:off x="5698969" y="4702611"/>
              <a:ext cx="1268348" cy="771301"/>
            </a:xfrm>
            <a:prstGeom prst="rect">
              <a:avLst/>
            </a:prstGeom>
          </p:spPr>
          <p:txBody>
            <a:bodyPr wrap="square" lIns="0" tIns="0" rIns="0" bIns="0" rtlCol="0" anchor="t">
              <a:spAutoFit/>
            </a:bodyPr>
            <a:lstStyle/>
            <a:p>
              <a:pPr>
                <a:lnSpc>
                  <a:spcPts val="6440"/>
                </a:lnSpc>
                <a:spcBef>
                  <a:spcPct val="0"/>
                </a:spcBef>
              </a:pPr>
              <a:r>
                <a:rPr lang="en-US" sz="4600" b="1" dirty="0">
                  <a:latin typeface="Migra ExtraBold"/>
                </a:rPr>
                <a:t>2</a:t>
              </a:r>
              <a:r>
                <a:rPr lang="el-GR" sz="4600" b="1" dirty="0">
                  <a:latin typeface="Migra ExtraBold"/>
                </a:rPr>
                <a:t>+2</a:t>
              </a:r>
              <a:r>
                <a:rPr lang="en-US" sz="4600" dirty="0">
                  <a:solidFill>
                    <a:schemeClr val="tx2"/>
                  </a:solidFill>
                  <a:latin typeface="Migra ExtraBold"/>
                </a:rPr>
                <a:t> </a:t>
              </a:r>
            </a:p>
          </p:txBody>
        </p:sp>
        <p:grpSp>
          <p:nvGrpSpPr>
            <p:cNvPr id="60" name="Group 15">
              <a:extLst>
                <a:ext uri="{FF2B5EF4-FFF2-40B4-BE49-F238E27FC236}">
                  <a16:creationId xmlns:a16="http://schemas.microsoft.com/office/drawing/2014/main" id="{F89BEE52-8292-4FF1-8C2B-6F7759E6587D}"/>
                </a:ext>
              </a:extLst>
            </p:cNvPr>
            <p:cNvGrpSpPr/>
            <p:nvPr/>
          </p:nvGrpSpPr>
          <p:grpSpPr>
            <a:xfrm>
              <a:off x="2227812" y="2726200"/>
              <a:ext cx="2630212" cy="1807785"/>
              <a:chOff x="1173287" y="-453531"/>
              <a:chExt cx="5044724" cy="3652756"/>
            </a:xfrm>
          </p:grpSpPr>
          <p:sp>
            <p:nvSpPr>
              <p:cNvPr id="126" name="TextBox 16">
                <a:extLst>
                  <a:ext uri="{FF2B5EF4-FFF2-40B4-BE49-F238E27FC236}">
                    <a16:creationId xmlns:a16="http://schemas.microsoft.com/office/drawing/2014/main" id="{D302A132-F041-412F-B5F1-08A831D2C06A}"/>
                  </a:ext>
                </a:extLst>
              </p:cNvPr>
              <p:cNvSpPr txBox="1"/>
              <p:nvPr/>
            </p:nvSpPr>
            <p:spPr>
              <a:xfrm>
                <a:off x="1173287" y="1094793"/>
                <a:ext cx="5044724" cy="2104432"/>
              </a:xfrm>
              <a:prstGeom prst="rect">
                <a:avLst/>
              </a:prstGeom>
            </p:spPr>
            <p:txBody>
              <a:bodyPr lIns="0" tIns="0" rIns="0" bIns="0" rtlCol="0" anchor="t">
                <a:spAutoFit/>
              </a:bodyPr>
              <a:lstStyle/>
              <a:p>
                <a:r>
                  <a:rPr lang="en-US" sz="1600" dirty="0" err="1"/>
                  <a:t>των</a:t>
                </a:r>
                <a:r>
                  <a:rPr lang="en-US" sz="1600" dirty="0"/>
                  <a:t> </a:t>
                </a:r>
                <a:r>
                  <a:rPr lang="en-US" sz="1600" dirty="0" err="1"/>
                  <a:t>οργ</a:t>
                </a:r>
                <a:r>
                  <a:rPr lang="en-US" sz="1600" dirty="0"/>
                  <a:t>ανικών μονάδων της Εξωτερικής Υπηρεσίας συμμετείχαν</a:t>
                </a:r>
                <a:r>
                  <a:rPr lang="el-GR" sz="1600" dirty="0"/>
                  <a:t> στην κατάρτιση</a:t>
                </a:r>
                <a:endParaRPr lang="en-US" sz="1600" dirty="0"/>
              </a:p>
              <a:p>
                <a:endParaRPr lang="en-US" sz="1968" dirty="0">
                  <a:latin typeface="Fira Sans Light"/>
                </a:endParaRPr>
              </a:p>
            </p:txBody>
          </p:sp>
          <p:sp>
            <p:nvSpPr>
              <p:cNvPr id="129" name="TextBox 17">
                <a:extLst>
                  <a:ext uri="{FF2B5EF4-FFF2-40B4-BE49-F238E27FC236}">
                    <a16:creationId xmlns:a16="http://schemas.microsoft.com/office/drawing/2014/main" id="{C8BF0E0B-F287-467B-8263-06FFA57EEB8C}"/>
                  </a:ext>
                </a:extLst>
              </p:cNvPr>
              <p:cNvSpPr txBox="1"/>
              <p:nvPr/>
            </p:nvSpPr>
            <p:spPr>
              <a:xfrm>
                <a:off x="1189134" y="-453531"/>
                <a:ext cx="2679717" cy="1402997"/>
              </a:xfrm>
              <a:prstGeom prst="rect">
                <a:avLst/>
              </a:prstGeom>
            </p:spPr>
            <p:txBody>
              <a:bodyPr lIns="0" tIns="0" rIns="0" bIns="0" rtlCol="0" anchor="t">
                <a:spAutoFit/>
              </a:bodyPr>
              <a:lstStyle/>
              <a:p>
                <a:pPr>
                  <a:lnSpc>
                    <a:spcPts val="5639"/>
                  </a:lnSpc>
                  <a:spcBef>
                    <a:spcPct val="0"/>
                  </a:spcBef>
                </a:pPr>
                <a:r>
                  <a:rPr lang="en-US" sz="4600" b="1" dirty="0">
                    <a:latin typeface="Migra ExtraBold"/>
                  </a:rPr>
                  <a:t>99%</a:t>
                </a:r>
              </a:p>
            </p:txBody>
          </p:sp>
        </p:grpSp>
        <p:sp>
          <p:nvSpPr>
            <p:cNvPr id="62" name="TextBox 24">
              <a:extLst>
                <a:ext uri="{FF2B5EF4-FFF2-40B4-BE49-F238E27FC236}">
                  <a16:creationId xmlns:a16="http://schemas.microsoft.com/office/drawing/2014/main" id="{C0E97FAD-155C-4321-9ECE-C2A1A07F2378}"/>
                </a:ext>
              </a:extLst>
            </p:cNvPr>
            <p:cNvSpPr txBox="1"/>
            <p:nvPr/>
          </p:nvSpPr>
          <p:spPr>
            <a:xfrm>
              <a:off x="5709658" y="2657398"/>
              <a:ext cx="736632" cy="771301"/>
            </a:xfrm>
            <a:prstGeom prst="rect">
              <a:avLst/>
            </a:prstGeom>
          </p:spPr>
          <p:txBody>
            <a:bodyPr wrap="square" lIns="0" tIns="0" rIns="0" bIns="0" rtlCol="0" anchor="t">
              <a:spAutoFit/>
            </a:bodyPr>
            <a:lstStyle/>
            <a:p>
              <a:pPr>
                <a:lnSpc>
                  <a:spcPts val="6440"/>
                </a:lnSpc>
                <a:spcBef>
                  <a:spcPct val="0"/>
                </a:spcBef>
              </a:pPr>
              <a:r>
                <a:rPr lang="en-US" sz="4600" b="1" dirty="0">
                  <a:latin typeface="Migra ExtraBold"/>
                </a:rPr>
                <a:t>21</a:t>
              </a:r>
            </a:p>
          </p:txBody>
        </p:sp>
        <p:grpSp>
          <p:nvGrpSpPr>
            <p:cNvPr id="63" name="Group 9">
              <a:extLst>
                <a:ext uri="{FF2B5EF4-FFF2-40B4-BE49-F238E27FC236}">
                  <a16:creationId xmlns:a16="http://schemas.microsoft.com/office/drawing/2014/main" id="{375A7660-C967-4A86-858F-6053A3D25E5D}"/>
                </a:ext>
              </a:extLst>
            </p:cNvPr>
            <p:cNvGrpSpPr/>
            <p:nvPr/>
          </p:nvGrpSpPr>
          <p:grpSpPr>
            <a:xfrm>
              <a:off x="2144704" y="4858298"/>
              <a:ext cx="3223396" cy="1694626"/>
              <a:chOff x="1162530" y="-188174"/>
              <a:chExt cx="6182449" cy="3424111"/>
            </a:xfrm>
          </p:grpSpPr>
          <p:sp>
            <p:nvSpPr>
              <p:cNvPr id="124" name="TextBox 10">
                <a:extLst>
                  <a:ext uri="{FF2B5EF4-FFF2-40B4-BE49-F238E27FC236}">
                    <a16:creationId xmlns:a16="http://schemas.microsoft.com/office/drawing/2014/main" id="{4397E61F-C255-4B95-BF2E-8239806FA63C}"/>
                  </a:ext>
                </a:extLst>
              </p:cNvPr>
              <p:cNvSpPr txBox="1"/>
              <p:nvPr/>
            </p:nvSpPr>
            <p:spPr>
              <a:xfrm>
                <a:off x="1367844" y="1121790"/>
                <a:ext cx="5977135" cy="2114147"/>
              </a:xfrm>
              <a:prstGeom prst="rect">
                <a:avLst/>
              </a:prstGeom>
            </p:spPr>
            <p:txBody>
              <a:bodyPr lIns="0" tIns="0" rIns="0" bIns="0" rtlCol="0" anchor="t">
                <a:spAutoFit/>
              </a:bodyPr>
              <a:lstStyle/>
              <a:p>
                <a:r>
                  <a:rPr lang="en-US" sz="1600" dirty="0" err="1"/>
                  <a:t>των</a:t>
                </a:r>
                <a:r>
                  <a:rPr lang="en-US" sz="1600" dirty="0"/>
                  <a:t> </a:t>
                </a:r>
                <a:r>
                  <a:rPr lang="en-US" sz="1600" dirty="0" err="1"/>
                  <a:t>οργ</a:t>
                </a:r>
                <a:r>
                  <a:rPr lang="en-US" sz="1600" dirty="0"/>
                  <a:t>ανικών μονάδων  της Κεντρικής και Περιφερειακής Υπηρεσίας</a:t>
                </a:r>
                <a:r>
                  <a:rPr lang="el-GR" sz="1600" dirty="0"/>
                  <a:t> </a:t>
                </a:r>
                <a:r>
                  <a:rPr lang="en-US" sz="1600" dirty="0" err="1"/>
                  <a:t>συμμετείχ</a:t>
                </a:r>
                <a:r>
                  <a:rPr lang="en-US" sz="1600" dirty="0"/>
                  <a:t>αν</a:t>
                </a:r>
                <a:r>
                  <a:rPr lang="el-GR" sz="1600" dirty="0"/>
                  <a:t> στην κατάρτιση</a:t>
                </a:r>
                <a:endParaRPr lang="en-US" sz="1600" dirty="0"/>
              </a:p>
              <a:p>
                <a:endParaRPr lang="en-US" sz="1999" dirty="0">
                  <a:latin typeface="Fira Sans Light"/>
                </a:endParaRPr>
              </a:p>
            </p:txBody>
          </p:sp>
          <p:sp>
            <p:nvSpPr>
              <p:cNvPr id="125" name="TextBox 11">
                <a:extLst>
                  <a:ext uri="{FF2B5EF4-FFF2-40B4-BE49-F238E27FC236}">
                    <a16:creationId xmlns:a16="http://schemas.microsoft.com/office/drawing/2014/main" id="{F49FB28E-FDBB-4AF9-A939-DCDDD06A43E1}"/>
                  </a:ext>
                </a:extLst>
              </p:cNvPr>
              <p:cNvSpPr txBox="1"/>
              <p:nvPr/>
            </p:nvSpPr>
            <p:spPr>
              <a:xfrm>
                <a:off x="1162530" y="-188174"/>
                <a:ext cx="3175005" cy="1425151"/>
              </a:xfrm>
              <a:prstGeom prst="rect">
                <a:avLst/>
              </a:prstGeom>
            </p:spPr>
            <p:txBody>
              <a:bodyPr lIns="0" tIns="0" rIns="0" bIns="0" rtlCol="0" anchor="t">
                <a:spAutoFit/>
              </a:bodyPr>
              <a:lstStyle/>
              <a:p>
                <a:pPr>
                  <a:lnSpc>
                    <a:spcPts val="5544"/>
                  </a:lnSpc>
                  <a:spcBef>
                    <a:spcPct val="0"/>
                  </a:spcBef>
                </a:pPr>
                <a:r>
                  <a:rPr lang="en-US" sz="4600" b="1" dirty="0">
                    <a:latin typeface="Migra ExtraBold"/>
                  </a:rPr>
                  <a:t> 75%</a:t>
                </a:r>
              </a:p>
            </p:txBody>
          </p:sp>
        </p:grpSp>
        <p:sp>
          <p:nvSpPr>
            <p:cNvPr id="64" name="TextBox 13">
              <a:extLst>
                <a:ext uri="{FF2B5EF4-FFF2-40B4-BE49-F238E27FC236}">
                  <a16:creationId xmlns:a16="http://schemas.microsoft.com/office/drawing/2014/main" id="{2EDFB5CA-0175-49D1-BFEE-8E3FB8928C26}"/>
                </a:ext>
              </a:extLst>
            </p:cNvPr>
            <p:cNvSpPr txBox="1"/>
            <p:nvPr/>
          </p:nvSpPr>
          <p:spPr>
            <a:xfrm>
              <a:off x="5660282" y="5447880"/>
              <a:ext cx="2982767" cy="525400"/>
            </a:xfrm>
            <a:prstGeom prst="rect">
              <a:avLst/>
            </a:prstGeom>
          </p:spPr>
          <p:txBody>
            <a:bodyPr wrap="square" lIns="0" tIns="0" rIns="0" bIns="0" rtlCol="0" anchor="t">
              <a:spAutoFit/>
            </a:bodyPr>
            <a:lstStyle/>
            <a:p>
              <a:pPr>
                <a:lnSpc>
                  <a:spcPts val="2139"/>
                </a:lnSpc>
              </a:pPr>
              <a:r>
                <a:rPr lang="el-GR" sz="1600" dirty="0"/>
                <a:t>σ</a:t>
              </a:r>
              <a:r>
                <a:rPr lang="en-US" sz="1600" dirty="0" err="1"/>
                <a:t>εμινάρι</a:t>
              </a:r>
              <a:r>
                <a:rPr lang="en-US" sz="1600" dirty="0"/>
                <a:t>α</a:t>
              </a:r>
              <a:r>
                <a:rPr lang="el-GR" sz="1600" dirty="0"/>
                <a:t> στρατηγικού και επιχειρησιακού σχεδιασμού</a:t>
              </a:r>
            </a:p>
          </p:txBody>
        </p:sp>
        <p:sp>
          <p:nvSpPr>
            <p:cNvPr id="74" name="Freeform 9">
              <a:extLst>
                <a:ext uri="{FF2B5EF4-FFF2-40B4-BE49-F238E27FC236}">
                  <a16:creationId xmlns:a16="http://schemas.microsoft.com/office/drawing/2014/main" id="{AE3439C4-BA5F-4211-AA74-7C488E40C66B}"/>
                </a:ext>
              </a:extLst>
            </p:cNvPr>
            <p:cNvSpPr>
              <a:spLocks noChangeAspect="1" noEditPoints="1"/>
            </p:cNvSpPr>
            <p:nvPr/>
          </p:nvSpPr>
          <p:spPr bwMode="auto">
            <a:xfrm>
              <a:off x="1701884" y="4937319"/>
              <a:ext cx="475398" cy="452546"/>
            </a:xfrm>
            <a:custGeom>
              <a:avLst/>
              <a:gdLst>
                <a:gd name="T0" fmla="*/ 477 w 576"/>
                <a:gd name="T1" fmla="*/ 552 h 576"/>
                <a:gd name="T2" fmla="*/ 412 w 576"/>
                <a:gd name="T3" fmla="*/ 404 h 576"/>
                <a:gd name="T4" fmla="*/ 312 w 576"/>
                <a:gd name="T5" fmla="*/ 385 h 576"/>
                <a:gd name="T6" fmla="*/ 288 w 576"/>
                <a:gd name="T7" fmla="*/ 399 h 576"/>
                <a:gd name="T8" fmla="*/ 265 w 576"/>
                <a:gd name="T9" fmla="*/ 385 h 576"/>
                <a:gd name="T10" fmla="*/ 209 w 576"/>
                <a:gd name="T11" fmla="*/ 389 h 576"/>
                <a:gd name="T12" fmla="*/ 203 w 576"/>
                <a:gd name="T13" fmla="*/ 341 h 576"/>
                <a:gd name="T14" fmla="*/ 123 w 576"/>
                <a:gd name="T15" fmla="*/ 289 h 576"/>
                <a:gd name="T16" fmla="*/ 99 w 576"/>
                <a:gd name="T17" fmla="*/ 297 h 576"/>
                <a:gd name="T18" fmla="*/ 83 w 576"/>
                <a:gd name="T19" fmla="*/ 297 h 576"/>
                <a:gd name="T20" fmla="*/ 59 w 576"/>
                <a:gd name="T21" fmla="*/ 289 h 576"/>
                <a:gd name="T22" fmla="*/ 24 w 576"/>
                <a:gd name="T23" fmla="*/ 23 h 576"/>
                <a:gd name="T24" fmla="*/ 244 w 576"/>
                <a:gd name="T25" fmla="*/ 0 h 576"/>
                <a:gd name="T26" fmla="*/ 0 w 576"/>
                <a:gd name="T27" fmla="*/ 576 h 576"/>
                <a:gd name="T28" fmla="*/ 135 w 576"/>
                <a:gd name="T29" fmla="*/ 465 h 576"/>
                <a:gd name="T30" fmla="*/ 246 w 576"/>
                <a:gd name="T31" fmla="*/ 401 h 576"/>
                <a:gd name="T32" fmla="*/ 247 w 576"/>
                <a:gd name="T33" fmla="*/ 401 h 576"/>
                <a:gd name="T34" fmla="*/ 288 w 576"/>
                <a:gd name="T35" fmla="*/ 423 h 576"/>
                <a:gd name="T36" fmla="*/ 329 w 576"/>
                <a:gd name="T37" fmla="*/ 402 h 576"/>
                <a:gd name="T38" fmla="*/ 330 w 576"/>
                <a:gd name="T39" fmla="*/ 401 h 576"/>
                <a:gd name="T40" fmla="*/ 441 w 576"/>
                <a:gd name="T41" fmla="*/ 463 h 576"/>
                <a:gd name="T42" fmla="*/ 576 w 576"/>
                <a:gd name="T43" fmla="*/ 576 h 576"/>
                <a:gd name="T44" fmla="*/ 553 w 576"/>
                <a:gd name="T45" fmla="*/ 266 h 576"/>
                <a:gd name="T46" fmla="*/ 100 w 576"/>
                <a:gd name="T47" fmla="*/ 552 h 576"/>
                <a:gd name="T48" fmla="*/ 24 w 576"/>
                <a:gd name="T49" fmla="*/ 326 h 576"/>
                <a:gd name="T50" fmla="*/ 66 w 576"/>
                <a:gd name="T51" fmla="*/ 314 h 576"/>
                <a:gd name="T52" fmla="*/ 116 w 576"/>
                <a:gd name="T53" fmla="*/ 314 h 576"/>
                <a:gd name="T54" fmla="*/ 160 w 576"/>
                <a:gd name="T55" fmla="*/ 326 h 576"/>
                <a:gd name="T56" fmla="*/ 186 w 576"/>
                <a:gd name="T57" fmla="*/ 396 h 576"/>
                <a:gd name="T58" fmla="*/ 112 w 576"/>
                <a:gd name="T59" fmla="*/ 460 h 576"/>
                <a:gd name="T60" fmla="*/ 289 w 576"/>
                <a:gd name="T61" fmla="*/ 186 h 576"/>
                <a:gd name="T62" fmla="*/ 244 w 576"/>
                <a:gd name="T63" fmla="*/ 345 h 576"/>
                <a:gd name="T64" fmla="*/ 334 w 576"/>
                <a:gd name="T65" fmla="*/ 345 h 576"/>
                <a:gd name="T66" fmla="*/ 289 w 576"/>
                <a:gd name="T67" fmla="*/ 186 h 576"/>
                <a:gd name="T68" fmla="*/ 262 w 576"/>
                <a:gd name="T69" fmla="*/ 330 h 576"/>
                <a:gd name="T70" fmla="*/ 289 w 576"/>
                <a:gd name="T71" fmla="*/ 210 h 576"/>
                <a:gd name="T72" fmla="*/ 317 w 576"/>
                <a:gd name="T73" fmla="*/ 330 h 576"/>
                <a:gd name="T74" fmla="*/ 46 w 576"/>
                <a:gd name="T75" fmla="*/ 206 h 576"/>
                <a:gd name="T76" fmla="*/ 92 w 576"/>
                <a:gd name="T77" fmla="*/ 279 h 576"/>
                <a:gd name="T78" fmla="*/ 138 w 576"/>
                <a:gd name="T79" fmla="*/ 206 h 576"/>
                <a:gd name="T80" fmla="*/ 46 w 576"/>
                <a:gd name="T81" fmla="*/ 206 h 576"/>
                <a:gd name="T82" fmla="*/ 79 w 576"/>
                <a:gd name="T83" fmla="*/ 246 h 576"/>
                <a:gd name="T84" fmla="*/ 92 w 576"/>
                <a:gd name="T85" fmla="*/ 180 h 576"/>
                <a:gd name="T86" fmla="*/ 106 w 576"/>
                <a:gd name="T87" fmla="*/ 246 h 576"/>
                <a:gd name="T88" fmla="*/ 576 w 576"/>
                <a:gd name="T89" fmla="*/ 0 h 576"/>
                <a:gd name="T90" fmla="*/ 522 w 576"/>
                <a:gd name="T91" fmla="*/ 237 h 576"/>
                <a:gd name="T92" fmla="*/ 423 w 576"/>
                <a:gd name="T93" fmla="*/ 237 h 576"/>
                <a:gd name="T94" fmla="*/ 381 w 576"/>
                <a:gd name="T95" fmla="*/ 214 h 576"/>
                <a:gd name="T96" fmla="*/ 446 w 576"/>
                <a:gd name="T97" fmla="*/ 282 h 576"/>
                <a:gd name="T98" fmla="*/ 554 w 576"/>
                <a:gd name="T99" fmla="*/ 214 h 576"/>
                <a:gd name="T100" fmla="*/ 300 w 576"/>
                <a:gd name="T101" fmla="*/ 22 h 576"/>
                <a:gd name="T102" fmla="*/ 279 w 576"/>
                <a:gd name="T103" fmla="*/ 161 h 576"/>
                <a:gd name="T104" fmla="*/ 576 w 576"/>
                <a:gd name="T105" fmla="*/ 0 h 576"/>
                <a:gd name="T106" fmla="*/ 356 w 576"/>
                <a:gd name="T107" fmla="*/ 104 h 576"/>
                <a:gd name="T108" fmla="*/ 498 w 576"/>
                <a:gd name="T109" fmla="*/ 82 h 576"/>
                <a:gd name="T110" fmla="*/ 356 w 576"/>
                <a:gd name="T111" fmla="*/ 132 h 576"/>
                <a:gd name="T112" fmla="*/ 498 w 576"/>
                <a:gd name="T113" fmla="*/ 153 h 576"/>
                <a:gd name="T114" fmla="*/ 356 w 576"/>
                <a:gd name="T115" fmla="*/ 13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553" y="552"/>
                  </a:moveTo>
                  <a:cubicBezTo>
                    <a:pt x="477" y="552"/>
                    <a:pt x="477" y="552"/>
                    <a:pt x="477" y="552"/>
                  </a:cubicBezTo>
                  <a:cubicBezTo>
                    <a:pt x="464" y="458"/>
                    <a:pt x="464" y="458"/>
                    <a:pt x="464" y="458"/>
                  </a:cubicBezTo>
                  <a:cubicBezTo>
                    <a:pt x="456" y="433"/>
                    <a:pt x="437" y="412"/>
                    <a:pt x="412" y="404"/>
                  </a:cubicBezTo>
                  <a:cubicBezTo>
                    <a:pt x="338" y="379"/>
                    <a:pt x="338" y="379"/>
                    <a:pt x="338" y="379"/>
                  </a:cubicBezTo>
                  <a:cubicBezTo>
                    <a:pt x="329" y="376"/>
                    <a:pt x="319" y="378"/>
                    <a:pt x="312" y="385"/>
                  </a:cubicBezTo>
                  <a:cubicBezTo>
                    <a:pt x="307" y="391"/>
                    <a:pt x="307" y="391"/>
                    <a:pt x="307" y="391"/>
                  </a:cubicBezTo>
                  <a:cubicBezTo>
                    <a:pt x="302" y="396"/>
                    <a:pt x="295" y="399"/>
                    <a:pt x="288" y="399"/>
                  </a:cubicBezTo>
                  <a:cubicBezTo>
                    <a:pt x="282" y="399"/>
                    <a:pt x="276" y="396"/>
                    <a:pt x="270" y="391"/>
                  </a:cubicBezTo>
                  <a:cubicBezTo>
                    <a:pt x="265" y="385"/>
                    <a:pt x="265" y="385"/>
                    <a:pt x="265" y="385"/>
                  </a:cubicBezTo>
                  <a:cubicBezTo>
                    <a:pt x="258" y="378"/>
                    <a:pt x="248" y="376"/>
                    <a:pt x="238" y="379"/>
                  </a:cubicBezTo>
                  <a:cubicBezTo>
                    <a:pt x="209" y="389"/>
                    <a:pt x="209" y="389"/>
                    <a:pt x="209" y="389"/>
                  </a:cubicBezTo>
                  <a:cubicBezTo>
                    <a:pt x="204" y="342"/>
                    <a:pt x="204" y="342"/>
                    <a:pt x="204" y="342"/>
                  </a:cubicBezTo>
                  <a:cubicBezTo>
                    <a:pt x="203" y="341"/>
                    <a:pt x="203" y="341"/>
                    <a:pt x="203" y="341"/>
                  </a:cubicBezTo>
                  <a:cubicBezTo>
                    <a:pt x="198" y="324"/>
                    <a:pt x="185" y="310"/>
                    <a:pt x="168" y="304"/>
                  </a:cubicBezTo>
                  <a:cubicBezTo>
                    <a:pt x="123" y="289"/>
                    <a:pt x="123" y="289"/>
                    <a:pt x="123" y="289"/>
                  </a:cubicBezTo>
                  <a:cubicBezTo>
                    <a:pt x="116" y="287"/>
                    <a:pt x="108" y="289"/>
                    <a:pt x="103" y="294"/>
                  </a:cubicBezTo>
                  <a:cubicBezTo>
                    <a:pt x="99" y="297"/>
                    <a:pt x="99" y="297"/>
                    <a:pt x="99" y="297"/>
                  </a:cubicBezTo>
                  <a:cubicBezTo>
                    <a:pt x="97" y="300"/>
                    <a:pt x="94" y="301"/>
                    <a:pt x="91" y="301"/>
                  </a:cubicBezTo>
                  <a:cubicBezTo>
                    <a:pt x="88" y="301"/>
                    <a:pt x="85" y="300"/>
                    <a:pt x="83" y="297"/>
                  </a:cubicBezTo>
                  <a:cubicBezTo>
                    <a:pt x="79" y="294"/>
                    <a:pt x="79" y="294"/>
                    <a:pt x="79" y="294"/>
                  </a:cubicBezTo>
                  <a:cubicBezTo>
                    <a:pt x="74" y="289"/>
                    <a:pt x="66" y="287"/>
                    <a:pt x="59" y="289"/>
                  </a:cubicBezTo>
                  <a:cubicBezTo>
                    <a:pt x="24" y="301"/>
                    <a:pt x="24" y="301"/>
                    <a:pt x="24" y="301"/>
                  </a:cubicBezTo>
                  <a:cubicBezTo>
                    <a:pt x="24" y="23"/>
                    <a:pt x="24" y="23"/>
                    <a:pt x="24" y="23"/>
                  </a:cubicBezTo>
                  <a:cubicBezTo>
                    <a:pt x="244" y="23"/>
                    <a:pt x="244" y="23"/>
                    <a:pt x="244" y="23"/>
                  </a:cubicBezTo>
                  <a:cubicBezTo>
                    <a:pt x="244" y="0"/>
                    <a:pt x="244" y="0"/>
                    <a:pt x="244" y="0"/>
                  </a:cubicBezTo>
                  <a:cubicBezTo>
                    <a:pt x="0" y="0"/>
                    <a:pt x="0" y="0"/>
                    <a:pt x="0" y="0"/>
                  </a:cubicBezTo>
                  <a:cubicBezTo>
                    <a:pt x="0" y="576"/>
                    <a:pt x="0" y="576"/>
                    <a:pt x="0" y="576"/>
                  </a:cubicBezTo>
                  <a:cubicBezTo>
                    <a:pt x="121" y="576"/>
                    <a:pt x="121" y="576"/>
                    <a:pt x="121" y="576"/>
                  </a:cubicBezTo>
                  <a:cubicBezTo>
                    <a:pt x="135" y="465"/>
                    <a:pt x="135" y="465"/>
                    <a:pt x="135" y="465"/>
                  </a:cubicBezTo>
                  <a:cubicBezTo>
                    <a:pt x="140" y="447"/>
                    <a:pt x="155" y="432"/>
                    <a:pt x="173" y="426"/>
                  </a:cubicBezTo>
                  <a:cubicBezTo>
                    <a:pt x="246" y="401"/>
                    <a:pt x="246" y="401"/>
                    <a:pt x="246" y="401"/>
                  </a:cubicBezTo>
                  <a:cubicBezTo>
                    <a:pt x="247" y="401"/>
                    <a:pt x="247" y="401"/>
                    <a:pt x="247" y="401"/>
                  </a:cubicBezTo>
                  <a:cubicBezTo>
                    <a:pt x="247" y="401"/>
                    <a:pt x="247" y="401"/>
                    <a:pt x="247" y="401"/>
                  </a:cubicBezTo>
                  <a:cubicBezTo>
                    <a:pt x="253" y="408"/>
                    <a:pt x="253" y="408"/>
                    <a:pt x="253" y="408"/>
                  </a:cubicBezTo>
                  <a:cubicBezTo>
                    <a:pt x="263" y="417"/>
                    <a:pt x="276" y="423"/>
                    <a:pt x="288" y="423"/>
                  </a:cubicBezTo>
                  <a:cubicBezTo>
                    <a:pt x="301" y="423"/>
                    <a:pt x="314" y="417"/>
                    <a:pt x="324" y="408"/>
                  </a:cubicBezTo>
                  <a:cubicBezTo>
                    <a:pt x="329" y="402"/>
                    <a:pt x="329" y="402"/>
                    <a:pt x="329" y="402"/>
                  </a:cubicBezTo>
                  <a:cubicBezTo>
                    <a:pt x="329" y="401"/>
                    <a:pt x="329" y="401"/>
                    <a:pt x="330" y="401"/>
                  </a:cubicBezTo>
                  <a:cubicBezTo>
                    <a:pt x="330" y="401"/>
                    <a:pt x="330" y="401"/>
                    <a:pt x="330" y="401"/>
                  </a:cubicBezTo>
                  <a:cubicBezTo>
                    <a:pt x="404" y="426"/>
                    <a:pt x="404" y="426"/>
                    <a:pt x="404" y="426"/>
                  </a:cubicBezTo>
                  <a:cubicBezTo>
                    <a:pt x="422" y="432"/>
                    <a:pt x="436" y="447"/>
                    <a:pt x="441" y="463"/>
                  </a:cubicBezTo>
                  <a:cubicBezTo>
                    <a:pt x="456" y="576"/>
                    <a:pt x="456" y="576"/>
                    <a:pt x="456" y="576"/>
                  </a:cubicBezTo>
                  <a:cubicBezTo>
                    <a:pt x="576" y="576"/>
                    <a:pt x="576" y="576"/>
                    <a:pt x="576" y="576"/>
                  </a:cubicBezTo>
                  <a:cubicBezTo>
                    <a:pt x="576" y="266"/>
                    <a:pt x="576" y="266"/>
                    <a:pt x="576" y="266"/>
                  </a:cubicBezTo>
                  <a:cubicBezTo>
                    <a:pt x="553" y="266"/>
                    <a:pt x="553" y="266"/>
                    <a:pt x="553" y="266"/>
                  </a:cubicBezTo>
                  <a:lnTo>
                    <a:pt x="553" y="552"/>
                  </a:lnTo>
                  <a:close/>
                  <a:moveTo>
                    <a:pt x="100" y="552"/>
                  </a:moveTo>
                  <a:cubicBezTo>
                    <a:pt x="24" y="552"/>
                    <a:pt x="24" y="552"/>
                    <a:pt x="24" y="552"/>
                  </a:cubicBezTo>
                  <a:cubicBezTo>
                    <a:pt x="24" y="326"/>
                    <a:pt x="24" y="326"/>
                    <a:pt x="24" y="326"/>
                  </a:cubicBezTo>
                  <a:cubicBezTo>
                    <a:pt x="64" y="313"/>
                    <a:pt x="64" y="313"/>
                    <a:pt x="64" y="313"/>
                  </a:cubicBezTo>
                  <a:cubicBezTo>
                    <a:pt x="66" y="314"/>
                    <a:pt x="66" y="314"/>
                    <a:pt x="66" y="314"/>
                  </a:cubicBezTo>
                  <a:cubicBezTo>
                    <a:pt x="72" y="321"/>
                    <a:pt x="82" y="324"/>
                    <a:pt x="91" y="324"/>
                  </a:cubicBezTo>
                  <a:cubicBezTo>
                    <a:pt x="101" y="324"/>
                    <a:pt x="109" y="321"/>
                    <a:pt x="116" y="314"/>
                  </a:cubicBezTo>
                  <a:cubicBezTo>
                    <a:pt x="118" y="313"/>
                    <a:pt x="118" y="313"/>
                    <a:pt x="118" y="313"/>
                  </a:cubicBezTo>
                  <a:cubicBezTo>
                    <a:pt x="160" y="326"/>
                    <a:pt x="160" y="326"/>
                    <a:pt x="160" y="326"/>
                  </a:cubicBezTo>
                  <a:cubicBezTo>
                    <a:pt x="169" y="330"/>
                    <a:pt x="177" y="338"/>
                    <a:pt x="180" y="347"/>
                  </a:cubicBezTo>
                  <a:cubicBezTo>
                    <a:pt x="186" y="396"/>
                    <a:pt x="186" y="396"/>
                    <a:pt x="186" y="396"/>
                  </a:cubicBezTo>
                  <a:cubicBezTo>
                    <a:pt x="165" y="404"/>
                    <a:pt x="165" y="404"/>
                    <a:pt x="165" y="404"/>
                  </a:cubicBezTo>
                  <a:cubicBezTo>
                    <a:pt x="139" y="413"/>
                    <a:pt x="120" y="433"/>
                    <a:pt x="112" y="460"/>
                  </a:cubicBezTo>
                  <a:lnTo>
                    <a:pt x="100" y="552"/>
                  </a:lnTo>
                  <a:close/>
                  <a:moveTo>
                    <a:pt x="289" y="186"/>
                  </a:moveTo>
                  <a:cubicBezTo>
                    <a:pt x="252" y="186"/>
                    <a:pt x="222" y="219"/>
                    <a:pt x="222" y="260"/>
                  </a:cubicBezTo>
                  <a:cubicBezTo>
                    <a:pt x="222" y="301"/>
                    <a:pt x="229" y="329"/>
                    <a:pt x="244" y="345"/>
                  </a:cubicBezTo>
                  <a:cubicBezTo>
                    <a:pt x="257" y="360"/>
                    <a:pt x="268" y="371"/>
                    <a:pt x="289" y="371"/>
                  </a:cubicBezTo>
                  <a:cubicBezTo>
                    <a:pt x="311" y="371"/>
                    <a:pt x="323" y="358"/>
                    <a:pt x="334" y="345"/>
                  </a:cubicBezTo>
                  <a:cubicBezTo>
                    <a:pt x="349" y="329"/>
                    <a:pt x="357" y="300"/>
                    <a:pt x="357" y="260"/>
                  </a:cubicBezTo>
                  <a:cubicBezTo>
                    <a:pt x="357" y="219"/>
                    <a:pt x="326" y="186"/>
                    <a:pt x="289" y="186"/>
                  </a:cubicBezTo>
                  <a:close/>
                  <a:moveTo>
                    <a:pt x="289" y="347"/>
                  </a:moveTo>
                  <a:cubicBezTo>
                    <a:pt x="280" y="347"/>
                    <a:pt x="274" y="343"/>
                    <a:pt x="262" y="330"/>
                  </a:cubicBezTo>
                  <a:cubicBezTo>
                    <a:pt x="251" y="318"/>
                    <a:pt x="246" y="294"/>
                    <a:pt x="246" y="260"/>
                  </a:cubicBezTo>
                  <a:cubicBezTo>
                    <a:pt x="246" y="232"/>
                    <a:pt x="265" y="210"/>
                    <a:pt x="289" y="210"/>
                  </a:cubicBezTo>
                  <a:cubicBezTo>
                    <a:pt x="313" y="210"/>
                    <a:pt x="333" y="232"/>
                    <a:pt x="333" y="260"/>
                  </a:cubicBezTo>
                  <a:cubicBezTo>
                    <a:pt x="333" y="292"/>
                    <a:pt x="327" y="317"/>
                    <a:pt x="317" y="330"/>
                  </a:cubicBezTo>
                  <a:cubicBezTo>
                    <a:pt x="304" y="343"/>
                    <a:pt x="299" y="347"/>
                    <a:pt x="289" y="347"/>
                  </a:cubicBezTo>
                  <a:close/>
                  <a:moveTo>
                    <a:pt x="46" y="206"/>
                  </a:moveTo>
                  <a:cubicBezTo>
                    <a:pt x="46" y="232"/>
                    <a:pt x="51" y="251"/>
                    <a:pt x="61" y="261"/>
                  </a:cubicBezTo>
                  <a:cubicBezTo>
                    <a:pt x="69" y="271"/>
                    <a:pt x="77" y="279"/>
                    <a:pt x="92" y="279"/>
                  </a:cubicBezTo>
                  <a:cubicBezTo>
                    <a:pt x="107" y="279"/>
                    <a:pt x="116" y="270"/>
                    <a:pt x="123" y="261"/>
                  </a:cubicBezTo>
                  <a:cubicBezTo>
                    <a:pt x="133" y="251"/>
                    <a:pt x="138" y="232"/>
                    <a:pt x="138" y="206"/>
                  </a:cubicBezTo>
                  <a:cubicBezTo>
                    <a:pt x="138" y="178"/>
                    <a:pt x="118" y="156"/>
                    <a:pt x="92" y="156"/>
                  </a:cubicBezTo>
                  <a:cubicBezTo>
                    <a:pt x="66" y="156"/>
                    <a:pt x="46" y="178"/>
                    <a:pt x="46" y="206"/>
                  </a:cubicBezTo>
                  <a:close/>
                  <a:moveTo>
                    <a:pt x="92" y="255"/>
                  </a:moveTo>
                  <a:cubicBezTo>
                    <a:pt x="88" y="255"/>
                    <a:pt x="86" y="254"/>
                    <a:pt x="79" y="246"/>
                  </a:cubicBezTo>
                  <a:cubicBezTo>
                    <a:pt x="73" y="239"/>
                    <a:pt x="70" y="226"/>
                    <a:pt x="70" y="206"/>
                  </a:cubicBezTo>
                  <a:cubicBezTo>
                    <a:pt x="70" y="191"/>
                    <a:pt x="79" y="180"/>
                    <a:pt x="92" y="180"/>
                  </a:cubicBezTo>
                  <a:cubicBezTo>
                    <a:pt x="104" y="180"/>
                    <a:pt x="114" y="192"/>
                    <a:pt x="114" y="206"/>
                  </a:cubicBezTo>
                  <a:cubicBezTo>
                    <a:pt x="114" y="224"/>
                    <a:pt x="111" y="239"/>
                    <a:pt x="106" y="246"/>
                  </a:cubicBezTo>
                  <a:cubicBezTo>
                    <a:pt x="98" y="254"/>
                    <a:pt x="95" y="255"/>
                    <a:pt x="92" y="255"/>
                  </a:cubicBezTo>
                  <a:close/>
                  <a:moveTo>
                    <a:pt x="576" y="0"/>
                  </a:moveTo>
                  <a:cubicBezTo>
                    <a:pt x="576" y="237"/>
                    <a:pt x="576" y="237"/>
                    <a:pt x="576" y="237"/>
                  </a:cubicBezTo>
                  <a:cubicBezTo>
                    <a:pt x="522" y="237"/>
                    <a:pt x="522" y="237"/>
                    <a:pt x="522" y="237"/>
                  </a:cubicBezTo>
                  <a:cubicBezTo>
                    <a:pt x="423" y="334"/>
                    <a:pt x="423" y="334"/>
                    <a:pt x="423" y="334"/>
                  </a:cubicBezTo>
                  <a:cubicBezTo>
                    <a:pt x="423" y="237"/>
                    <a:pt x="423" y="237"/>
                    <a:pt x="423" y="237"/>
                  </a:cubicBezTo>
                  <a:cubicBezTo>
                    <a:pt x="381" y="237"/>
                    <a:pt x="381" y="237"/>
                    <a:pt x="381" y="237"/>
                  </a:cubicBezTo>
                  <a:cubicBezTo>
                    <a:pt x="381" y="214"/>
                    <a:pt x="381" y="214"/>
                    <a:pt x="381" y="214"/>
                  </a:cubicBezTo>
                  <a:cubicBezTo>
                    <a:pt x="446" y="214"/>
                    <a:pt x="446" y="214"/>
                    <a:pt x="446" y="214"/>
                  </a:cubicBezTo>
                  <a:cubicBezTo>
                    <a:pt x="446" y="282"/>
                    <a:pt x="446" y="282"/>
                    <a:pt x="446" y="282"/>
                  </a:cubicBezTo>
                  <a:cubicBezTo>
                    <a:pt x="513" y="214"/>
                    <a:pt x="513" y="214"/>
                    <a:pt x="513" y="214"/>
                  </a:cubicBezTo>
                  <a:cubicBezTo>
                    <a:pt x="554" y="214"/>
                    <a:pt x="554" y="214"/>
                    <a:pt x="554" y="214"/>
                  </a:cubicBezTo>
                  <a:cubicBezTo>
                    <a:pt x="554" y="22"/>
                    <a:pt x="554" y="22"/>
                    <a:pt x="554" y="22"/>
                  </a:cubicBezTo>
                  <a:cubicBezTo>
                    <a:pt x="300" y="22"/>
                    <a:pt x="300" y="22"/>
                    <a:pt x="300" y="22"/>
                  </a:cubicBezTo>
                  <a:cubicBezTo>
                    <a:pt x="300" y="161"/>
                    <a:pt x="300" y="161"/>
                    <a:pt x="300" y="161"/>
                  </a:cubicBezTo>
                  <a:cubicBezTo>
                    <a:pt x="279" y="161"/>
                    <a:pt x="279" y="161"/>
                    <a:pt x="279" y="161"/>
                  </a:cubicBezTo>
                  <a:cubicBezTo>
                    <a:pt x="279" y="0"/>
                    <a:pt x="279" y="0"/>
                    <a:pt x="279" y="0"/>
                  </a:cubicBezTo>
                  <a:lnTo>
                    <a:pt x="576" y="0"/>
                  </a:lnTo>
                  <a:close/>
                  <a:moveTo>
                    <a:pt x="498" y="104"/>
                  </a:moveTo>
                  <a:cubicBezTo>
                    <a:pt x="356" y="104"/>
                    <a:pt x="356" y="104"/>
                    <a:pt x="356" y="104"/>
                  </a:cubicBezTo>
                  <a:cubicBezTo>
                    <a:pt x="356" y="82"/>
                    <a:pt x="356" y="82"/>
                    <a:pt x="356" y="82"/>
                  </a:cubicBezTo>
                  <a:cubicBezTo>
                    <a:pt x="498" y="82"/>
                    <a:pt x="498" y="82"/>
                    <a:pt x="498" y="82"/>
                  </a:cubicBezTo>
                  <a:lnTo>
                    <a:pt x="498" y="104"/>
                  </a:lnTo>
                  <a:close/>
                  <a:moveTo>
                    <a:pt x="356" y="132"/>
                  </a:moveTo>
                  <a:cubicBezTo>
                    <a:pt x="498" y="132"/>
                    <a:pt x="498" y="132"/>
                    <a:pt x="498" y="132"/>
                  </a:cubicBezTo>
                  <a:cubicBezTo>
                    <a:pt x="498" y="153"/>
                    <a:pt x="498" y="153"/>
                    <a:pt x="498" y="153"/>
                  </a:cubicBezTo>
                  <a:cubicBezTo>
                    <a:pt x="356" y="153"/>
                    <a:pt x="356" y="153"/>
                    <a:pt x="356" y="153"/>
                  </a:cubicBezTo>
                  <a:lnTo>
                    <a:pt x="356" y="13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a:solidFill>
                  <a:schemeClr val="accent1"/>
                </a:solidFill>
              </a:endParaRPr>
            </a:p>
          </p:txBody>
        </p:sp>
        <p:sp>
          <p:nvSpPr>
            <p:cNvPr id="78" name="Freeform 73">
              <a:extLst>
                <a:ext uri="{FF2B5EF4-FFF2-40B4-BE49-F238E27FC236}">
                  <a16:creationId xmlns:a16="http://schemas.microsoft.com/office/drawing/2014/main" id="{957F1CF7-55BC-4587-B272-46DE4033846B}"/>
                </a:ext>
              </a:extLst>
            </p:cNvPr>
            <p:cNvSpPr>
              <a:spLocks noChangeAspect="1" noEditPoints="1"/>
            </p:cNvSpPr>
            <p:nvPr/>
          </p:nvSpPr>
          <p:spPr bwMode="auto">
            <a:xfrm>
              <a:off x="5104311" y="4912308"/>
              <a:ext cx="475398" cy="452546"/>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4 h 576"/>
                <a:gd name="T16" fmla="*/ 551 w 576"/>
                <a:gd name="T17" fmla="*/ 24 h 576"/>
                <a:gd name="T18" fmla="*/ 551 w 576"/>
                <a:gd name="T19" fmla="*/ 551 h 576"/>
                <a:gd name="T20" fmla="*/ 60 w 576"/>
                <a:gd name="T21" fmla="*/ 238 h 576"/>
                <a:gd name="T22" fmla="*/ 135 w 576"/>
                <a:gd name="T23" fmla="*/ 260 h 576"/>
                <a:gd name="T24" fmla="*/ 135 w 576"/>
                <a:gd name="T25" fmla="*/ 352 h 576"/>
                <a:gd name="T26" fmla="*/ 140 w 576"/>
                <a:gd name="T27" fmla="*/ 355 h 576"/>
                <a:gd name="T28" fmla="*/ 289 w 576"/>
                <a:gd name="T29" fmla="*/ 407 h 576"/>
                <a:gd name="T30" fmla="*/ 416 w 576"/>
                <a:gd name="T31" fmla="*/ 369 h 576"/>
                <a:gd name="T32" fmla="*/ 416 w 576"/>
                <a:gd name="T33" fmla="*/ 406 h 576"/>
                <a:gd name="T34" fmla="*/ 390 w 576"/>
                <a:gd name="T35" fmla="*/ 451 h 576"/>
                <a:gd name="T36" fmla="*/ 411 w 576"/>
                <a:gd name="T37" fmla="*/ 463 h 576"/>
                <a:gd name="T38" fmla="*/ 428 w 576"/>
                <a:gd name="T39" fmla="*/ 434 h 576"/>
                <a:gd name="T40" fmla="*/ 446 w 576"/>
                <a:gd name="T41" fmla="*/ 463 h 576"/>
                <a:gd name="T42" fmla="*/ 467 w 576"/>
                <a:gd name="T43" fmla="*/ 451 h 576"/>
                <a:gd name="T44" fmla="*/ 441 w 576"/>
                <a:gd name="T45" fmla="*/ 406 h 576"/>
                <a:gd name="T46" fmla="*/ 441 w 576"/>
                <a:gd name="T47" fmla="*/ 352 h 576"/>
                <a:gd name="T48" fmla="*/ 441 w 576"/>
                <a:gd name="T49" fmla="*/ 258 h 576"/>
                <a:gd name="T50" fmla="*/ 516 w 576"/>
                <a:gd name="T51" fmla="*/ 236 h 576"/>
                <a:gd name="T52" fmla="*/ 525 w 576"/>
                <a:gd name="T53" fmla="*/ 224 h 576"/>
                <a:gd name="T54" fmla="*/ 516 w 576"/>
                <a:gd name="T55" fmla="*/ 212 h 576"/>
                <a:gd name="T56" fmla="*/ 287 w 576"/>
                <a:gd name="T57" fmla="*/ 151 h 576"/>
                <a:gd name="T58" fmla="*/ 60 w 576"/>
                <a:gd name="T59" fmla="*/ 215 h 576"/>
                <a:gd name="T60" fmla="*/ 51 w 576"/>
                <a:gd name="T61" fmla="*/ 227 h 576"/>
                <a:gd name="T62" fmla="*/ 60 w 576"/>
                <a:gd name="T63" fmla="*/ 238 h 576"/>
                <a:gd name="T64" fmla="*/ 289 w 576"/>
                <a:gd name="T65" fmla="*/ 383 h 576"/>
                <a:gd name="T66" fmla="*/ 160 w 576"/>
                <a:gd name="T67" fmla="*/ 340 h 576"/>
                <a:gd name="T68" fmla="*/ 160 w 576"/>
                <a:gd name="T69" fmla="*/ 267 h 576"/>
                <a:gd name="T70" fmla="*/ 283 w 576"/>
                <a:gd name="T71" fmla="*/ 302 h 576"/>
                <a:gd name="T72" fmla="*/ 283 w 576"/>
                <a:gd name="T73" fmla="*/ 302 h 576"/>
                <a:gd name="T74" fmla="*/ 287 w 576"/>
                <a:gd name="T75" fmla="*/ 302 h 576"/>
                <a:gd name="T76" fmla="*/ 416 w 576"/>
                <a:gd name="T77" fmla="*/ 267 h 576"/>
                <a:gd name="T78" fmla="*/ 416 w 576"/>
                <a:gd name="T79" fmla="*/ 340 h 576"/>
                <a:gd name="T80" fmla="*/ 289 w 576"/>
                <a:gd name="T81" fmla="*/ 383 h 576"/>
                <a:gd name="T82" fmla="*/ 287 w 576"/>
                <a:gd name="T83" fmla="*/ 176 h 576"/>
                <a:gd name="T84" fmla="*/ 467 w 576"/>
                <a:gd name="T85" fmla="*/ 225 h 576"/>
                <a:gd name="T86" fmla="*/ 424 w 576"/>
                <a:gd name="T87" fmla="*/ 237 h 576"/>
                <a:gd name="T88" fmla="*/ 291 w 576"/>
                <a:gd name="T89" fmla="*/ 209 h 576"/>
                <a:gd name="T90" fmla="*/ 276 w 576"/>
                <a:gd name="T91" fmla="*/ 218 h 576"/>
                <a:gd name="T92" fmla="*/ 285 w 576"/>
                <a:gd name="T93" fmla="*/ 233 h 576"/>
                <a:gd name="T94" fmla="*/ 374 w 576"/>
                <a:gd name="T95" fmla="*/ 251 h 576"/>
                <a:gd name="T96" fmla="*/ 287 w 576"/>
                <a:gd name="T97" fmla="*/ 277 h 576"/>
                <a:gd name="T98" fmla="*/ 135 w 576"/>
                <a:gd name="T99" fmla="*/ 234 h 576"/>
                <a:gd name="T100" fmla="*/ 135 w 576"/>
                <a:gd name="T101" fmla="*/ 234 h 576"/>
                <a:gd name="T102" fmla="*/ 108 w 576"/>
                <a:gd name="T103" fmla="*/ 227 h 576"/>
                <a:gd name="T104" fmla="*/ 287 w 576"/>
                <a:gd name="T105" fmla="*/ 1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60" y="238"/>
                  </a:moveTo>
                  <a:cubicBezTo>
                    <a:pt x="135" y="260"/>
                    <a:pt x="135" y="260"/>
                    <a:pt x="135" y="260"/>
                  </a:cubicBezTo>
                  <a:cubicBezTo>
                    <a:pt x="135" y="352"/>
                    <a:pt x="135" y="352"/>
                    <a:pt x="135" y="352"/>
                  </a:cubicBezTo>
                  <a:cubicBezTo>
                    <a:pt x="140" y="355"/>
                    <a:pt x="140" y="355"/>
                    <a:pt x="140" y="355"/>
                  </a:cubicBezTo>
                  <a:cubicBezTo>
                    <a:pt x="182" y="389"/>
                    <a:pt x="235" y="407"/>
                    <a:pt x="289" y="407"/>
                  </a:cubicBezTo>
                  <a:cubicBezTo>
                    <a:pt x="333" y="407"/>
                    <a:pt x="378" y="394"/>
                    <a:pt x="416" y="369"/>
                  </a:cubicBezTo>
                  <a:cubicBezTo>
                    <a:pt x="416" y="406"/>
                    <a:pt x="416" y="406"/>
                    <a:pt x="416" y="406"/>
                  </a:cubicBezTo>
                  <a:cubicBezTo>
                    <a:pt x="390" y="451"/>
                    <a:pt x="390" y="451"/>
                    <a:pt x="390" y="451"/>
                  </a:cubicBezTo>
                  <a:cubicBezTo>
                    <a:pt x="411" y="463"/>
                    <a:pt x="411" y="463"/>
                    <a:pt x="411" y="463"/>
                  </a:cubicBezTo>
                  <a:cubicBezTo>
                    <a:pt x="428" y="434"/>
                    <a:pt x="428" y="434"/>
                    <a:pt x="428" y="434"/>
                  </a:cubicBezTo>
                  <a:cubicBezTo>
                    <a:pt x="446" y="463"/>
                    <a:pt x="446" y="463"/>
                    <a:pt x="446" y="463"/>
                  </a:cubicBezTo>
                  <a:cubicBezTo>
                    <a:pt x="467" y="451"/>
                    <a:pt x="467" y="451"/>
                    <a:pt x="467" y="451"/>
                  </a:cubicBezTo>
                  <a:cubicBezTo>
                    <a:pt x="441" y="406"/>
                    <a:pt x="441" y="406"/>
                    <a:pt x="441" y="406"/>
                  </a:cubicBezTo>
                  <a:cubicBezTo>
                    <a:pt x="441" y="352"/>
                    <a:pt x="441" y="352"/>
                    <a:pt x="441" y="352"/>
                  </a:cubicBezTo>
                  <a:cubicBezTo>
                    <a:pt x="441" y="258"/>
                    <a:pt x="441" y="258"/>
                    <a:pt x="441" y="258"/>
                  </a:cubicBezTo>
                  <a:cubicBezTo>
                    <a:pt x="516" y="236"/>
                    <a:pt x="516" y="236"/>
                    <a:pt x="516" y="236"/>
                  </a:cubicBezTo>
                  <a:cubicBezTo>
                    <a:pt x="522" y="234"/>
                    <a:pt x="525" y="229"/>
                    <a:pt x="525" y="224"/>
                  </a:cubicBezTo>
                  <a:cubicBezTo>
                    <a:pt x="525" y="218"/>
                    <a:pt x="521" y="214"/>
                    <a:pt x="516" y="212"/>
                  </a:cubicBezTo>
                  <a:cubicBezTo>
                    <a:pt x="287" y="151"/>
                    <a:pt x="287" y="151"/>
                    <a:pt x="287" y="151"/>
                  </a:cubicBezTo>
                  <a:cubicBezTo>
                    <a:pt x="60" y="215"/>
                    <a:pt x="60" y="215"/>
                    <a:pt x="60" y="215"/>
                  </a:cubicBezTo>
                  <a:cubicBezTo>
                    <a:pt x="54" y="216"/>
                    <a:pt x="51" y="221"/>
                    <a:pt x="51" y="227"/>
                  </a:cubicBezTo>
                  <a:cubicBezTo>
                    <a:pt x="51" y="232"/>
                    <a:pt x="54" y="237"/>
                    <a:pt x="60" y="238"/>
                  </a:cubicBezTo>
                  <a:close/>
                  <a:moveTo>
                    <a:pt x="289" y="383"/>
                  </a:moveTo>
                  <a:cubicBezTo>
                    <a:pt x="241" y="383"/>
                    <a:pt x="197" y="368"/>
                    <a:pt x="160" y="340"/>
                  </a:cubicBezTo>
                  <a:cubicBezTo>
                    <a:pt x="160" y="267"/>
                    <a:pt x="160" y="267"/>
                    <a:pt x="160" y="267"/>
                  </a:cubicBezTo>
                  <a:cubicBezTo>
                    <a:pt x="283" y="302"/>
                    <a:pt x="283" y="302"/>
                    <a:pt x="283" y="302"/>
                  </a:cubicBezTo>
                  <a:cubicBezTo>
                    <a:pt x="283" y="302"/>
                    <a:pt x="283" y="302"/>
                    <a:pt x="283" y="302"/>
                  </a:cubicBezTo>
                  <a:cubicBezTo>
                    <a:pt x="287" y="302"/>
                    <a:pt x="287" y="302"/>
                    <a:pt x="287" y="302"/>
                  </a:cubicBezTo>
                  <a:cubicBezTo>
                    <a:pt x="416" y="267"/>
                    <a:pt x="416" y="267"/>
                    <a:pt x="416" y="267"/>
                  </a:cubicBezTo>
                  <a:cubicBezTo>
                    <a:pt x="416" y="340"/>
                    <a:pt x="416" y="340"/>
                    <a:pt x="416" y="340"/>
                  </a:cubicBezTo>
                  <a:cubicBezTo>
                    <a:pt x="378" y="368"/>
                    <a:pt x="334" y="383"/>
                    <a:pt x="289" y="383"/>
                  </a:cubicBezTo>
                  <a:close/>
                  <a:moveTo>
                    <a:pt x="287" y="176"/>
                  </a:moveTo>
                  <a:cubicBezTo>
                    <a:pt x="467" y="225"/>
                    <a:pt x="467" y="225"/>
                    <a:pt x="467" y="225"/>
                  </a:cubicBezTo>
                  <a:cubicBezTo>
                    <a:pt x="424" y="237"/>
                    <a:pt x="424" y="237"/>
                    <a:pt x="424" y="237"/>
                  </a:cubicBezTo>
                  <a:cubicBezTo>
                    <a:pt x="291" y="209"/>
                    <a:pt x="291" y="209"/>
                    <a:pt x="291" y="209"/>
                  </a:cubicBezTo>
                  <a:cubicBezTo>
                    <a:pt x="284" y="207"/>
                    <a:pt x="277" y="211"/>
                    <a:pt x="276" y="218"/>
                  </a:cubicBezTo>
                  <a:cubicBezTo>
                    <a:pt x="275" y="225"/>
                    <a:pt x="279" y="231"/>
                    <a:pt x="285" y="233"/>
                  </a:cubicBezTo>
                  <a:cubicBezTo>
                    <a:pt x="374" y="251"/>
                    <a:pt x="374" y="251"/>
                    <a:pt x="374" y="251"/>
                  </a:cubicBezTo>
                  <a:cubicBezTo>
                    <a:pt x="287" y="277"/>
                    <a:pt x="287" y="277"/>
                    <a:pt x="287" y="277"/>
                  </a:cubicBezTo>
                  <a:cubicBezTo>
                    <a:pt x="135" y="234"/>
                    <a:pt x="135" y="234"/>
                    <a:pt x="135" y="234"/>
                  </a:cubicBezTo>
                  <a:cubicBezTo>
                    <a:pt x="135" y="234"/>
                    <a:pt x="135" y="234"/>
                    <a:pt x="135" y="234"/>
                  </a:cubicBezTo>
                  <a:cubicBezTo>
                    <a:pt x="108" y="227"/>
                    <a:pt x="108" y="227"/>
                    <a:pt x="108" y="227"/>
                  </a:cubicBezTo>
                  <a:lnTo>
                    <a:pt x="287" y="17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81" name="Group 18">
              <a:extLst>
                <a:ext uri="{FF2B5EF4-FFF2-40B4-BE49-F238E27FC236}">
                  <a16:creationId xmlns:a16="http://schemas.microsoft.com/office/drawing/2014/main" id="{EAA0BFDB-DFF8-413A-ABE1-C901B370081D}"/>
                </a:ext>
              </a:extLst>
            </p:cNvPr>
            <p:cNvGrpSpPr/>
            <p:nvPr/>
          </p:nvGrpSpPr>
          <p:grpSpPr>
            <a:xfrm>
              <a:off x="2230960" y="1034519"/>
              <a:ext cx="2825786" cy="900406"/>
              <a:chOff x="1218918" y="-83710"/>
              <a:chExt cx="5419833" cy="1819332"/>
            </a:xfrm>
          </p:grpSpPr>
          <p:sp>
            <p:nvSpPr>
              <p:cNvPr id="122" name="TextBox 19">
                <a:extLst>
                  <a:ext uri="{FF2B5EF4-FFF2-40B4-BE49-F238E27FC236}">
                    <a16:creationId xmlns:a16="http://schemas.microsoft.com/office/drawing/2014/main" id="{A3FACEB2-4A58-4D1A-B0E0-1E1A41E01E3D}"/>
                  </a:ext>
                </a:extLst>
              </p:cNvPr>
              <p:cNvSpPr txBox="1"/>
              <p:nvPr/>
            </p:nvSpPr>
            <p:spPr>
              <a:xfrm>
                <a:off x="1218918" y="1100064"/>
                <a:ext cx="5419833" cy="635558"/>
              </a:xfrm>
              <a:prstGeom prst="rect">
                <a:avLst/>
              </a:prstGeom>
            </p:spPr>
            <p:txBody>
              <a:bodyPr lIns="0" tIns="0" rIns="0" bIns="0" rtlCol="0" anchor="t">
                <a:spAutoFit/>
              </a:bodyPr>
              <a:lstStyle/>
              <a:p>
                <a:pPr>
                  <a:lnSpc>
                    <a:spcPts val="2600"/>
                  </a:lnSpc>
                </a:pPr>
                <a:r>
                  <a:rPr lang="en-US" sz="1600" dirty="0" err="1"/>
                  <a:t>εγκεκριμένες</a:t>
                </a:r>
                <a:r>
                  <a:rPr lang="en-US" sz="1600" dirty="0"/>
                  <a:t> </a:t>
                </a:r>
                <a:r>
                  <a:rPr lang="en-US" sz="1600" dirty="0" err="1"/>
                  <a:t>Δράσεις</a:t>
                </a:r>
                <a:r>
                  <a:rPr lang="en-US" sz="1600" dirty="0"/>
                  <a:t> </a:t>
                </a:r>
              </a:p>
            </p:txBody>
          </p:sp>
          <p:sp>
            <p:nvSpPr>
              <p:cNvPr id="123" name="TextBox 20">
                <a:extLst>
                  <a:ext uri="{FF2B5EF4-FFF2-40B4-BE49-F238E27FC236}">
                    <a16:creationId xmlns:a16="http://schemas.microsoft.com/office/drawing/2014/main" id="{1C1E9AF5-0107-4688-9A22-17D90F6DEDE0}"/>
                  </a:ext>
                </a:extLst>
              </p:cNvPr>
              <p:cNvSpPr txBox="1"/>
              <p:nvPr/>
            </p:nvSpPr>
            <p:spPr>
              <a:xfrm>
                <a:off x="1248731" y="-83710"/>
                <a:ext cx="2516041" cy="1402996"/>
              </a:xfrm>
              <a:prstGeom prst="rect">
                <a:avLst/>
              </a:prstGeom>
            </p:spPr>
            <p:txBody>
              <a:bodyPr lIns="0" tIns="0" rIns="0" bIns="0" rtlCol="0" anchor="t">
                <a:spAutoFit/>
              </a:bodyPr>
              <a:lstStyle/>
              <a:p>
                <a:pPr>
                  <a:lnSpc>
                    <a:spcPts val="5570"/>
                  </a:lnSpc>
                  <a:spcBef>
                    <a:spcPct val="0"/>
                  </a:spcBef>
                </a:pPr>
                <a:r>
                  <a:rPr lang="en-US" sz="4600" b="1" dirty="0">
                    <a:latin typeface="Migra ExtraBold"/>
                  </a:rPr>
                  <a:t>3510</a:t>
                </a:r>
              </a:p>
            </p:txBody>
          </p:sp>
        </p:grpSp>
        <p:sp>
          <p:nvSpPr>
            <p:cNvPr id="82" name="TextBox 21">
              <a:extLst>
                <a:ext uri="{FF2B5EF4-FFF2-40B4-BE49-F238E27FC236}">
                  <a16:creationId xmlns:a16="http://schemas.microsoft.com/office/drawing/2014/main" id="{2214778F-8AB9-4761-A100-53572EF4863B}"/>
                </a:ext>
              </a:extLst>
            </p:cNvPr>
            <p:cNvSpPr txBox="1"/>
            <p:nvPr/>
          </p:nvSpPr>
          <p:spPr>
            <a:xfrm>
              <a:off x="5764201" y="1648169"/>
              <a:ext cx="825616" cy="651460"/>
            </a:xfrm>
            <a:prstGeom prst="rect">
              <a:avLst/>
            </a:prstGeom>
          </p:spPr>
          <p:txBody>
            <a:bodyPr lIns="0" tIns="0" rIns="0" bIns="0" rtlCol="0" anchor="t">
              <a:spAutoFit/>
            </a:bodyPr>
            <a:lstStyle/>
            <a:p>
              <a:pPr>
                <a:lnSpc>
                  <a:spcPts val="2599"/>
                </a:lnSpc>
              </a:pPr>
              <a:r>
                <a:rPr lang="en-US" sz="1600" dirty="0" err="1"/>
                <a:t>χώρες</a:t>
              </a:r>
              <a:endParaRPr lang="en-US" sz="1600" dirty="0"/>
            </a:p>
            <a:p>
              <a:pPr>
                <a:lnSpc>
                  <a:spcPts val="2599"/>
                </a:lnSpc>
              </a:pPr>
              <a:endParaRPr lang="en-US" sz="1999" dirty="0">
                <a:latin typeface="Fira Sans Light Bold"/>
              </a:endParaRPr>
            </a:p>
          </p:txBody>
        </p:sp>
        <p:sp>
          <p:nvSpPr>
            <p:cNvPr id="83" name="TextBox 22">
              <a:extLst>
                <a:ext uri="{FF2B5EF4-FFF2-40B4-BE49-F238E27FC236}">
                  <a16:creationId xmlns:a16="http://schemas.microsoft.com/office/drawing/2014/main" id="{DFEE6D0C-4B75-4F08-A10D-8DFB7F25E1CC}"/>
                </a:ext>
              </a:extLst>
            </p:cNvPr>
            <p:cNvSpPr txBox="1"/>
            <p:nvPr/>
          </p:nvSpPr>
          <p:spPr>
            <a:xfrm>
              <a:off x="5730693" y="1007888"/>
              <a:ext cx="762657" cy="709105"/>
            </a:xfrm>
            <a:prstGeom prst="rect">
              <a:avLst/>
            </a:prstGeom>
          </p:spPr>
          <p:txBody>
            <a:bodyPr lIns="0" tIns="0" rIns="0" bIns="0" rtlCol="0" anchor="t">
              <a:spAutoFit/>
            </a:bodyPr>
            <a:lstStyle/>
            <a:p>
              <a:pPr>
                <a:lnSpc>
                  <a:spcPts val="5856"/>
                </a:lnSpc>
                <a:spcBef>
                  <a:spcPct val="0"/>
                </a:spcBef>
              </a:pPr>
              <a:r>
                <a:rPr lang="en-US" sz="4183" b="1" dirty="0">
                  <a:latin typeface="Migra ExtraBold"/>
                </a:rPr>
                <a:t>85</a:t>
              </a:r>
              <a:r>
                <a:rPr lang="en-US" sz="4183" dirty="0">
                  <a:latin typeface="Migra ExtraBold"/>
                </a:rPr>
                <a:t> </a:t>
              </a:r>
            </a:p>
          </p:txBody>
        </p:sp>
        <p:grpSp>
          <p:nvGrpSpPr>
            <p:cNvPr id="84" name="Group 83">
              <a:extLst>
                <a:ext uri="{FF2B5EF4-FFF2-40B4-BE49-F238E27FC236}">
                  <a16:creationId xmlns:a16="http://schemas.microsoft.com/office/drawing/2014/main" id="{0BF0E919-0E8F-4C98-B844-68B48614F02D}"/>
                </a:ext>
              </a:extLst>
            </p:cNvPr>
            <p:cNvGrpSpPr/>
            <p:nvPr/>
          </p:nvGrpSpPr>
          <p:grpSpPr>
            <a:xfrm>
              <a:off x="8257038" y="991096"/>
              <a:ext cx="3340275" cy="1514599"/>
              <a:chOff x="7363774" y="1523488"/>
              <a:chExt cx="2736042" cy="1530177"/>
            </a:xfrm>
          </p:grpSpPr>
          <p:sp>
            <p:nvSpPr>
              <p:cNvPr id="120" name="TextBox 12">
                <a:extLst>
                  <a:ext uri="{FF2B5EF4-FFF2-40B4-BE49-F238E27FC236}">
                    <a16:creationId xmlns:a16="http://schemas.microsoft.com/office/drawing/2014/main" id="{D5384676-4B00-4ED4-91FC-EB4D76BC2EDA}"/>
                  </a:ext>
                </a:extLst>
              </p:cNvPr>
              <p:cNvSpPr txBox="1"/>
              <p:nvPr/>
            </p:nvSpPr>
            <p:spPr>
              <a:xfrm>
                <a:off x="7528301" y="2215093"/>
                <a:ext cx="2571515" cy="838572"/>
              </a:xfrm>
              <a:prstGeom prst="rect">
                <a:avLst/>
              </a:prstGeom>
            </p:spPr>
            <p:txBody>
              <a:bodyPr wrap="square" lIns="0" tIns="0" rIns="0" bIns="0" rtlCol="0" anchor="t">
                <a:spAutoFit/>
              </a:bodyPr>
              <a:lstStyle/>
              <a:p>
                <a:pPr>
                  <a:lnSpc>
                    <a:spcPts val="1972"/>
                  </a:lnSpc>
                </a:pPr>
                <a:r>
                  <a:rPr lang="en-US" sz="1600" dirty="0"/>
                  <a:t>υπ</a:t>
                </a:r>
                <a:r>
                  <a:rPr lang="en-US" sz="1600" dirty="0" err="1"/>
                  <a:t>άλληλοι</a:t>
                </a:r>
                <a:r>
                  <a:rPr lang="en-US" sz="1600" dirty="0"/>
                  <a:t> </a:t>
                </a:r>
                <a:r>
                  <a:rPr lang="en-US" sz="1600" dirty="0" err="1"/>
                  <a:t>συνέ</a:t>
                </a:r>
                <a:r>
                  <a:rPr lang="en-US" sz="1600" dirty="0"/>
                  <a:t>βαλαν ενεργά στην κατάρτιση του </a:t>
                </a:r>
                <a:r>
                  <a:rPr lang="el-GR" sz="1600" dirty="0"/>
                  <a:t>Ε</a:t>
                </a:r>
                <a:r>
                  <a:rPr lang="en-US" sz="1600" dirty="0"/>
                  <a:t>π</a:t>
                </a:r>
                <a:r>
                  <a:rPr lang="en-US" sz="1600" dirty="0" err="1"/>
                  <a:t>ιχειρησι</a:t>
                </a:r>
                <a:r>
                  <a:rPr lang="en-US" sz="1600" dirty="0"/>
                  <a:t>ακού </a:t>
                </a:r>
                <a:r>
                  <a:rPr lang="el-GR" sz="1600" dirty="0"/>
                  <a:t>Σ</a:t>
                </a:r>
                <a:r>
                  <a:rPr lang="en-US" sz="1600" dirty="0" err="1"/>
                  <a:t>χεδίου</a:t>
                </a:r>
                <a:r>
                  <a:rPr lang="en-US" sz="1600" dirty="0"/>
                  <a:t> </a:t>
                </a:r>
              </a:p>
              <a:p>
                <a:pPr>
                  <a:lnSpc>
                    <a:spcPts val="2564"/>
                  </a:lnSpc>
                </a:pPr>
                <a:endParaRPr lang="en-US" sz="1972" dirty="0">
                  <a:latin typeface="Fira Sans Light"/>
                </a:endParaRPr>
              </a:p>
            </p:txBody>
          </p:sp>
          <p:sp>
            <p:nvSpPr>
              <p:cNvPr id="121" name="TextBox 23">
                <a:extLst>
                  <a:ext uri="{FF2B5EF4-FFF2-40B4-BE49-F238E27FC236}">
                    <a16:creationId xmlns:a16="http://schemas.microsoft.com/office/drawing/2014/main" id="{CFEDE8EF-A70D-4933-9384-0A694F1F1CBF}"/>
                  </a:ext>
                </a:extLst>
              </p:cNvPr>
              <p:cNvSpPr txBox="1"/>
              <p:nvPr/>
            </p:nvSpPr>
            <p:spPr>
              <a:xfrm>
                <a:off x="7363774" y="1523488"/>
                <a:ext cx="1288681" cy="701499"/>
              </a:xfrm>
              <a:prstGeom prst="rect">
                <a:avLst/>
              </a:prstGeom>
            </p:spPr>
            <p:txBody>
              <a:bodyPr lIns="0" tIns="0" rIns="0" bIns="0" rtlCol="0" anchor="t">
                <a:spAutoFit/>
              </a:bodyPr>
              <a:lstStyle/>
              <a:p>
                <a:pPr algn="ctr">
                  <a:lnSpc>
                    <a:spcPts val="5558"/>
                  </a:lnSpc>
                  <a:spcBef>
                    <a:spcPct val="0"/>
                  </a:spcBef>
                </a:pPr>
                <a:r>
                  <a:rPr lang="en-US" sz="4600" b="1" dirty="0">
                    <a:latin typeface="Migra ExtraBold"/>
                  </a:rPr>
                  <a:t>&gt;750</a:t>
                </a:r>
              </a:p>
            </p:txBody>
          </p:sp>
        </p:grpSp>
        <p:sp>
          <p:nvSpPr>
            <p:cNvPr id="85" name="Freeform 33">
              <a:extLst>
                <a:ext uri="{FF2B5EF4-FFF2-40B4-BE49-F238E27FC236}">
                  <a16:creationId xmlns:a16="http://schemas.microsoft.com/office/drawing/2014/main" id="{E63E44BB-CE8F-48A1-B5B1-56BF0074A234}"/>
                </a:ext>
              </a:extLst>
            </p:cNvPr>
            <p:cNvSpPr>
              <a:spLocks noChangeAspect="1" noEditPoints="1"/>
            </p:cNvSpPr>
            <p:nvPr/>
          </p:nvSpPr>
          <p:spPr bwMode="auto">
            <a:xfrm>
              <a:off x="1651678" y="1167835"/>
              <a:ext cx="475398" cy="452546"/>
            </a:xfrm>
            <a:custGeom>
              <a:avLst/>
              <a:gdLst>
                <a:gd name="T0" fmla="*/ 0 w 576"/>
                <a:gd name="T1" fmla="*/ 576 h 576"/>
                <a:gd name="T2" fmla="*/ 576 w 576"/>
                <a:gd name="T3" fmla="*/ 0 h 576"/>
                <a:gd name="T4" fmla="*/ 553 w 576"/>
                <a:gd name="T5" fmla="*/ 552 h 576"/>
                <a:gd name="T6" fmla="*/ 113 w 576"/>
                <a:gd name="T7" fmla="*/ 478 h 576"/>
                <a:gd name="T8" fmla="*/ 295 w 576"/>
                <a:gd name="T9" fmla="*/ 390 h 576"/>
                <a:gd name="T10" fmla="*/ 71 w 576"/>
                <a:gd name="T11" fmla="*/ 390 h 576"/>
                <a:gd name="T12" fmla="*/ 23 w 576"/>
                <a:gd name="T13" fmla="*/ 533 h 576"/>
                <a:gd name="T14" fmla="*/ 553 w 576"/>
                <a:gd name="T15" fmla="*/ 23 h 576"/>
                <a:gd name="T16" fmla="*/ 95 w 576"/>
                <a:gd name="T17" fmla="*/ 390 h 576"/>
                <a:gd name="T18" fmla="*/ 271 w 576"/>
                <a:gd name="T19" fmla="*/ 390 h 576"/>
                <a:gd name="T20" fmla="*/ 95 w 576"/>
                <a:gd name="T21" fmla="*/ 390 h 576"/>
                <a:gd name="T22" fmla="*/ 149 w 576"/>
                <a:gd name="T23" fmla="*/ 122 h 576"/>
                <a:gd name="T24" fmla="*/ 84 w 576"/>
                <a:gd name="T25" fmla="*/ 122 h 576"/>
                <a:gd name="T26" fmla="*/ 117 w 576"/>
                <a:gd name="T27" fmla="*/ 178 h 576"/>
                <a:gd name="T28" fmla="*/ 105 w 576"/>
                <a:gd name="T29" fmla="*/ 134 h 576"/>
                <a:gd name="T30" fmla="*/ 129 w 576"/>
                <a:gd name="T31" fmla="*/ 134 h 576"/>
                <a:gd name="T32" fmla="*/ 117 w 576"/>
                <a:gd name="T33" fmla="*/ 154 h 576"/>
                <a:gd name="T34" fmla="*/ 105 w 576"/>
                <a:gd name="T35" fmla="*/ 134 h 576"/>
                <a:gd name="T36" fmla="*/ 321 w 576"/>
                <a:gd name="T37" fmla="*/ 188 h 576"/>
                <a:gd name="T38" fmla="*/ 256 w 576"/>
                <a:gd name="T39" fmla="*/ 188 h 576"/>
                <a:gd name="T40" fmla="*/ 289 w 576"/>
                <a:gd name="T41" fmla="*/ 245 h 576"/>
                <a:gd name="T42" fmla="*/ 277 w 576"/>
                <a:gd name="T43" fmla="*/ 200 h 576"/>
                <a:gd name="T44" fmla="*/ 301 w 576"/>
                <a:gd name="T45" fmla="*/ 200 h 576"/>
                <a:gd name="T46" fmla="*/ 289 w 576"/>
                <a:gd name="T47" fmla="*/ 221 h 576"/>
                <a:gd name="T48" fmla="*/ 277 w 576"/>
                <a:gd name="T49" fmla="*/ 200 h 576"/>
                <a:gd name="T50" fmla="*/ 480 w 576"/>
                <a:gd name="T51" fmla="*/ 122 h 576"/>
                <a:gd name="T52" fmla="*/ 415 w 576"/>
                <a:gd name="T53" fmla="*/ 122 h 576"/>
                <a:gd name="T54" fmla="*/ 448 w 576"/>
                <a:gd name="T55" fmla="*/ 178 h 576"/>
                <a:gd name="T56" fmla="*/ 436 w 576"/>
                <a:gd name="T57" fmla="*/ 134 h 576"/>
                <a:gd name="T58" fmla="*/ 460 w 576"/>
                <a:gd name="T59" fmla="*/ 134 h 576"/>
                <a:gd name="T60" fmla="*/ 448 w 576"/>
                <a:gd name="T61" fmla="*/ 154 h 576"/>
                <a:gd name="T62" fmla="*/ 436 w 576"/>
                <a:gd name="T63" fmla="*/ 134 h 576"/>
                <a:gd name="T64" fmla="*/ 454 w 576"/>
                <a:gd name="T65" fmla="*/ 516 h 576"/>
                <a:gd name="T66" fmla="*/ 388 w 576"/>
                <a:gd name="T67" fmla="*/ 403 h 576"/>
                <a:gd name="T68" fmla="*/ 322 w 576"/>
                <a:gd name="T69" fmla="*/ 516 h 576"/>
                <a:gd name="T70" fmla="*/ 376 w 576"/>
                <a:gd name="T71" fmla="*/ 471 h 576"/>
                <a:gd name="T72" fmla="*/ 400 w 576"/>
                <a:gd name="T73" fmla="*/ 471 h 576"/>
                <a:gd name="T74" fmla="*/ 388 w 576"/>
                <a:gd name="T75" fmla="*/ 492 h 576"/>
                <a:gd name="T76" fmla="*/ 376 w 576"/>
                <a:gd name="T77" fmla="*/ 471 h 576"/>
                <a:gd name="T78" fmla="*/ 474 w 576"/>
                <a:gd name="T79" fmla="*/ 294 h 576"/>
                <a:gd name="T80" fmla="*/ 408 w 576"/>
                <a:gd name="T81" fmla="*/ 294 h 576"/>
                <a:gd name="T82" fmla="*/ 441 w 576"/>
                <a:gd name="T83" fmla="*/ 351 h 576"/>
                <a:gd name="T84" fmla="*/ 429 w 576"/>
                <a:gd name="T85" fmla="*/ 306 h 576"/>
                <a:gd name="T86" fmla="*/ 453 w 576"/>
                <a:gd name="T87" fmla="*/ 306 h 576"/>
                <a:gd name="T88" fmla="*/ 441 w 576"/>
                <a:gd name="T89" fmla="*/ 327 h 576"/>
                <a:gd name="T90" fmla="*/ 429 w 576"/>
                <a:gd name="T91" fmla="*/ 306 h 576"/>
                <a:gd name="T92" fmla="*/ 132 w 576"/>
                <a:gd name="T93" fmla="*/ 440 h 576"/>
                <a:gd name="T94" fmla="*/ 232 w 576"/>
                <a:gd name="T95" fmla="*/ 34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3" y="552"/>
                  </a:moveTo>
                  <a:cubicBezTo>
                    <a:pt x="38" y="552"/>
                    <a:pt x="38" y="552"/>
                    <a:pt x="38" y="552"/>
                  </a:cubicBezTo>
                  <a:cubicBezTo>
                    <a:pt x="113" y="478"/>
                    <a:pt x="113" y="478"/>
                    <a:pt x="113" y="478"/>
                  </a:cubicBezTo>
                  <a:cubicBezTo>
                    <a:pt x="132" y="493"/>
                    <a:pt x="156" y="502"/>
                    <a:pt x="183" y="502"/>
                  </a:cubicBezTo>
                  <a:cubicBezTo>
                    <a:pt x="245" y="502"/>
                    <a:pt x="295" y="452"/>
                    <a:pt x="295" y="390"/>
                  </a:cubicBezTo>
                  <a:cubicBezTo>
                    <a:pt x="295" y="328"/>
                    <a:pt x="245" y="278"/>
                    <a:pt x="183" y="278"/>
                  </a:cubicBezTo>
                  <a:cubicBezTo>
                    <a:pt x="121" y="278"/>
                    <a:pt x="71" y="328"/>
                    <a:pt x="71" y="390"/>
                  </a:cubicBezTo>
                  <a:cubicBezTo>
                    <a:pt x="71" y="417"/>
                    <a:pt x="80" y="442"/>
                    <a:pt x="96" y="461"/>
                  </a:cubicBezTo>
                  <a:cubicBezTo>
                    <a:pt x="23" y="533"/>
                    <a:pt x="23" y="533"/>
                    <a:pt x="23" y="533"/>
                  </a:cubicBezTo>
                  <a:cubicBezTo>
                    <a:pt x="23" y="23"/>
                    <a:pt x="23" y="23"/>
                    <a:pt x="23" y="23"/>
                  </a:cubicBezTo>
                  <a:cubicBezTo>
                    <a:pt x="553" y="23"/>
                    <a:pt x="553" y="23"/>
                    <a:pt x="553" y="23"/>
                  </a:cubicBezTo>
                  <a:lnTo>
                    <a:pt x="553" y="552"/>
                  </a:lnTo>
                  <a:close/>
                  <a:moveTo>
                    <a:pt x="95" y="390"/>
                  </a:moveTo>
                  <a:cubicBezTo>
                    <a:pt x="95" y="341"/>
                    <a:pt x="134" y="302"/>
                    <a:pt x="183" y="302"/>
                  </a:cubicBezTo>
                  <a:cubicBezTo>
                    <a:pt x="232" y="302"/>
                    <a:pt x="271" y="341"/>
                    <a:pt x="271" y="390"/>
                  </a:cubicBezTo>
                  <a:cubicBezTo>
                    <a:pt x="271" y="439"/>
                    <a:pt x="232" y="478"/>
                    <a:pt x="183" y="478"/>
                  </a:cubicBezTo>
                  <a:cubicBezTo>
                    <a:pt x="134" y="478"/>
                    <a:pt x="95" y="439"/>
                    <a:pt x="95" y="390"/>
                  </a:cubicBezTo>
                  <a:close/>
                  <a:moveTo>
                    <a:pt x="182" y="178"/>
                  </a:moveTo>
                  <a:cubicBezTo>
                    <a:pt x="149" y="122"/>
                    <a:pt x="149" y="122"/>
                    <a:pt x="149" y="122"/>
                  </a:cubicBezTo>
                  <a:cubicBezTo>
                    <a:pt x="117" y="65"/>
                    <a:pt x="117" y="65"/>
                    <a:pt x="117" y="65"/>
                  </a:cubicBezTo>
                  <a:cubicBezTo>
                    <a:pt x="84" y="122"/>
                    <a:pt x="84" y="122"/>
                    <a:pt x="84" y="122"/>
                  </a:cubicBezTo>
                  <a:cubicBezTo>
                    <a:pt x="51" y="178"/>
                    <a:pt x="51" y="178"/>
                    <a:pt x="51" y="178"/>
                  </a:cubicBezTo>
                  <a:cubicBezTo>
                    <a:pt x="117" y="178"/>
                    <a:pt x="117" y="178"/>
                    <a:pt x="117" y="178"/>
                  </a:cubicBezTo>
                  <a:lnTo>
                    <a:pt x="182" y="178"/>
                  </a:lnTo>
                  <a:close/>
                  <a:moveTo>
                    <a:pt x="105" y="134"/>
                  </a:moveTo>
                  <a:cubicBezTo>
                    <a:pt x="117" y="113"/>
                    <a:pt x="117" y="113"/>
                    <a:pt x="117" y="113"/>
                  </a:cubicBezTo>
                  <a:cubicBezTo>
                    <a:pt x="129" y="134"/>
                    <a:pt x="129" y="134"/>
                    <a:pt x="129" y="134"/>
                  </a:cubicBezTo>
                  <a:cubicBezTo>
                    <a:pt x="141" y="154"/>
                    <a:pt x="141" y="154"/>
                    <a:pt x="141" y="154"/>
                  </a:cubicBezTo>
                  <a:cubicBezTo>
                    <a:pt x="117" y="154"/>
                    <a:pt x="117" y="154"/>
                    <a:pt x="117" y="154"/>
                  </a:cubicBezTo>
                  <a:cubicBezTo>
                    <a:pt x="93" y="154"/>
                    <a:pt x="93" y="154"/>
                    <a:pt x="93" y="154"/>
                  </a:cubicBezTo>
                  <a:lnTo>
                    <a:pt x="105" y="134"/>
                  </a:lnTo>
                  <a:close/>
                  <a:moveTo>
                    <a:pt x="354" y="245"/>
                  </a:moveTo>
                  <a:cubicBezTo>
                    <a:pt x="321" y="188"/>
                    <a:pt x="321" y="188"/>
                    <a:pt x="321" y="188"/>
                  </a:cubicBezTo>
                  <a:cubicBezTo>
                    <a:pt x="289" y="131"/>
                    <a:pt x="289" y="131"/>
                    <a:pt x="289" y="131"/>
                  </a:cubicBezTo>
                  <a:cubicBezTo>
                    <a:pt x="256" y="188"/>
                    <a:pt x="256" y="188"/>
                    <a:pt x="256" y="188"/>
                  </a:cubicBezTo>
                  <a:cubicBezTo>
                    <a:pt x="223" y="245"/>
                    <a:pt x="223" y="245"/>
                    <a:pt x="223" y="245"/>
                  </a:cubicBezTo>
                  <a:cubicBezTo>
                    <a:pt x="289" y="245"/>
                    <a:pt x="289" y="245"/>
                    <a:pt x="289" y="245"/>
                  </a:cubicBezTo>
                  <a:lnTo>
                    <a:pt x="354" y="245"/>
                  </a:lnTo>
                  <a:close/>
                  <a:moveTo>
                    <a:pt x="277" y="200"/>
                  </a:moveTo>
                  <a:cubicBezTo>
                    <a:pt x="289" y="179"/>
                    <a:pt x="289" y="179"/>
                    <a:pt x="289" y="179"/>
                  </a:cubicBezTo>
                  <a:cubicBezTo>
                    <a:pt x="301" y="200"/>
                    <a:pt x="301" y="200"/>
                    <a:pt x="301" y="200"/>
                  </a:cubicBezTo>
                  <a:cubicBezTo>
                    <a:pt x="313" y="221"/>
                    <a:pt x="313" y="221"/>
                    <a:pt x="313" y="221"/>
                  </a:cubicBezTo>
                  <a:cubicBezTo>
                    <a:pt x="289" y="221"/>
                    <a:pt x="289" y="221"/>
                    <a:pt x="289" y="221"/>
                  </a:cubicBezTo>
                  <a:cubicBezTo>
                    <a:pt x="265" y="221"/>
                    <a:pt x="265" y="221"/>
                    <a:pt x="265" y="221"/>
                  </a:cubicBezTo>
                  <a:lnTo>
                    <a:pt x="277" y="200"/>
                  </a:lnTo>
                  <a:close/>
                  <a:moveTo>
                    <a:pt x="513" y="178"/>
                  </a:moveTo>
                  <a:cubicBezTo>
                    <a:pt x="480" y="122"/>
                    <a:pt x="480" y="122"/>
                    <a:pt x="480" y="122"/>
                  </a:cubicBezTo>
                  <a:cubicBezTo>
                    <a:pt x="448" y="65"/>
                    <a:pt x="448" y="65"/>
                    <a:pt x="448" y="65"/>
                  </a:cubicBezTo>
                  <a:cubicBezTo>
                    <a:pt x="415" y="122"/>
                    <a:pt x="415" y="122"/>
                    <a:pt x="415" y="122"/>
                  </a:cubicBezTo>
                  <a:cubicBezTo>
                    <a:pt x="382" y="178"/>
                    <a:pt x="382" y="178"/>
                    <a:pt x="382" y="178"/>
                  </a:cubicBezTo>
                  <a:cubicBezTo>
                    <a:pt x="448" y="178"/>
                    <a:pt x="448" y="178"/>
                    <a:pt x="448" y="178"/>
                  </a:cubicBezTo>
                  <a:lnTo>
                    <a:pt x="513" y="178"/>
                  </a:lnTo>
                  <a:close/>
                  <a:moveTo>
                    <a:pt x="436" y="134"/>
                  </a:moveTo>
                  <a:cubicBezTo>
                    <a:pt x="448" y="113"/>
                    <a:pt x="448" y="113"/>
                    <a:pt x="448" y="113"/>
                  </a:cubicBezTo>
                  <a:cubicBezTo>
                    <a:pt x="460" y="134"/>
                    <a:pt x="460" y="134"/>
                    <a:pt x="460" y="134"/>
                  </a:cubicBezTo>
                  <a:cubicBezTo>
                    <a:pt x="472" y="154"/>
                    <a:pt x="472" y="154"/>
                    <a:pt x="472" y="154"/>
                  </a:cubicBezTo>
                  <a:cubicBezTo>
                    <a:pt x="448" y="154"/>
                    <a:pt x="448" y="154"/>
                    <a:pt x="448" y="154"/>
                  </a:cubicBezTo>
                  <a:cubicBezTo>
                    <a:pt x="424" y="154"/>
                    <a:pt x="424" y="154"/>
                    <a:pt x="424" y="154"/>
                  </a:cubicBezTo>
                  <a:lnTo>
                    <a:pt x="436" y="134"/>
                  </a:lnTo>
                  <a:close/>
                  <a:moveTo>
                    <a:pt x="388" y="516"/>
                  </a:moveTo>
                  <a:cubicBezTo>
                    <a:pt x="454" y="516"/>
                    <a:pt x="454" y="516"/>
                    <a:pt x="454" y="516"/>
                  </a:cubicBezTo>
                  <a:cubicBezTo>
                    <a:pt x="421" y="459"/>
                    <a:pt x="421" y="459"/>
                    <a:pt x="421" y="459"/>
                  </a:cubicBezTo>
                  <a:cubicBezTo>
                    <a:pt x="388" y="403"/>
                    <a:pt x="388" y="403"/>
                    <a:pt x="388" y="403"/>
                  </a:cubicBezTo>
                  <a:cubicBezTo>
                    <a:pt x="355" y="459"/>
                    <a:pt x="355" y="459"/>
                    <a:pt x="355" y="459"/>
                  </a:cubicBezTo>
                  <a:cubicBezTo>
                    <a:pt x="322" y="516"/>
                    <a:pt x="322" y="516"/>
                    <a:pt x="322" y="516"/>
                  </a:cubicBezTo>
                  <a:lnTo>
                    <a:pt x="388" y="516"/>
                  </a:lnTo>
                  <a:close/>
                  <a:moveTo>
                    <a:pt x="376" y="471"/>
                  </a:moveTo>
                  <a:cubicBezTo>
                    <a:pt x="388" y="451"/>
                    <a:pt x="388" y="451"/>
                    <a:pt x="388" y="451"/>
                  </a:cubicBezTo>
                  <a:cubicBezTo>
                    <a:pt x="400" y="471"/>
                    <a:pt x="400" y="471"/>
                    <a:pt x="400" y="471"/>
                  </a:cubicBezTo>
                  <a:cubicBezTo>
                    <a:pt x="412" y="492"/>
                    <a:pt x="412" y="492"/>
                    <a:pt x="412" y="492"/>
                  </a:cubicBezTo>
                  <a:cubicBezTo>
                    <a:pt x="388" y="492"/>
                    <a:pt x="388" y="492"/>
                    <a:pt x="388" y="492"/>
                  </a:cubicBezTo>
                  <a:cubicBezTo>
                    <a:pt x="364" y="492"/>
                    <a:pt x="364" y="492"/>
                    <a:pt x="364" y="492"/>
                  </a:cubicBezTo>
                  <a:lnTo>
                    <a:pt x="376" y="471"/>
                  </a:lnTo>
                  <a:close/>
                  <a:moveTo>
                    <a:pt x="507" y="351"/>
                  </a:moveTo>
                  <a:cubicBezTo>
                    <a:pt x="474" y="294"/>
                    <a:pt x="474" y="294"/>
                    <a:pt x="474" y="294"/>
                  </a:cubicBezTo>
                  <a:cubicBezTo>
                    <a:pt x="441" y="237"/>
                    <a:pt x="441" y="237"/>
                    <a:pt x="441" y="237"/>
                  </a:cubicBezTo>
                  <a:cubicBezTo>
                    <a:pt x="408" y="294"/>
                    <a:pt x="408" y="294"/>
                    <a:pt x="408" y="294"/>
                  </a:cubicBezTo>
                  <a:cubicBezTo>
                    <a:pt x="375" y="351"/>
                    <a:pt x="375" y="351"/>
                    <a:pt x="375" y="351"/>
                  </a:cubicBezTo>
                  <a:cubicBezTo>
                    <a:pt x="441" y="351"/>
                    <a:pt x="441" y="351"/>
                    <a:pt x="441" y="351"/>
                  </a:cubicBezTo>
                  <a:lnTo>
                    <a:pt x="507" y="351"/>
                  </a:lnTo>
                  <a:close/>
                  <a:moveTo>
                    <a:pt x="429" y="306"/>
                  </a:moveTo>
                  <a:cubicBezTo>
                    <a:pt x="441" y="285"/>
                    <a:pt x="441" y="285"/>
                    <a:pt x="441" y="285"/>
                  </a:cubicBezTo>
                  <a:cubicBezTo>
                    <a:pt x="453" y="306"/>
                    <a:pt x="453" y="306"/>
                    <a:pt x="453" y="306"/>
                  </a:cubicBezTo>
                  <a:cubicBezTo>
                    <a:pt x="465" y="327"/>
                    <a:pt x="465" y="327"/>
                    <a:pt x="465" y="327"/>
                  </a:cubicBezTo>
                  <a:cubicBezTo>
                    <a:pt x="441" y="327"/>
                    <a:pt x="441" y="327"/>
                    <a:pt x="441" y="327"/>
                  </a:cubicBezTo>
                  <a:cubicBezTo>
                    <a:pt x="417" y="327"/>
                    <a:pt x="417" y="327"/>
                    <a:pt x="417" y="327"/>
                  </a:cubicBezTo>
                  <a:lnTo>
                    <a:pt x="429" y="306"/>
                  </a:lnTo>
                  <a:close/>
                  <a:moveTo>
                    <a:pt x="232" y="440"/>
                  </a:moveTo>
                  <a:cubicBezTo>
                    <a:pt x="132" y="440"/>
                    <a:pt x="132" y="440"/>
                    <a:pt x="132" y="440"/>
                  </a:cubicBezTo>
                  <a:cubicBezTo>
                    <a:pt x="132" y="341"/>
                    <a:pt x="132" y="341"/>
                    <a:pt x="132" y="341"/>
                  </a:cubicBezTo>
                  <a:cubicBezTo>
                    <a:pt x="232" y="341"/>
                    <a:pt x="232" y="341"/>
                    <a:pt x="232" y="341"/>
                  </a:cubicBezTo>
                  <a:lnTo>
                    <a:pt x="232" y="44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b="1"/>
            </a:p>
          </p:txBody>
        </p:sp>
        <p:sp>
          <p:nvSpPr>
            <p:cNvPr id="87" name="Freeform 97">
              <a:extLst>
                <a:ext uri="{FF2B5EF4-FFF2-40B4-BE49-F238E27FC236}">
                  <a16:creationId xmlns:a16="http://schemas.microsoft.com/office/drawing/2014/main" id="{6D815FA7-8706-49A5-8581-E169771738A7}"/>
                </a:ext>
              </a:extLst>
            </p:cNvPr>
            <p:cNvSpPr>
              <a:spLocks noChangeAspect="1" noEditPoints="1"/>
            </p:cNvSpPr>
            <p:nvPr/>
          </p:nvSpPr>
          <p:spPr bwMode="auto">
            <a:xfrm>
              <a:off x="5098823" y="1167835"/>
              <a:ext cx="475398" cy="452546"/>
            </a:xfrm>
            <a:custGeom>
              <a:avLst/>
              <a:gdLst>
                <a:gd name="T0" fmla="*/ 288 w 576"/>
                <a:gd name="T1" fmla="*/ 498 h 576"/>
                <a:gd name="T2" fmla="*/ 147 w 576"/>
                <a:gd name="T3" fmla="*/ 169 h 576"/>
                <a:gd name="T4" fmla="*/ 208 w 576"/>
                <a:gd name="T5" fmla="*/ 123 h 576"/>
                <a:gd name="T6" fmla="*/ 146 w 576"/>
                <a:gd name="T7" fmla="*/ 170 h 576"/>
                <a:gd name="T8" fmla="*/ 128 w 576"/>
                <a:gd name="T9" fmla="*/ 195 h 576"/>
                <a:gd name="T10" fmla="*/ 171 w 576"/>
                <a:gd name="T11" fmla="*/ 196 h 576"/>
                <a:gd name="T12" fmla="*/ 104 w 576"/>
                <a:gd name="T13" fmla="*/ 275 h 576"/>
                <a:gd name="T14" fmla="*/ 104 w 576"/>
                <a:gd name="T15" fmla="*/ 301 h 576"/>
                <a:gd name="T16" fmla="*/ 158 w 576"/>
                <a:gd name="T17" fmla="*/ 301 h 576"/>
                <a:gd name="T18" fmla="*/ 128 w 576"/>
                <a:gd name="T19" fmla="*/ 380 h 576"/>
                <a:gd name="T20" fmla="*/ 146 w 576"/>
                <a:gd name="T21" fmla="*/ 406 h 576"/>
                <a:gd name="T22" fmla="*/ 208 w 576"/>
                <a:gd name="T23" fmla="*/ 453 h 576"/>
                <a:gd name="T24" fmla="*/ 275 w 576"/>
                <a:gd name="T25" fmla="*/ 471 h 576"/>
                <a:gd name="T26" fmla="*/ 208 w 576"/>
                <a:gd name="T27" fmla="*/ 406 h 576"/>
                <a:gd name="T28" fmla="*/ 275 w 576"/>
                <a:gd name="T29" fmla="*/ 380 h 576"/>
                <a:gd name="T30" fmla="*/ 184 w 576"/>
                <a:gd name="T31" fmla="*/ 301 h 576"/>
                <a:gd name="T32" fmla="*/ 275 w 576"/>
                <a:gd name="T33" fmla="*/ 380 h 576"/>
                <a:gd name="T34" fmla="*/ 184 w 576"/>
                <a:gd name="T35" fmla="*/ 275 h 576"/>
                <a:gd name="T36" fmla="*/ 275 w 576"/>
                <a:gd name="T37" fmla="*/ 195 h 576"/>
                <a:gd name="T38" fmla="*/ 208 w 576"/>
                <a:gd name="T39" fmla="*/ 170 h 576"/>
                <a:gd name="T40" fmla="*/ 275 w 576"/>
                <a:gd name="T41" fmla="*/ 105 h 576"/>
                <a:gd name="T42" fmla="*/ 429 w 576"/>
                <a:gd name="T43" fmla="*/ 169 h 576"/>
                <a:gd name="T44" fmla="*/ 395 w 576"/>
                <a:gd name="T45" fmla="*/ 170 h 576"/>
                <a:gd name="T46" fmla="*/ 369 w 576"/>
                <a:gd name="T47" fmla="*/ 122 h 576"/>
                <a:gd name="T48" fmla="*/ 367 w 576"/>
                <a:gd name="T49" fmla="*/ 169 h 576"/>
                <a:gd name="T50" fmla="*/ 301 w 576"/>
                <a:gd name="T51" fmla="*/ 105 h 576"/>
                <a:gd name="T52" fmla="*/ 378 w 576"/>
                <a:gd name="T53" fmla="*/ 196 h 576"/>
                <a:gd name="T54" fmla="*/ 301 w 576"/>
                <a:gd name="T55" fmla="*/ 275 h 576"/>
                <a:gd name="T56" fmla="*/ 392 w 576"/>
                <a:gd name="T57" fmla="*/ 301 h 576"/>
                <a:gd name="T58" fmla="*/ 378 w 576"/>
                <a:gd name="T59" fmla="*/ 380 h 576"/>
                <a:gd name="T60" fmla="*/ 301 w 576"/>
                <a:gd name="T61" fmla="*/ 471 h 576"/>
                <a:gd name="T62" fmla="*/ 368 w 576"/>
                <a:gd name="T63" fmla="*/ 406 h 576"/>
                <a:gd name="T64" fmla="*/ 429 w 576"/>
                <a:gd name="T65" fmla="*/ 407 h 576"/>
                <a:gd name="T66" fmla="*/ 368 w 576"/>
                <a:gd name="T67" fmla="*/ 453 h 576"/>
                <a:gd name="T68" fmla="*/ 430 w 576"/>
                <a:gd name="T69" fmla="*/ 406 h 576"/>
                <a:gd name="T70" fmla="*/ 448 w 576"/>
                <a:gd name="T71" fmla="*/ 380 h 576"/>
                <a:gd name="T72" fmla="*/ 405 w 576"/>
                <a:gd name="T73" fmla="*/ 380 h 576"/>
                <a:gd name="T74" fmla="*/ 472 w 576"/>
                <a:gd name="T75" fmla="*/ 301 h 576"/>
                <a:gd name="T76" fmla="*/ 472 w 576"/>
                <a:gd name="T77" fmla="*/ 275 h 576"/>
                <a:gd name="T78" fmla="*/ 405 w 576"/>
                <a:gd name="T79" fmla="*/ 196 h 576"/>
                <a:gd name="T80" fmla="*/ 0 w 576"/>
                <a:gd name="T81" fmla="*/ 0 h 576"/>
                <a:gd name="T82" fmla="*/ 576 w 576"/>
                <a:gd name="T83" fmla="*/ 0 h 576"/>
                <a:gd name="T84" fmla="*/ 25 w 576"/>
                <a:gd name="T85" fmla="*/ 551 h 576"/>
                <a:gd name="T86" fmla="*/ 551 w 576"/>
                <a:gd name="T8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6" h="576">
                  <a:moveTo>
                    <a:pt x="288" y="78"/>
                  </a:moveTo>
                  <a:cubicBezTo>
                    <a:pt x="172" y="78"/>
                    <a:pt x="78" y="172"/>
                    <a:pt x="78" y="288"/>
                  </a:cubicBezTo>
                  <a:cubicBezTo>
                    <a:pt x="78" y="404"/>
                    <a:pt x="172" y="498"/>
                    <a:pt x="288" y="498"/>
                  </a:cubicBezTo>
                  <a:cubicBezTo>
                    <a:pt x="404" y="498"/>
                    <a:pt x="498" y="404"/>
                    <a:pt x="498" y="288"/>
                  </a:cubicBezTo>
                  <a:cubicBezTo>
                    <a:pt x="498" y="172"/>
                    <a:pt x="404" y="78"/>
                    <a:pt x="288" y="78"/>
                  </a:cubicBezTo>
                  <a:close/>
                  <a:moveTo>
                    <a:pt x="147" y="169"/>
                  </a:moveTo>
                  <a:cubicBezTo>
                    <a:pt x="163" y="149"/>
                    <a:pt x="184" y="133"/>
                    <a:pt x="207" y="122"/>
                  </a:cubicBezTo>
                  <a:cubicBezTo>
                    <a:pt x="209" y="121"/>
                    <a:pt x="209" y="121"/>
                    <a:pt x="209" y="121"/>
                  </a:cubicBezTo>
                  <a:cubicBezTo>
                    <a:pt x="208" y="123"/>
                    <a:pt x="208" y="123"/>
                    <a:pt x="208" y="123"/>
                  </a:cubicBezTo>
                  <a:cubicBezTo>
                    <a:pt x="197" y="136"/>
                    <a:pt x="188" y="152"/>
                    <a:pt x="181" y="170"/>
                  </a:cubicBezTo>
                  <a:cubicBezTo>
                    <a:pt x="180" y="170"/>
                    <a:pt x="180" y="170"/>
                    <a:pt x="180" y="170"/>
                  </a:cubicBezTo>
                  <a:cubicBezTo>
                    <a:pt x="146" y="170"/>
                    <a:pt x="146" y="170"/>
                    <a:pt x="146" y="170"/>
                  </a:cubicBezTo>
                  <a:lnTo>
                    <a:pt x="147" y="169"/>
                  </a:lnTo>
                  <a:close/>
                  <a:moveTo>
                    <a:pt x="104" y="275"/>
                  </a:moveTo>
                  <a:cubicBezTo>
                    <a:pt x="106" y="246"/>
                    <a:pt x="114" y="220"/>
                    <a:pt x="128" y="195"/>
                  </a:cubicBezTo>
                  <a:cubicBezTo>
                    <a:pt x="128" y="195"/>
                    <a:pt x="128" y="195"/>
                    <a:pt x="128" y="195"/>
                  </a:cubicBezTo>
                  <a:cubicBezTo>
                    <a:pt x="171" y="195"/>
                    <a:pt x="171" y="195"/>
                    <a:pt x="171" y="195"/>
                  </a:cubicBezTo>
                  <a:cubicBezTo>
                    <a:pt x="171" y="196"/>
                    <a:pt x="171" y="196"/>
                    <a:pt x="171" y="196"/>
                  </a:cubicBezTo>
                  <a:cubicBezTo>
                    <a:pt x="164" y="221"/>
                    <a:pt x="159" y="247"/>
                    <a:pt x="158" y="275"/>
                  </a:cubicBezTo>
                  <a:cubicBezTo>
                    <a:pt x="158" y="275"/>
                    <a:pt x="158" y="275"/>
                    <a:pt x="158" y="275"/>
                  </a:cubicBezTo>
                  <a:cubicBezTo>
                    <a:pt x="104" y="275"/>
                    <a:pt x="104" y="275"/>
                    <a:pt x="104" y="275"/>
                  </a:cubicBezTo>
                  <a:close/>
                  <a:moveTo>
                    <a:pt x="128" y="380"/>
                  </a:moveTo>
                  <a:cubicBezTo>
                    <a:pt x="128" y="380"/>
                    <a:pt x="128" y="380"/>
                    <a:pt x="128" y="380"/>
                  </a:cubicBezTo>
                  <a:cubicBezTo>
                    <a:pt x="114" y="356"/>
                    <a:pt x="106" y="329"/>
                    <a:pt x="104" y="301"/>
                  </a:cubicBezTo>
                  <a:cubicBezTo>
                    <a:pt x="104" y="301"/>
                    <a:pt x="104" y="301"/>
                    <a:pt x="104" y="301"/>
                  </a:cubicBezTo>
                  <a:cubicBezTo>
                    <a:pt x="158" y="301"/>
                    <a:pt x="158" y="301"/>
                    <a:pt x="158" y="301"/>
                  </a:cubicBezTo>
                  <a:cubicBezTo>
                    <a:pt x="158" y="301"/>
                    <a:pt x="158" y="301"/>
                    <a:pt x="158" y="301"/>
                  </a:cubicBezTo>
                  <a:cubicBezTo>
                    <a:pt x="159" y="329"/>
                    <a:pt x="164" y="355"/>
                    <a:pt x="171" y="380"/>
                  </a:cubicBezTo>
                  <a:cubicBezTo>
                    <a:pt x="171" y="380"/>
                    <a:pt x="171" y="380"/>
                    <a:pt x="171" y="380"/>
                  </a:cubicBezTo>
                  <a:lnTo>
                    <a:pt x="128" y="380"/>
                  </a:lnTo>
                  <a:close/>
                  <a:moveTo>
                    <a:pt x="207" y="454"/>
                  </a:moveTo>
                  <a:cubicBezTo>
                    <a:pt x="184" y="442"/>
                    <a:pt x="163" y="426"/>
                    <a:pt x="147" y="407"/>
                  </a:cubicBezTo>
                  <a:cubicBezTo>
                    <a:pt x="146" y="406"/>
                    <a:pt x="146" y="406"/>
                    <a:pt x="146" y="406"/>
                  </a:cubicBezTo>
                  <a:cubicBezTo>
                    <a:pt x="180" y="406"/>
                    <a:pt x="180" y="406"/>
                    <a:pt x="180" y="406"/>
                  </a:cubicBezTo>
                  <a:cubicBezTo>
                    <a:pt x="181" y="406"/>
                    <a:pt x="181" y="406"/>
                    <a:pt x="181" y="406"/>
                  </a:cubicBezTo>
                  <a:cubicBezTo>
                    <a:pt x="188" y="424"/>
                    <a:pt x="197" y="439"/>
                    <a:pt x="208" y="453"/>
                  </a:cubicBezTo>
                  <a:cubicBezTo>
                    <a:pt x="209" y="455"/>
                    <a:pt x="209" y="455"/>
                    <a:pt x="209" y="455"/>
                  </a:cubicBezTo>
                  <a:lnTo>
                    <a:pt x="207" y="454"/>
                  </a:lnTo>
                  <a:close/>
                  <a:moveTo>
                    <a:pt x="275" y="471"/>
                  </a:moveTo>
                  <a:cubicBezTo>
                    <a:pt x="275" y="471"/>
                    <a:pt x="275" y="471"/>
                    <a:pt x="275" y="471"/>
                  </a:cubicBezTo>
                  <a:cubicBezTo>
                    <a:pt x="249" y="465"/>
                    <a:pt x="226" y="442"/>
                    <a:pt x="209" y="407"/>
                  </a:cubicBezTo>
                  <a:cubicBezTo>
                    <a:pt x="208" y="406"/>
                    <a:pt x="208" y="406"/>
                    <a:pt x="208" y="406"/>
                  </a:cubicBezTo>
                  <a:cubicBezTo>
                    <a:pt x="275" y="406"/>
                    <a:pt x="275" y="406"/>
                    <a:pt x="275" y="406"/>
                  </a:cubicBezTo>
                  <a:lnTo>
                    <a:pt x="275" y="471"/>
                  </a:lnTo>
                  <a:close/>
                  <a:moveTo>
                    <a:pt x="275" y="380"/>
                  </a:moveTo>
                  <a:cubicBezTo>
                    <a:pt x="198" y="380"/>
                    <a:pt x="198" y="380"/>
                    <a:pt x="198" y="380"/>
                  </a:cubicBezTo>
                  <a:cubicBezTo>
                    <a:pt x="198" y="380"/>
                    <a:pt x="198" y="380"/>
                    <a:pt x="198" y="380"/>
                  </a:cubicBezTo>
                  <a:cubicBezTo>
                    <a:pt x="190" y="356"/>
                    <a:pt x="185" y="329"/>
                    <a:pt x="184" y="301"/>
                  </a:cubicBezTo>
                  <a:cubicBezTo>
                    <a:pt x="184" y="301"/>
                    <a:pt x="184" y="301"/>
                    <a:pt x="184" y="301"/>
                  </a:cubicBezTo>
                  <a:cubicBezTo>
                    <a:pt x="275" y="301"/>
                    <a:pt x="275" y="301"/>
                    <a:pt x="275" y="301"/>
                  </a:cubicBezTo>
                  <a:lnTo>
                    <a:pt x="275" y="380"/>
                  </a:lnTo>
                  <a:close/>
                  <a:moveTo>
                    <a:pt x="275" y="275"/>
                  </a:moveTo>
                  <a:cubicBezTo>
                    <a:pt x="184" y="275"/>
                    <a:pt x="184" y="275"/>
                    <a:pt x="184" y="275"/>
                  </a:cubicBezTo>
                  <a:cubicBezTo>
                    <a:pt x="184" y="275"/>
                    <a:pt x="184" y="275"/>
                    <a:pt x="184" y="275"/>
                  </a:cubicBezTo>
                  <a:cubicBezTo>
                    <a:pt x="185" y="247"/>
                    <a:pt x="190" y="220"/>
                    <a:pt x="198" y="196"/>
                  </a:cubicBezTo>
                  <a:cubicBezTo>
                    <a:pt x="198" y="195"/>
                    <a:pt x="198" y="195"/>
                    <a:pt x="198" y="195"/>
                  </a:cubicBezTo>
                  <a:cubicBezTo>
                    <a:pt x="275" y="195"/>
                    <a:pt x="275" y="195"/>
                    <a:pt x="275" y="195"/>
                  </a:cubicBezTo>
                  <a:lnTo>
                    <a:pt x="275" y="275"/>
                  </a:lnTo>
                  <a:close/>
                  <a:moveTo>
                    <a:pt x="275" y="170"/>
                  </a:moveTo>
                  <a:cubicBezTo>
                    <a:pt x="208" y="170"/>
                    <a:pt x="208" y="170"/>
                    <a:pt x="208" y="170"/>
                  </a:cubicBezTo>
                  <a:cubicBezTo>
                    <a:pt x="209" y="169"/>
                    <a:pt x="209" y="169"/>
                    <a:pt x="209" y="169"/>
                  </a:cubicBezTo>
                  <a:cubicBezTo>
                    <a:pt x="226" y="134"/>
                    <a:pt x="249" y="111"/>
                    <a:pt x="275" y="105"/>
                  </a:cubicBezTo>
                  <a:cubicBezTo>
                    <a:pt x="275" y="105"/>
                    <a:pt x="275" y="105"/>
                    <a:pt x="275" y="105"/>
                  </a:cubicBezTo>
                  <a:lnTo>
                    <a:pt x="275" y="170"/>
                  </a:lnTo>
                  <a:close/>
                  <a:moveTo>
                    <a:pt x="369" y="122"/>
                  </a:moveTo>
                  <a:cubicBezTo>
                    <a:pt x="392" y="133"/>
                    <a:pt x="413" y="149"/>
                    <a:pt x="429" y="169"/>
                  </a:cubicBezTo>
                  <a:cubicBezTo>
                    <a:pt x="430" y="170"/>
                    <a:pt x="430" y="170"/>
                    <a:pt x="430" y="170"/>
                  </a:cubicBezTo>
                  <a:cubicBezTo>
                    <a:pt x="396" y="170"/>
                    <a:pt x="396" y="170"/>
                    <a:pt x="396" y="170"/>
                  </a:cubicBezTo>
                  <a:cubicBezTo>
                    <a:pt x="395" y="170"/>
                    <a:pt x="395" y="170"/>
                    <a:pt x="395" y="170"/>
                  </a:cubicBezTo>
                  <a:cubicBezTo>
                    <a:pt x="388" y="152"/>
                    <a:pt x="379" y="136"/>
                    <a:pt x="368" y="123"/>
                  </a:cubicBezTo>
                  <a:cubicBezTo>
                    <a:pt x="367" y="121"/>
                    <a:pt x="367" y="121"/>
                    <a:pt x="367" y="121"/>
                  </a:cubicBezTo>
                  <a:lnTo>
                    <a:pt x="369" y="122"/>
                  </a:lnTo>
                  <a:close/>
                  <a:moveTo>
                    <a:pt x="301" y="105"/>
                  </a:moveTo>
                  <a:cubicBezTo>
                    <a:pt x="301" y="105"/>
                    <a:pt x="301" y="105"/>
                    <a:pt x="301" y="105"/>
                  </a:cubicBezTo>
                  <a:cubicBezTo>
                    <a:pt x="327" y="111"/>
                    <a:pt x="350" y="134"/>
                    <a:pt x="367" y="169"/>
                  </a:cubicBezTo>
                  <a:cubicBezTo>
                    <a:pt x="368" y="170"/>
                    <a:pt x="368" y="170"/>
                    <a:pt x="368" y="170"/>
                  </a:cubicBezTo>
                  <a:cubicBezTo>
                    <a:pt x="301" y="170"/>
                    <a:pt x="301" y="170"/>
                    <a:pt x="301" y="170"/>
                  </a:cubicBezTo>
                  <a:lnTo>
                    <a:pt x="301" y="105"/>
                  </a:lnTo>
                  <a:close/>
                  <a:moveTo>
                    <a:pt x="301" y="195"/>
                  </a:moveTo>
                  <a:cubicBezTo>
                    <a:pt x="378" y="195"/>
                    <a:pt x="378" y="195"/>
                    <a:pt x="378" y="195"/>
                  </a:cubicBezTo>
                  <a:cubicBezTo>
                    <a:pt x="378" y="196"/>
                    <a:pt x="378" y="196"/>
                    <a:pt x="378" y="196"/>
                  </a:cubicBezTo>
                  <a:cubicBezTo>
                    <a:pt x="386" y="220"/>
                    <a:pt x="391" y="247"/>
                    <a:pt x="392" y="275"/>
                  </a:cubicBezTo>
                  <a:cubicBezTo>
                    <a:pt x="392" y="275"/>
                    <a:pt x="392" y="275"/>
                    <a:pt x="392" y="275"/>
                  </a:cubicBezTo>
                  <a:cubicBezTo>
                    <a:pt x="301" y="275"/>
                    <a:pt x="301" y="275"/>
                    <a:pt x="301" y="275"/>
                  </a:cubicBezTo>
                  <a:lnTo>
                    <a:pt x="301" y="195"/>
                  </a:lnTo>
                  <a:close/>
                  <a:moveTo>
                    <a:pt x="301" y="301"/>
                  </a:moveTo>
                  <a:cubicBezTo>
                    <a:pt x="392" y="301"/>
                    <a:pt x="392" y="301"/>
                    <a:pt x="392" y="301"/>
                  </a:cubicBezTo>
                  <a:cubicBezTo>
                    <a:pt x="392" y="301"/>
                    <a:pt x="392" y="301"/>
                    <a:pt x="392" y="301"/>
                  </a:cubicBezTo>
                  <a:cubicBezTo>
                    <a:pt x="391" y="329"/>
                    <a:pt x="386" y="355"/>
                    <a:pt x="378" y="380"/>
                  </a:cubicBezTo>
                  <a:cubicBezTo>
                    <a:pt x="378" y="380"/>
                    <a:pt x="378" y="380"/>
                    <a:pt x="378" y="380"/>
                  </a:cubicBezTo>
                  <a:cubicBezTo>
                    <a:pt x="301" y="380"/>
                    <a:pt x="301" y="380"/>
                    <a:pt x="301" y="380"/>
                  </a:cubicBezTo>
                  <a:lnTo>
                    <a:pt x="301" y="301"/>
                  </a:lnTo>
                  <a:close/>
                  <a:moveTo>
                    <a:pt x="301" y="471"/>
                  </a:moveTo>
                  <a:cubicBezTo>
                    <a:pt x="301" y="471"/>
                    <a:pt x="301" y="471"/>
                    <a:pt x="301" y="471"/>
                  </a:cubicBezTo>
                  <a:cubicBezTo>
                    <a:pt x="301" y="406"/>
                    <a:pt x="301" y="406"/>
                    <a:pt x="301" y="406"/>
                  </a:cubicBezTo>
                  <a:cubicBezTo>
                    <a:pt x="368" y="406"/>
                    <a:pt x="368" y="406"/>
                    <a:pt x="368" y="406"/>
                  </a:cubicBezTo>
                  <a:cubicBezTo>
                    <a:pt x="367" y="407"/>
                    <a:pt x="367" y="407"/>
                    <a:pt x="367" y="407"/>
                  </a:cubicBezTo>
                  <a:cubicBezTo>
                    <a:pt x="350" y="442"/>
                    <a:pt x="327" y="465"/>
                    <a:pt x="301" y="471"/>
                  </a:cubicBezTo>
                  <a:close/>
                  <a:moveTo>
                    <a:pt x="429" y="407"/>
                  </a:moveTo>
                  <a:cubicBezTo>
                    <a:pt x="413" y="426"/>
                    <a:pt x="392" y="442"/>
                    <a:pt x="369" y="454"/>
                  </a:cubicBezTo>
                  <a:cubicBezTo>
                    <a:pt x="367" y="455"/>
                    <a:pt x="367" y="455"/>
                    <a:pt x="367" y="455"/>
                  </a:cubicBezTo>
                  <a:cubicBezTo>
                    <a:pt x="368" y="453"/>
                    <a:pt x="368" y="453"/>
                    <a:pt x="368" y="453"/>
                  </a:cubicBezTo>
                  <a:cubicBezTo>
                    <a:pt x="379" y="439"/>
                    <a:pt x="388" y="424"/>
                    <a:pt x="395" y="406"/>
                  </a:cubicBezTo>
                  <a:cubicBezTo>
                    <a:pt x="396" y="406"/>
                    <a:pt x="396" y="406"/>
                    <a:pt x="396" y="406"/>
                  </a:cubicBezTo>
                  <a:cubicBezTo>
                    <a:pt x="430" y="406"/>
                    <a:pt x="430" y="406"/>
                    <a:pt x="430" y="406"/>
                  </a:cubicBezTo>
                  <a:lnTo>
                    <a:pt x="429" y="407"/>
                  </a:lnTo>
                  <a:close/>
                  <a:moveTo>
                    <a:pt x="472" y="301"/>
                  </a:moveTo>
                  <a:cubicBezTo>
                    <a:pt x="470" y="329"/>
                    <a:pt x="462" y="356"/>
                    <a:pt x="448" y="380"/>
                  </a:cubicBezTo>
                  <a:cubicBezTo>
                    <a:pt x="448" y="380"/>
                    <a:pt x="448" y="380"/>
                    <a:pt x="448" y="380"/>
                  </a:cubicBezTo>
                  <a:cubicBezTo>
                    <a:pt x="405" y="380"/>
                    <a:pt x="405" y="380"/>
                    <a:pt x="405" y="380"/>
                  </a:cubicBezTo>
                  <a:cubicBezTo>
                    <a:pt x="405" y="380"/>
                    <a:pt x="405" y="380"/>
                    <a:pt x="405" y="380"/>
                  </a:cubicBezTo>
                  <a:cubicBezTo>
                    <a:pt x="412" y="355"/>
                    <a:pt x="417" y="329"/>
                    <a:pt x="418" y="301"/>
                  </a:cubicBezTo>
                  <a:cubicBezTo>
                    <a:pt x="418" y="301"/>
                    <a:pt x="418" y="301"/>
                    <a:pt x="418" y="301"/>
                  </a:cubicBezTo>
                  <a:cubicBezTo>
                    <a:pt x="472" y="301"/>
                    <a:pt x="472" y="301"/>
                    <a:pt x="472" y="301"/>
                  </a:cubicBezTo>
                  <a:close/>
                  <a:moveTo>
                    <a:pt x="448" y="195"/>
                  </a:moveTo>
                  <a:cubicBezTo>
                    <a:pt x="462" y="220"/>
                    <a:pt x="470" y="246"/>
                    <a:pt x="472" y="275"/>
                  </a:cubicBezTo>
                  <a:cubicBezTo>
                    <a:pt x="472" y="275"/>
                    <a:pt x="472" y="275"/>
                    <a:pt x="472" y="275"/>
                  </a:cubicBezTo>
                  <a:cubicBezTo>
                    <a:pt x="418" y="275"/>
                    <a:pt x="418" y="275"/>
                    <a:pt x="418" y="275"/>
                  </a:cubicBezTo>
                  <a:cubicBezTo>
                    <a:pt x="418" y="275"/>
                    <a:pt x="418" y="275"/>
                    <a:pt x="418" y="275"/>
                  </a:cubicBezTo>
                  <a:cubicBezTo>
                    <a:pt x="417" y="247"/>
                    <a:pt x="412" y="221"/>
                    <a:pt x="405" y="196"/>
                  </a:cubicBezTo>
                  <a:cubicBezTo>
                    <a:pt x="405" y="195"/>
                    <a:pt x="405" y="195"/>
                    <a:pt x="405" y="195"/>
                  </a:cubicBezTo>
                  <a:cubicBezTo>
                    <a:pt x="448" y="195"/>
                    <a:pt x="448" y="195"/>
                    <a:pt x="448" y="195"/>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88" name="Freeform 104">
              <a:extLst>
                <a:ext uri="{FF2B5EF4-FFF2-40B4-BE49-F238E27FC236}">
                  <a16:creationId xmlns:a16="http://schemas.microsoft.com/office/drawing/2014/main" id="{643A5A97-FC6A-4BFF-A84B-71A07C2B890B}"/>
                </a:ext>
              </a:extLst>
            </p:cNvPr>
            <p:cNvSpPr>
              <a:spLocks noChangeAspect="1" noEditPoints="1"/>
            </p:cNvSpPr>
            <p:nvPr/>
          </p:nvSpPr>
          <p:spPr bwMode="auto">
            <a:xfrm>
              <a:off x="7766753" y="1167835"/>
              <a:ext cx="475398" cy="452546"/>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89" name="TextBox 25">
              <a:extLst>
                <a:ext uri="{FF2B5EF4-FFF2-40B4-BE49-F238E27FC236}">
                  <a16:creationId xmlns:a16="http://schemas.microsoft.com/office/drawing/2014/main" id="{8CD12F16-D322-450D-9FBF-00E9F2C1600E}"/>
                </a:ext>
              </a:extLst>
            </p:cNvPr>
            <p:cNvSpPr txBox="1"/>
            <p:nvPr/>
          </p:nvSpPr>
          <p:spPr>
            <a:xfrm>
              <a:off x="5711436" y="3531800"/>
              <a:ext cx="1888984" cy="846386"/>
            </a:xfrm>
            <a:prstGeom prst="rect">
              <a:avLst/>
            </a:prstGeom>
          </p:spPr>
          <p:txBody>
            <a:bodyPr lIns="0" tIns="0" rIns="0" bIns="0" rtlCol="0" anchor="t">
              <a:spAutoFit/>
            </a:bodyPr>
            <a:lstStyle/>
            <a:p>
              <a:pPr>
                <a:lnSpc>
                  <a:spcPts val="2185"/>
                </a:lnSpc>
              </a:pPr>
              <a:r>
                <a:rPr lang="en-US" sz="1600" dirty="0"/>
                <a:t>workshops &amp; πα</a:t>
              </a:r>
              <a:r>
                <a:rPr lang="en-US" sz="1600" dirty="0" err="1"/>
                <a:t>ρουσιάσεις</a:t>
              </a:r>
              <a:endParaRPr lang="en-US" sz="1600" dirty="0"/>
            </a:p>
            <a:p>
              <a:pPr>
                <a:lnSpc>
                  <a:spcPts val="2185"/>
                </a:lnSpc>
              </a:pPr>
              <a:endParaRPr lang="en-US" sz="2041" dirty="0">
                <a:latin typeface="Fira Sans Light"/>
              </a:endParaRPr>
            </a:p>
          </p:txBody>
        </p:sp>
        <p:grpSp>
          <p:nvGrpSpPr>
            <p:cNvPr id="90" name="Group 27">
              <a:extLst>
                <a:ext uri="{FF2B5EF4-FFF2-40B4-BE49-F238E27FC236}">
                  <a16:creationId xmlns:a16="http://schemas.microsoft.com/office/drawing/2014/main" id="{54E0C867-2616-423A-BB2D-BD4E0683A7B3}"/>
                </a:ext>
              </a:extLst>
            </p:cNvPr>
            <p:cNvGrpSpPr/>
            <p:nvPr/>
          </p:nvGrpSpPr>
          <p:grpSpPr>
            <a:xfrm>
              <a:off x="8430867" y="2599176"/>
              <a:ext cx="3139414" cy="1664006"/>
              <a:chOff x="1162357" y="-246011"/>
              <a:chExt cx="6021370" cy="3362241"/>
            </a:xfrm>
          </p:grpSpPr>
          <p:sp>
            <p:nvSpPr>
              <p:cNvPr id="118" name="TextBox 28">
                <a:extLst>
                  <a:ext uri="{FF2B5EF4-FFF2-40B4-BE49-F238E27FC236}">
                    <a16:creationId xmlns:a16="http://schemas.microsoft.com/office/drawing/2014/main" id="{45982248-00AC-4C93-960B-C8CA32A6A615}"/>
                  </a:ext>
                </a:extLst>
              </p:cNvPr>
              <p:cNvSpPr txBox="1"/>
              <p:nvPr/>
            </p:nvSpPr>
            <p:spPr>
              <a:xfrm>
                <a:off x="1162357" y="1225443"/>
                <a:ext cx="6021370" cy="1890787"/>
              </a:xfrm>
              <a:prstGeom prst="rect">
                <a:avLst/>
              </a:prstGeom>
            </p:spPr>
            <p:txBody>
              <a:bodyPr lIns="0" tIns="0" rIns="0" bIns="0" rtlCol="0" anchor="t">
                <a:spAutoFit/>
              </a:bodyPr>
              <a:lstStyle/>
              <a:p>
                <a:pPr>
                  <a:lnSpc>
                    <a:spcPts val="2513"/>
                  </a:lnSpc>
                </a:pPr>
                <a:r>
                  <a:rPr lang="en-US" sz="1600" dirty="0" err="1"/>
                  <a:t>ψηφι</a:t>
                </a:r>
                <a:r>
                  <a:rPr lang="en-US" sz="1600" dirty="0"/>
                  <a:t>ακές εφαρμογές   υποστήριξης όλων των διαστάσεων του Στρατηγικού και Επιχειρησιακού Σχεδίου </a:t>
                </a:r>
              </a:p>
            </p:txBody>
          </p:sp>
          <p:sp>
            <p:nvSpPr>
              <p:cNvPr id="119" name="TextBox 29">
                <a:extLst>
                  <a:ext uri="{FF2B5EF4-FFF2-40B4-BE49-F238E27FC236}">
                    <a16:creationId xmlns:a16="http://schemas.microsoft.com/office/drawing/2014/main" id="{728E7591-4D85-4487-8682-E534BCA7606B}"/>
                  </a:ext>
                </a:extLst>
              </p:cNvPr>
              <p:cNvSpPr txBox="1"/>
              <p:nvPr/>
            </p:nvSpPr>
            <p:spPr>
              <a:xfrm>
                <a:off x="1191096" y="-246011"/>
                <a:ext cx="977334" cy="1581919"/>
              </a:xfrm>
              <a:prstGeom prst="rect">
                <a:avLst/>
              </a:prstGeom>
            </p:spPr>
            <p:txBody>
              <a:bodyPr wrap="square" lIns="0" tIns="0" rIns="0" bIns="0" rtlCol="0" anchor="t">
                <a:spAutoFit/>
              </a:bodyPr>
              <a:lstStyle/>
              <a:p>
                <a:pPr>
                  <a:lnSpc>
                    <a:spcPts val="6520"/>
                  </a:lnSpc>
                  <a:spcBef>
                    <a:spcPct val="0"/>
                  </a:spcBef>
                </a:pPr>
                <a:r>
                  <a:rPr lang="en-US" sz="4658" b="1" dirty="0">
                    <a:latin typeface="Migra ExtraBold"/>
                  </a:rPr>
                  <a:t>4</a:t>
                </a:r>
              </a:p>
            </p:txBody>
          </p:sp>
        </p:grpSp>
        <p:sp>
          <p:nvSpPr>
            <p:cNvPr id="99" name="Freeform 9">
              <a:extLst>
                <a:ext uri="{FF2B5EF4-FFF2-40B4-BE49-F238E27FC236}">
                  <a16:creationId xmlns:a16="http://schemas.microsoft.com/office/drawing/2014/main" id="{0B9C6A52-7EAD-4C25-B1B7-E9472702F32F}"/>
                </a:ext>
              </a:extLst>
            </p:cNvPr>
            <p:cNvSpPr>
              <a:spLocks noChangeAspect="1" noEditPoints="1"/>
            </p:cNvSpPr>
            <p:nvPr/>
          </p:nvSpPr>
          <p:spPr bwMode="auto">
            <a:xfrm>
              <a:off x="1651678" y="2826304"/>
              <a:ext cx="475398" cy="452546"/>
            </a:xfrm>
            <a:custGeom>
              <a:avLst/>
              <a:gdLst>
                <a:gd name="T0" fmla="*/ 477 w 576"/>
                <a:gd name="T1" fmla="*/ 552 h 576"/>
                <a:gd name="T2" fmla="*/ 412 w 576"/>
                <a:gd name="T3" fmla="*/ 404 h 576"/>
                <a:gd name="T4" fmla="*/ 312 w 576"/>
                <a:gd name="T5" fmla="*/ 385 h 576"/>
                <a:gd name="T6" fmla="*/ 288 w 576"/>
                <a:gd name="T7" fmla="*/ 399 h 576"/>
                <a:gd name="T8" fmla="*/ 265 w 576"/>
                <a:gd name="T9" fmla="*/ 385 h 576"/>
                <a:gd name="T10" fmla="*/ 209 w 576"/>
                <a:gd name="T11" fmla="*/ 389 h 576"/>
                <a:gd name="T12" fmla="*/ 203 w 576"/>
                <a:gd name="T13" fmla="*/ 341 h 576"/>
                <a:gd name="T14" fmla="*/ 123 w 576"/>
                <a:gd name="T15" fmla="*/ 289 h 576"/>
                <a:gd name="T16" fmla="*/ 99 w 576"/>
                <a:gd name="T17" fmla="*/ 297 h 576"/>
                <a:gd name="T18" fmla="*/ 83 w 576"/>
                <a:gd name="T19" fmla="*/ 297 h 576"/>
                <a:gd name="T20" fmla="*/ 59 w 576"/>
                <a:gd name="T21" fmla="*/ 289 h 576"/>
                <a:gd name="T22" fmla="*/ 24 w 576"/>
                <a:gd name="T23" fmla="*/ 23 h 576"/>
                <a:gd name="T24" fmla="*/ 244 w 576"/>
                <a:gd name="T25" fmla="*/ 0 h 576"/>
                <a:gd name="T26" fmla="*/ 0 w 576"/>
                <a:gd name="T27" fmla="*/ 576 h 576"/>
                <a:gd name="T28" fmla="*/ 135 w 576"/>
                <a:gd name="T29" fmla="*/ 465 h 576"/>
                <a:gd name="T30" fmla="*/ 246 w 576"/>
                <a:gd name="T31" fmla="*/ 401 h 576"/>
                <a:gd name="T32" fmla="*/ 247 w 576"/>
                <a:gd name="T33" fmla="*/ 401 h 576"/>
                <a:gd name="T34" fmla="*/ 288 w 576"/>
                <a:gd name="T35" fmla="*/ 423 h 576"/>
                <a:gd name="T36" fmla="*/ 329 w 576"/>
                <a:gd name="T37" fmla="*/ 402 h 576"/>
                <a:gd name="T38" fmla="*/ 330 w 576"/>
                <a:gd name="T39" fmla="*/ 401 h 576"/>
                <a:gd name="T40" fmla="*/ 441 w 576"/>
                <a:gd name="T41" fmla="*/ 463 h 576"/>
                <a:gd name="T42" fmla="*/ 576 w 576"/>
                <a:gd name="T43" fmla="*/ 576 h 576"/>
                <a:gd name="T44" fmla="*/ 553 w 576"/>
                <a:gd name="T45" fmla="*/ 266 h 576"/>
                <a:gd name="T46" fmla="*/ 100 w 576"/>
                <a:gd name="T47" fmla="*/ 552 h 576"/>
                <a:gd name="T48" fmla="*/ 24 w 576"/>
                <a:gd name="T49" fmla="*/ 326 h 576"/>
                <a:gd name="T50" fmla="*/ 66 w 576"/>
                <a:gd name="T51" fmla="*/ 314 h 576"/>
                <a:gd name="T52" fmla="*/ 116 w 576"/>
                <a:gd name="T53" fmla="*/ 314 h 576"/>
                <a:gd name="T54" fmla="*/ 160 w 576"/>
                <a:gd name="T55" fmla="*/ 326 h 576"/>
                <a:gd name="T56" fmla="*/ 186 w 576"/>
                <a:gd name="T57" fmla="*/ 396 h 576"/>
                <a:gd name="T58" fmla="*/ 112 w 576"/>
                <a:gd name="T59" fmla="*/ 460 h 576"/>
                <a:gd name="T60" fmla="*/ 289 w 576"/>
                <a:gd name="T61" fmla="*/ 186 h 576"/>
                <a:gd name="T62" fmla="*/ 244 w 576"/>
                <a:gd name="T63" fmla="*/ 345 h 576"/>
                <a:gd name="T64" fmla="*/ 334 w 576"/>
                <a:gd name="T65" fmla="*/ 345 h 576"/>
                <a:gd name="T66" fmla="*/ 289 w 576"/>
                <a:gd name="T67" fmla="*/ 186 h 576"/>
                <a:gd name="T68" fmla="*/ 262 w 576"/>
                <a:gd name="T69" fmla="*/ 330 h 576"/>
                <a:gd name="T70" fmla="*/ 289 w 576"/>
                <a:gd name="T71" fmla="*/ 210 h 576"/>
                <a:gd name="T72" fmla="*/ 317 w 576"/>
                <a:gd name="T73" fmla="*/ 330 h 576"/>
                <a:gd name="T74" fmla="*/ 46 w 576"/>
                <a:gd name="T75" fmla="*/ 206 h 576"/>
                <a:gd name="T76" fmla="*/ 92 w 576"/>
                <a:gd name="T77" fmla="*/ 279 h 576"/>
                <a:gd name="T78" fmla="*/ 138 w 576"/>
                <a:gd name="T79" fmla="*/ 206 h 576"/>
                <a:gd name="T80" fmla="*/ 46 w 576"/>
                <a:gd name="T81" fmla="*/ 206 h 576"/>
                <a:gd name="T82" fmla="*/ 79 w 576"/>
                <a:gd name="T83" fmla="*/ 246 h 576"/>
                <a:gd name="T84" fmla="*/ 92 w 576"/>
                <a:gd name="T85" fmla="*/ 180 h 576"/>
                <a:gd name="T86" fmla="*/ 106 w 576"/>
                <a:gd name="T87" fmla="*/ 246 h 576"/>
                <a:gd name="T88" fmla="*/ 576 w 576"/>
                <a:gd name="T89" fmla="*/ 0 h 576"/>
                <a:gd name="T90" fmla="*/ 522 w 576"/>
                <a:gd name="T91" fmla="*/ 237 h 576"/>
                <a:gd name="T92" fmla="*/ 423 w 576"/>
                <a:gd name="T93" fmla="*/ 237 h 576"/>
                <a:gd name="T94" fmla="*/ 381 w 576"/>
                <a:gd name="T95" fmla="*/ 214 h 576"/>
                <a:gd name="T96" fmla="*/ 446 w 576"/>
                <a:gd name="T97" fmla="*/ 282 h 576"/>
                <a:gd name="T98" fmla="*/ 554 w 576"/>
                <a:gd name="T99" fmla="*/ 214 h 576"/>
                <a:gd name="T100" fmla="*/ 300 w 576"/>
                <a:gd name="T101" fmla="*/ 22 h 576"/>
                <a:gd name="T102" fmla="*/ 279 w 576"/>
                <a:gd name="T103" fmla="*/ 161 h 576"/>
                <a:gd name="T104" fmla="*/ 576 w 576"/>
                <a:gd name="T105" fmla="*/ 0 h 576"/>
                <a:gd name="T106" fmla="*/ 356 w 576"/>
                <a:gd name="T107" fmla="*/ 104 h 576"/>
                <a:gd name="T108" fmla="*/ 498 w 576"/>
                <a:gd name="T109" fmla="*/ 82 h 576"/>
                <a:gd name="T110" fmla="*/ 356 w 576"/>
                <a:gd name="T111" fmla="*/ 132 h 576"/>
                <a:gd name="T112" fmla="*/ 498 w 576"/>
                <a:gd name="T113" fmla="*/ 153 h 576"/>
                <a:gd name="T114" fmla="*/ 356 w 576"/>
                <a:gd name="T115" fmla="*/ 13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553" y="552"/>
                  </a:moveTo>
                  <a:cubicBezTo>
                    <a:pt x="477" y="552"/>
                    <a:pt x="477" y="552"/>
                    <a:pt x="477" y="552"/>
                  </a:cubicBezTo>
                  <a:cubicBezTo>
                    <a:pt x="464" y="458"/>
                    <a:pt x="464" y="458"/>
                    <a:pt x="464" y="458"/>
                  </a:cubicBezTo>
                  <a:cubicBezTo>
                    <a:pt x="456" y="433"/>
                    <a:pt x="437" y="412"/>
                    <a:pt x="412" y="404"/>
                  </a:cubicBezTo>
                  <a:cubicBezTo>
                    <a:pt x="338" y="379"/>
                    <a:pt x="338" y="379"/>
                    <a:pt x="338" y="379"/>
                  </a:cubicBezTo>
                  <a:cubicBezTo>
                    <a:pt x="329" y="376"/>
                    <a:pt x="319" y="378"/>
                    <a:pt x="312" y="385"/>
                  </a:cubicBezTo>
                  <a:cubicBezTo>
                    <a:pt x="307" y="391"/>
                    <a:pt x="307" y="391"/>
                    <a:pt x="307" y="391"/>
                  </a:cubicBezTo>
                  <a:cubicBezTo>
                    <a:pt x="302" y="396"/>
                    <a:pt x="295" y="399"/>
                    <a:pt x="288" y="399"/>
                  </a:cubicBezTo>
                  <a:cubicBezTo>
                    <a:pt x="282" y="399"/>
                    <a:pt x="276" y="396"/>
                    <a:pt x="270" y="391"/>
                  </a:cubicBezTo>
                  <a:cubicBezTo>
                    <a:pt x="265" y="385"/>
                    <a:pt x="265" y="385"/>
                    <a:pt x="265" y="385"/>
                  </a:cubicBezTo>
                  <a:cubicBezTo>
                    <a:pt x="258" y="378"/>
                    <a:pt x="248" y="376"/>
                    <a:pt x="238" y="379"/>
                  </a:cubicBezTo>
                  <a:cubicBezTo>
                    <a:pt x="209" y="389"/>
                    <a:pt x="209" y="389"/>
                    <a:pt x="209" y="389"/>
                  </a:cubicBezTo>
                  <a:cubicBezTo>
                    <a:pt x="204" y="342"/>
                    <a:pt x="204" y="342"/>
                    <a:pt x="204" y="342"/>
                  </a:cubicBezTo>
                  <a:cubicBezTo>
                    <a:pt x="203" y="341"/>
                    <a:pt x="203" y="341"/>
                    <a:pt x="203" y="341"/>
                  </a:cubicBezTo>
                  <a:cubicBezTo>
                    <a:pt x="198" y="324"/>
                    <a:pt x="185" y="310"/>
                    <a:pt x="168" y="304"/>
                  </a:cubicBezTo>
                  <a:cubicBezTo>
                    <a:pt x="123" y="289"/>
                    <a:pt x="123" y="289"/>
                    <a:pt x="123" y="289"/>
                  </a:cubicBezTo>
                  <a:cubicBezTo>
                    <a:pt x="116" y="287"/>
                    <a:pt x="108" y="289"/>
                    <a:pt x="103" y="294"/>
                  </a:cubicBezTo>
                  <a:cubicBezTo>
                    <a:pt x="99" y="297"/>
                    <a:pt x="99" y="297"/>
                    <a:pt x="99" y="297"/>
                  </a:cubicBezTo>
                  <a:cubicBezTo>
                    <a:pt x="97" y="300"/>
                    <a:pt x="94" y="301"/>
                    <a:pt x="91" y="301"/>
                  </a:cubicBezTo>
                  <a:cubicBezTo>
                    <a:pt x="88" y="301"/>
                    <a:pt x="85" y="300"/>
                    <a:pt x="83" y="297"/>
                  </a:cubicBezTo>
                  <a:cubicBezTo>
                    <a:pt x="79" y="294"/>
                    <a:pt x="79" y="294"/>
                    <a:pt x="79" y="294"/>
                  </a:cubicBezTo>
                  <a:cubicBezTo>
                    <a:pt x="74" y="289"/>
                    <a:pt x="66" y="287"/>
                    <a:pt x="59" y="289"/>
                  </a:cubicBezTo>
                  <a:cubicBezTo>
                    <a:pt x="24" y="301"/>
                    <a:pt x="24" y="301"/>
                    <a:pt x="24" y="301"/>
                  </a:cubicBezTo>
                  <a:cubicBezTo>
                    <a:pt x="24" y="23"/>
                    <a:pt x="24" y="23"/>
                    <a:pt x="24" y="23"/>
                  </a:cubicBezTo>
                  <a:cubicBezTo>
                    <a:pt x="244" y="23"/>
                    <a:pt x="244" y="23"/>
                    <a:pt x="244" y="23"/>
                  </a:cubicBezTo>
                  <a:cubicBezTo>
                    <a:pt x="244" y="0"/>
                    <a:pt x="244" y="0"/>
                    <a:pt x="244" y="0"/>
                  </a:cubicBezTo>
                  <a:cubicBezTo>
                    <a:pt x="0" y="0"/>
                    <a:pt x="0" y="0"/>
                    <a:pt x="0" y="0"/>
                  </a:cubicBezTo>
                  <a:cubicBezTo>
                    <a:pt x="0" y="576"/>
                    <a:pt x="0" y="576"/>
                    <a:pt x="0" y="576"/>
                  </a:cubicBezTo>
                  <a:cubicBezTo>
                    <a:pt x="121" y="576"/>
                    <a:pt x="121" y="576"/>
                    <a:pt x="121" y="576"/>
                  </a:cubicBezTo>
                  <a:cubicBezTo>
                    <a:pt x="135" y="465"/>
                    <a:pt x="135" y="465"/>
                    <a:pt x="135" y="465"/>
                  </a:cubicBezTo>
                  <a:cubicBezTo>
                    <a:pt x="140" y="447"/>
                    <a:pt x="155" y="432"/>
                    <a:pt x="173" y="426"/>
                  </a:cubicBezTo>
                  <a:cubicBezTo>
                    <a:pt x="246" y="401"/>
                    <a:pt x="246" y="401"/>
                    <a:pt x="246" y="401"/>
                  </a:cubicBezTo>
                  <a:cubicBezTo>
                    <a:pt x="247" y="401"/>
                    <a:pt x="247" y="401"/>
                    <a:pt x="247" y="401"/>
                  </a:cubicBezTo>
                  <a:cubicBezTo>
                    <a:pt x="247" y="401"/>
                    <a:pt x="247" y="401"/>
                    <a:pt x="247" y="401"/>
                  </a:cubicBezTo>
                  <a:cubicBezTo>
                    <a:pt x="253" y="408"/>
                    <a:pt x="253" y="408"/>
                    <a:pt x="253" y="408"/>
                  </a:cubicBezTo>
                  <a:cubicBezTo>
                    <a:pt x="263" y="417"/>
                    <a:pt x="276" y="423"/>
                    <a:pt x="288" y="423"/>
                  </a:cubicBezTo>
                  <a:cubicBezTo>
                    <a:pt x="301" y="423"/>
                    <a:pt x="314" y="417"/>
                    <a:pt x="324" y="408"/>
                  </a:cubicBezTo>
                  <a:cubicBezTo>
                    <a:pt x="329" y="402"/>
                    <a:pt x="329" y="402"/>
                    <a:pt x="329" y="402"/>
                  </a:cubicBezTo>
                  <a:cubicBezTo>
                    <a:pt x="329" y="401"/>
                    <a:pt x="329" y="401"/>
                    <a:pt x="330" y="401"/>
                  </a:cubicBezTo>
                  <a:cubicBezTo>
                    <a:pt x="330" y="401"/>
                    <a:pt x="330" y="401"/>
                    <a:pt x="330" y="401"/>
                  </a:cubicBezTo>
                  <a:cubicBezTo>
                    <a:pt x="404" y="426"/>
                    <a:pt x="404" y="426"/>
                    <a:pt x="404" y="426"/>
                  </a:cubicBezTo>
                  <a:cubicBezTo>
                    <a:pt x="422" y="432"/>
                    <a:pt x="436" y="447"/>
                    <a:pt x="441" y="463"/>
                  </a:cubicBezTo>
                  <a:cubicBezTo>
                    <a:pt x="456" y="576"/>
                    <a:pt x="456" y="576"/>
                    <a:pt x="456" y="576"/>
                  </a:cubicBezTo>
                  <a:cubicBezTo>
                    <a:pt x="576" y="576"/>
                    <a:pt x="576" y="576"/>
                    <a:pt x="576" y="576"/>
                  </a:cubicBezTo>
                  <a:cubicBezTo>
                    <a:pt x="576" y="266"/>
                    <a:pt x="576" y="266"/>
                    <a:pt x="576" y="266"/>
                  </a:cubicBezTo>
                  <a:cubicBezTo>
                    <a:pt x="553" y="266"/>
                    <a:pt x="553" y="266"/>
                    <a:pt x="553" y="266"/>
                  </a:cubicBezTo>
                  <a:lnTo>
                    <a:pt x="553" y="552"/>
                  </a:lnTo>
                  <a:close/>
                  <a:moveTo>
                    <a:pt x="100" y="552"/>
                  </a:moveTo>
                  <a:cubicBezTo>
                    <a:pt x="24" y="552"/>
                    <a:pt x="24" y="552"/>
                    <a:pt x="24" y="552"/>
                  </a:cubicBezTo>
                  <a:cubicBezTo>
                    <a:pt x="24" y="326"/>
                    <a:pt x="24" y="326"/>
                    <a:pt x="24" y="326"/>
                  </a:cubicBezTo>
                  <a:cubicBezTo>
                    <a:pt x="64" y="313"/>
                    <a:pt x="64" y="313"/>
                    <a:pt x="64" y="313"/>
                  </a:cubicBezTo>
                  <a:cubicBezTo>
                    <a:pt x="66" y="314"/>
                    <a:pt x="66" y="314"/>
                    <a:pt x="66" y="314"/>
                  </a:cubicBezTo>
                  <a:cubicBezTo>
                    <a:pt x="72" y="321"/>
                    <a:pt x="82" y="324"/>
                    <a:pt x="91" y="324"/>
                  </a:cubicBezTo>
                  <a:cubicBezTo>
                    <a:pt x="101" y="324"/>
                    <a:pt x="109" y="321"/>
                    <a:pt x="116" y="314"/>
                  </a:cubicBezTo>
                  <a:cubicBezTo>
                    <a:pt x="118" y="313"/>
                    <a:pt x="118" y="313"/>
                    <a:pt x="118" y="313"/>
                  </a:cubicBezTo>
                  <a:cubicBezTo>
                    <a:pt x="160" y="326"/>
                    <a:pt x="160" y="326"/>
                    <a:pt x="160" y="326"/>
                  </a:cubicBezTo>
                  <a:cubicBezTo>
                    <a:pt x="169" y="330"/>
                    <a:pt x="177" y="338"/>
                    <a:pt x="180" y="347"/>
                  </a:cubicBezTo>
                  <a:cubicBezTo>
                    <a:pt x="186" y="396"/>
                    <a:pt x="186" y="396"/>
                    <a:pt x="186" y="396"/>
                  </a:cubicBezTo>
                  <a:cubicBezTo>
                    <a:pt x="165" y="404"/>
                    <a:pt x="165" y="404"/>
                    <a:pt x="165" y="404"/>
                  </a:cubicBezTo>
                  <a:cubicBezTo>
                    <a:pt x="139" y="413"/>
                    <a:pt x="120" y="433"/>
                    <a:pt x="112" y="460"/>
                  </a:cubicBezTo>
                  <a:lnTo>
                    <a:pt x="100" y="552"/>
                  </a:lnTo>
                  <a:close/>
                  <a:moveTo>
                    <a:pt x="289" y="186"/>
                  </a:moveTo>
                  <a:cubicBezTo>
                    <a:pt x="252" y="186"/>
                    <a:pt x="222" y="219"/>
                    <a:pt x="222" y="260"/>
                  </a:cubicBezTo>
                  <a:cubicBezTo>
                    <a:pt x="222" y="301"/>
                    <a:pt x="229" y="329"/>
                    <a:pt x="244" y="345"/>
                  </a:cubicBezTo>
                  <a:cubicBezTo>
                    <a:pt x="257" y="360"/>
                    <a:pt x="268" y="371"/>
                    <a:pt x="289" y="371"/>
                  </a:cubicBezTo>
                  <a:cubicBezTo>
                    <a:pt x="311" y="371"/>
                    <a:pt x="323" y="358"/>
                    <a:pt x="334" y="345"/>
                  </a:cubicBezTo>
                  <a:cubicBezTo>
                    <a:pt x="349" y="329"/>
                    <a:pt x="357" y="300"/>
                    <a:pt x="357" y="260"/>
                  </a:cubicBezTo>
                  <a:cubicBezTo>
                    <a:pt x="357" y="219"/>
                    <a:pt x="326" y="186"/>
                    <a:pt x="289" y="186"/>
                  </a:cubicBezTo>
                  <a:close/>
                  <a:moveTo>
                    <a:pt x="289" y="347"/>
                  </a:moveTo>
                  <a:cubicBezTo>
                    <a:pt x="280" y="347"/>
                    <a:pt x="274" y="343"/>
                    <a:pt x="262" y="330"/>
                  </a:cubicBezTo>
                  <a:cubicBezTo>
                    <a:pt x="251" y="318"/>
                    <a:pt x="246" y="294"/>
                    <a:pt x="246" y="260"/>
                  </a:cubicBezTo>
                  <a:cubicBezTo>
                    <a:pt x="246" y="232"/>
                    <a:pt x="265" y="210"/>
                    <a:pt x="289" y="210"/>
                  </a:cubicBezTo>
                  <a:cubicBezTo>
                    <a:pt x="313" y="210"/>
                    <a:pt x="333" y="232"/>
                    <a:pt x="333" y="260"/>
                  </a:cubicBezTo>
                  <a:cubicBezTo>
                    <a:pt x="333" y="292"/>
                    <a:pt x="327" y="317"/>
                    <a:pt x="317" y="330"/>
                  </a:cubicBezTo>
                  <a:cubicBezTo>
                    <a:pt x="304" y="343"/>
                    <a:pt x="299" y="347"/>
                    <a:pt x="289" y="347"/>
                  </a:cubicBezTo>
                  <a:close/>
                  <a:moveTo>
                    <a:pt x="46" y="206"/>
                  </a:moveTo>
                  <a:cubicBezTo>
                    <a:pt x="46" y="232"/>
                    <a:pt x="51" y="251"/>
                    <a:pt x="61" y="261"/>
                  </a:cubicBezTo>
                  <a:cubicBezTo>
                    <a:pt x="69" y="271"/>
                    <a:pt x="77" y="279"/>
                    <a:pt x="92" y="279"/>
                  </a:cubicBezTo>
                  <a:cubicBezTo>
                    <a:pt x="107" y="279"/>
                    <a:pt x="116" y="270"/>
                    <a:pt x="123" y="261"/>
                  </a:cubicBezTo>
                  <a:cubicBezTo>
                    <a:pt x="133" y="251"/>
                    <a:pt x="138" y="232"/>
                    <a:pt x="138" y="206"/>
                  </a:cubicBezTo>
                  <a:cubicBezTo>
                    <a:pt x="138" y="178"/>
                    <a:pt x="118" y="156"/>
                    <a:pt x="92" y="156"/>
                  </a:cubicBezTo>
                  <a:cubicBezTo>
                    <a:pt x="66" y="156"/>
                    <a:pt x="46" y="178"/>
                    <a:pt x="46" y="206"/>
                  </a:cubicBezTo>
                  <a:close/>
                  <a:moveTo>
                    <a:pt x="92" y="255"/>
                  </a:moveTo>
                  <a:cubicBezTo>
                    <a:pt x="88" y="255"/>
                    <a:pt x="86" y="254"/>
                    <a:pt x="79" y="246"/>
                  </a:cubicBezTo>
                  <a:cubicBezTo>
                    <a:pt x="73" y="239"/>
                    <a:pt x="70" y="226"/>
                    <a:pt x="70" y="206"/>
                  </a:cubicBezTo>
                  <a:cubicBezTo>
                    <a:pt x="70" y="191"/>
                    <a:pt x="79" y="180"/>
                    <a:pt x="92" y="180"/>
                  </a:cubicBezTo>
                  <a:cubicBezTo>
                    <a:pt x="104" y="180"/>
                    <a:pt x="114" y="192"/>
                    <a:pt x="114" y="206"/>
                  </a:cubicBezTo>
                  <a:cubicBezTo>
                    <a:pt x="114" y="224"/>
                    <a:pt x="111" y="239"/>
                    <a:pt x="106" y="246"/>
                  </a:cubicBezTo>
                  <a:cubicBezTo>
                    <a:pt x="98" y="254"/>
                    <a:pt x="95" y="255"/>
                    <a:pt x="92" y="255"/>
                  </a:cubicBezTo>
                  <a:close/>
                  <a:moveTo>
                    <a:pt x="576" y="0"/>
                  </a:moveTo>
                  <a:cubicBezTo>
                    <a:pt x="576" y="237"/>
                    <a:pt x="576" y="237"/>
                    <a:pt x="576" y="237"/>
                  </a:cubicBezTo>
                  <a:cubicBezTo>
                    <a:pt x="522" y="237"/>
                    <a:pt x="522" y="237"/>
                    <a:pt x="522" y="237"/>
                  </a:cubicBezTo>
                  <a:cubicBezTo>
                    <a:pt x="423" y="334"/>
                    <a:pt x="423" y="334"/>
                    <a:pt x="423" y="334"/>
                  </a:cubicBezTo>
                  <a:cubicBezTo>
                    <a:pt x="423" y="237"/>
                    <a:pt x="423" y="237"/>
                    <a:pt x="423" y="237"/>
                  </a:cubicBezTo>
                  <a:cubicBezTo>
                    <a:pt x="381" y="237"/>
                    <a:pt x="381" y="237"/>
                    <a:pt x="381" y="237"/>
                  </a:cubicBezTo>
                  <a:cubicBezTo>
                    <a:pt x="381" y="214"/>
                    <a:pt x="381" y="214"/>
                    <a:pt x="381" y="214"/>
                  </a:cubicBezTo>
                  <a:cubicBezTo>
                    <a:pt x="446" y="214"/>
                    <a:pt x="446" y="214"/>
                    <a:pt x="446" y="214"/>
                  </a:cubicBezTo>
                  <a:cubicBezTo>
                    <a:pt x="446" y="282"/>
                    <a:pt x="446" y="282"/>
                    <a:pt x="446" y="282"/>
                  </a:cubicBezTo>
                  <a:cubicBezTo>
                    <a:pt x="513" y="214"/>
                    <a:pt x="513" y="214"/>
                    <a:pt x="513" y="214"/>
                  </a:cubicBezTo>
                  <a:cubicBezTo>
                    <a:pt x="554" y="214"/>
                    <a:pt x="554" y="214"/>
                    <a:pt x="554" y="214"/>
                  </a:cubicBezTo>
                  <a:cubicBezTo>
                    <a:pt x="554" y="22"/>
                    <a:pt x="554" y="22"/>
                    <a:pt x="554" y="22"/>
                  </a:cubicBezTo>
                  <a:cubicBezTo>
                    <a:pt x="300" y="22"/>
                    <a:pt x="300" y="22"/>
                    <a:pt x="300" y="22"/>
                  </a:cubicBezTo>
                  <a:cubicBezTo>
                    <a:pt x="300" y="161"/>
                    <a:pt x="300" y="161"/>
                    <a:pt x="300" y="161"/>
                  </a:cubicBezTo>
                  <a:cubicBezTo>
                    <a:pt x="279" y="161"/>
                    <a:pt x="279" y="161"/>
                    <a:pt x="279" y="161"/>
                  </a:cubicBezTo>
                  <a:cubicBezTo>
                    <a:pt x="279" y="0"/>
                    <a:pt x="279" y="0"/>
                    <a:pt x="279" y="0"/>
                  </a:cubicBezTo>
                  <a:lnTo>
                    <a:pt x="576" y="0"/>
                  </a:lnTo>
                  <a:close/>
                  <a:moveTo>
                    <a:pt x="498" y="104"/>
                  </a:moveTo>
                  <a:cubicBezTo>
                    <a:pt x="356" y="104"/>
                    <a:pt x="356" y="104"/>
                    <a:pt x="356" y="104"/>
                  </a:cubicBezTo>
                  <a:cubicBezTo>
                    <a:pt x="356" y="82"/>
                    <a:pt x="356" y="82"/>
                    <a:pt x="356" y="82"/>
                  </a:cubicBezTo>
                  <a:cubicBezTo>
                    <a:pt x="498" y="82"/>
                    <a:pt x="498" y="82"/>
                    <a:pt x="498" y="82"/>
                  </a:cubicBezTo>
                  <a:lnTo>
                    <a:pt x="498" y="104"/>
                  </a:lnTo>
                  <a:close/>
                  <a:moveTo>
                    <a:pt x="356" y="132"/>
                  </a:moveTo>
                  <a:cubicBezTo>
                    <a:pt x="498" y="132"/>
                    <a:pt x="498" y="132"/>
                    <a:pt x="498" y="132"/>
                  </a:cubicBezTo>
                  <a:cubicBezTo>
                    <a:pt x="498" y="153"/>
                    <a:pt x="498" y="153"/>
                    <a:pt x="498" y="153"/>
                  </a:cubicBezTo>
                  <a:cubicBezTo>
                    <a:pt x="356" y="153"/>
                    <a:pt x="356" y="153"/>
                    <a:pt x="356" y="153"/>
                  </a:cubicBezTo>
                  <a:lnTo>
                    <a:pt x="356" y="13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a:solidFill>
                  <a:schemeClr val="accent1"/>
                </a:solidFill>
              </a:endParaRPr>
            </a:p>
          </p:txBody>
        </p:sp>
        <p:sp>
          <p:nvSpPr>
            <p:cNvPr id="102" name="Freeform 29">
              <a:extLst>
                <a:ext uri="{FF2B5EF4-FFF2-40B4-BE49-F238E27FC236}">
                  <a16:creationId xmlns:a16="http://schemas.microsoft.com/office/drawing/2014/main" id="{43CDE605-D0BF-4EDA-8C32-9E04D24DF7AB}"/>
                </a:ext>
              </a:extLst>
            </p:cNvPr>
            <p:cNvSpPr>
              <a:spLocks noChangeAspect="1" noEditPoints="1"/>
            </p:cNvSpPr>
            <p:nvPr/>
          </p:nvSpPr>
          <p:spPr bwMode="auto">
            <a:xfrm>
              <a:off x="5098823" y="2849392"/>
              <a:ext cx="476074" cy="452546"/>
            </a:xfrm>
            <a:custGeom>
              <a:avLst/>
              <a:gdLst>
                <a:gd name="T0" fmla="*/ 230 w 576"/>
                <a:gd name="T1" fmla="*/ 141 h 576"/>
                <a:gd name="T2" fmla="*/ 288 w 576"/>
                <a:gd name="T3" fmla="*/ 235 h 576"/>
                <a:gd name="T4" fmla="*/ 346 w 576"/>
                <a:gd name="T5" fmla="*/ 141 h 576"/>
                <a:gd name="T6" fmla="*/ 288 w 576"/>
                <a:gd name="T7" fmla="*/ 211 h 576"/>
                <a:gd name="T8" fmla="*/ 254 w 576"/>
                <a:gd name="T9" fmla="*/ 141 h 576"/>
                <a:gd name="T10" fmla="*/ 323 w 576"/>
                <a:gd name="T11" fmla="*/ 141 h 576"/>
                <a:gd name="T12" fmla="*/ 288 w 576"/>
                <a:gd name="T13" fmla="*/ 211 h 576"/>
                <a:gd name="T14" fmla="*/ 0 w 576"/>
                <a:gd name="T15" fmla="*/ 576 h 576"/>
                <a:gd name="T16" fmla="*/ 576 w 576"/>
                <a:gd name="T17" fmla="*/ 0 h 576"/>
                <a:gd name="T18" fmla="*/ 484 w 576"/>
                <a:gd name="T19" fmla="*/ 411 h 576"/>
                <a:gd name="T20" fmla="*/ 92 w 576"/>
                <a:gd name="T21" fmla="*/ 443 h 576"/>
                <a:gd name="T22" fmla="*/ 484 w 576"/>
                <a:gd name="T23" fmla="*/ 411 h 576"/>
                <a:gd name="T24" fmla="*/ 321 w 576"/>
                <a:gd name="T25" fmla="*/ 301 h 576"/>
                <a:gd name="T26" fmla="*/ 355 w 576"/>
                <a:gd name="T27" fmla="*/ 387 h 576"/>
                <a:gd name="T28" fmla="*/ 162 w 576"/>
                <a:gd name="T29" fmla="*/ 313 h 576"/>
                <a:gd name="T30" fmla="*/ 253 w 576"/>
                <a:gd name="T31" fmla="*/ 262 h 576"/>
                <a:gd name="T32" fmla="*/ 288 w 576"/>
                <a:gd name="T33" fmla="*/ 280 h 576"/>
                <a:gd name="T34" fmla="*/ 323 w 576"/>
                <a:gd name="T35" fmla="*/ 262 h 576"/>
                <a:gd name="T36" fmla="*/ 415 w 576"/>
                <a:gd name="T37" fmla="*/ 313 h 576"/>
                <a:gd name="T38" fmla="*/ 379 w 576"/>
                <a:gd name="T39" fmla="*/ 387 h 576"/>
                <a:gd name="T40" fmla="*/ 338 w 576"/>
                <a:gd name="T41" fmla="*/ 284 h 576"/>
                <a:gd name="T42" fmla="*/ 508 w 576"/>
                <a:gd name="T43" fmla="*/ 387 h 576"/>
                <a:gd name="T44" fmla="*/ 438 w 576"/>
                <a:gd name="T45" fmla="*/ 310 h 576"/>
                <a:gd name="T46" fmla="*/ 438 w 576"/>
                <a:gd name="T47" fmla="*/ 307 h 576"/>
                <a:gd name="T48" fmla="*/ 330 w 576"/>
                <a:gd name="T49" fmla="*/ 240 h 576"/>
                <a:gd name="T50" fmla="*/ 302 w 576"/>
                <a:gd name="T51" fmla="*/ 250 h 576"/>
                <a:gd name="T52" fmla="*/ 274 w 576"/>
                <a:gd name="T53" fmla="*/ 250 h 576"/>
                <a:gd name="T54" fmla="*/ 246 w 576"/>
                <a:gd name="T55" fmla="*/ 240 h 576"/>
                <a:gd name="T56" fmla="*/ 139 w 576"/>
                <a:gd name="T57" fmla="*/ 307 h 576"/>
                <a:gd name="T58" fmla="*/ 68 w 576"/>
                <a:gd name="T59" fmla="*/ 387 h 576"/>
                <a:gd name="T60" fmla="*/ 160 w 576"/>
                <a:gd name="T61" fmla="*/ 552 h 576"/>
                <a:gd name="T62" fmla="*/ 24 w 576"/>
                <a:gd name="T63" fmla="*/ 24 h 576"/>
                <a:gd name="T64" fmla="*/ 552 w 576"/>
                <a:gd name="T65" fmla="*/ 552 h 576"/>
                <a:gd name="T66" fmla="*/ 508 w 576"/>
                <a:gd name="T67" fmla="*/ 460 h 576"/>
                <a:gd name="T68" fmla="*/ 382 w 576"/>
                <a:gd name="T69" fmla="*/ 552 h 576"/>
                <a:gd name="T70" fmla="*/ 109 w 576"/>
                <a:gd name="T71" fmla="*/ 467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6" h="576">
                  <a:moveTo>
                    <a:pt x="288" y="77"/>
                  </a:moveTo>
                  <a:cubicBezTo>
                    <a:pt x="256" y="77"/>
                    <a:pt x="230" y="106"/>
                    <a:pt x="230" y="141"/>
                  </a:cubicBezTo>
                  <a:cubicBezTo>
                    <a:pt x="230" y="175"/>
                    <a:pt x="237" y="200"/>
                    <a:pt x="250" y="214"/>
                  </a:cubicBezTo>
                  <a:cubicBezTo>
                    <a:pt x="259" y="225"/>
                    <a:pt x="270" y="235"/>
                    <a:pt x="288" y="235"/>
                  </a:cubicBezTo>
                  <a:cubicBezTo>
                    <a:pt x="307" y="235"/>
                    <a:pt x="317" y="224"/>
                    <a:pt x="327" y="214"/>
                  </a:cubicBezTo>
                  <a:cubicBezTo>
                    <a:pt x="340" y="200"/>
                    <a:pt x="346" y="175"/>
                    <a:pt x="346" y="141"/>
                  </a:cubicBezTo>
                  <a:cubicBezTo>
                    <a:pt x="346" y="106"/>
                    <a:pt x="320" y="77"/>
                    <a:pt x="288" y="77"/>
                  </a:cubicBezTo>
                  <a:close/>
                  <a:moveTo>
                    <a:pt x="288" y="211"/>
                  </a:moveTo>
                  <a:cubicBezTo>
                    <a:pt x="281" y="211"/>
                    <a:pt x="277" y="209"/>
                    <a:pt x="267" y="198"/>
                  </a:cubicBezTo>
                  <a:cubicBezTo>
                    <a:pt x="258" y="188"/>
                    <a:pt x="254" y="168"/>
                    <a:pt x="254" y="141"/>
                  </a:cubicBezTo>
                  <a:cubicBezTo>
                    <a:pt x="254" y="119"/>
                    <a:pt x="269" y="101"/>
                    <a:pt x="288" y="101"/>
                  </a:cubicBezTo>
                  <a:cubicBezTo>
                    <a:pt x="307" y="101"/>
                    <a:pt x="323" y="119"/>
                    <a:pt x="323" y="141"/>
                  </a:cubicBezTo>
                  <a:cubicBezTo>
                    <a:pt x="323" y="169"/>
                    <a:pt x="318" y="189"/>
                    <a:pt x="310" y="198"/>
                  </a:cubicBezTo>
                  <a:cubicBezTo>
                    <a:pt x="300" y="209"/>
                    <a:pt x="296" y="211"/>
                    <a:pt x="288" y="211"/>
                  </a:cubicBezTo>
                  <a:close/>
                  <a:moveTo>
                    <a:pt x="0" y="0"/>
                  </a:moveTo>
                  <a:cubicBezTo>
                    <a:pt x="0" y="576"/>
                    <a:pt x="0" y="576"/>
                    <a:pt x="0" y="576"/>
                  </a:cubicBezTo>
                  <a:cubicBezTo>
                    <a:pt x="576" y="576"/>
                    <a:pt x="576" y="576"/>
                    <a:pt x="576" y="576"/>
                  </a:cubicBezTo>
                  <a:cubicBezTo>
                    <a:pt x="576" y="0"/>
                    <a:pt x="576" y="0"/>
                    <a:pt x="576" y="0"/>
                  </a:cubicBezTo>
                  <a:lnTo>
                    <a:pt x="0" y="0"/>
                  </a:lnTo>
                  <a:close/>
                  <a:moveTo>
                    <a:pt x="484" y="411"/>
                  </a:moveTo>
                  <a:cubicBezTo>
                    <a:pt x="484" y="443"/>
                    <a:pt x="484" y="443"/>
                    <a:pt x="484" y="443"/>
                  </a:cubicBezTo>
                  <a:cubicBezTo>
                    <a:pt x="92" y="443"/>
                    <a:pt x="92" y="443"/>
                    <a:pt x="92" y="443"/>
                  </a:cubicBezTo>
                  <a:cubicBezTo>
                    <a:pt x="92" y="411"/>
                    <a:pt x="92" y="411"/>
                    <a:pt x="92" y="411"/>
                  </a:cubicBezTo>
                  <a:lnTo>
                    <a:pt x="484" y="411"/>
                  </a:lnTo>
                  <a:close/>
                  <a:moveTo>
                    <a:pt x="338" y="284"/>
                  </a:moveTo>
                  <a:cubicBezTo>
                    <a:pt x="321" y="301"/>
                    <a:pt x="321" y="301"/>
                    <a:pt x="321" y="301"/>
                  </a:cubicBezTo>
                  <a:cubicBezTo>
                    <a:pt x="355" y="335"/>
                    <a:pt x="355" y="335"/>
                    <a:pt x="355" y="335"/>
                  </a:cubicBezTo>
                  <a:cubicBezTo>
                    <a:pt x="355" y="387"/>
                    <a:pt x="355" y="387"/>
                    <a:pt x="355" y="387"/>
                  </a:cubicBezTo>
                  <a:cubicBezTo>
                    <a:pt x="152" y="387"/>
                    <a:pt x="152" y="387"/>
                    <a:pt x="152" y="387"/>
                  </a:cubicBezTo>
                  <a:cubicBezTo>
                    <a:pt x="162" y="313"/>
                    <a:pt x="162" y="313"/>
                    <a:pt x="162" y="313"/>
                  </a:cubicBezTo>
                  <a:cubicBezTo>
                    <a:pt x="166" y="299"/>
                    <a:pt x="177" y="288"/>
                    <a:pt x="192" y="283"/>
                  </a:cubicBezTo>
                  <a:cubicBezTo>
                    <a:pt x="253" y="262"/>
                    <a:pt x="253" y="262"/>
                    <a:pt x="253" y="262"/>
                  </a:cubicBezTo>
                  <a:cubicBezTo>
                    <a:pt x="257" y="267"/>
                    <a:pt x="257" y="267"/>
                    <a:pt x="257" y="267"/>
                  </a:cubicBezTo>
                  <a:cubicBezTo>
                    <a:pt x="265" y="275"/>
                    <a:pt x="276" y="280"/>
                    <a:pt x="288" y="280"/>
                  </a:cubicBezTo>
                  <a:cubicBezTo>
                    <a:pt x="300" y="280"/>
                    <a:pt x="311" y="275"/>
                    <a:pt x="319" y="267"/>
                  </a:cubicBezTo>
                  <a:cubicBezTo>
                    <a:pt x="323" y="262"/>
                    <a:pt x="323" y="262"/>
                    <a:pt x="323" y="262"/>
                  </a:cubicBezTo>
                  <a:cubicBezTo>
                    <a:pt x="384" y="283"/>
                    <a:pt x="384" y="283"/>
                    <a:pt x="384" y="283"/>
                  </a:cubicBezTo>
                  <a:cubicBezTo>
                    <a:pt x="399" y="288"/>
                    <a:pt x="410" y="300"/>
                    <a:pt x="415" y="313"/>
                  </a:cubicBezTo>
                  <a:cubicBezTo>
                    <a:pt x="424" y="387"/>
                    <a:pt x="424" y="387"/>
                    <a:pt x="424" y="387"/>
                  </a:cubicBezTo>
                  <a:cubicBezTo>
                    <a:pt x="379" y="387"/>
                    <a:pt x="379" y="387"/>
                    <a:pt x="379" y="387"/>
                  </a:cubicBezTo>
                  <a:cubicBezTo>
                    <a:pt x="379" y="325"/>
                    <a:pt x="379" y="325"/>
                    <a:pt x="379" y="325"/>
                  </a:cubicBezTo>
                  <a:lnTo>
                    <a:pt x="338" y="284"/>
                  </a:lnTo>
                  <a:close/>
                  <a:moveTo>
                    <a:pt x="508" y="460"/>
                  </a:moveTo>
                  <a:cubicBezTo>
                    <a:pt x="508" y="387"/>
                    <a:pt x="508" y="387"/>
                    <a:pt x="508" y="387"/>
                  </a:cubicBezTo>
                  <a:cubicBezTo>
                    <a:pt x="448" y="387"/>
                    <a:pt x="448" y="387"/>
                    <a:pt x="448" y="387"/>
                  </a:cubicBezTo>
                  <a:cubicBezTo>
                    <a:pt x="438" y="310"/>
                    <a:pt x="438" y="310"/>
                    <a:pt x="438" y="310"/>
                  </a:cubicBezTo>
                  <a:cubicBezTo>
                    <a:pt x="438" y="308"/>
                    <a:pt x="438" y="308"/>
                    <a:pt x="438" y="308"/>
                  </a:cubicBezTo>
                  <a:cubicBezTo>
                    <a:pt x="438" y="307"/>
                    <a:pt x="438" y="307"/>
                    <a:pt x="438" y="307"/>
                  </a:cubicBezTo>
                  <a:cubicBezTo>
                    <a:pt x="431" y="285"/>
                    <a:pt x="414" y="268"/>
                    <a:pt x="392" y="260"/>
                  </a:cubicBezTo>
                  <a:cubicBezTo>
                    <a:pt x="330" y="240"/>
                    <a:pt x="330" y="240"/>
                    <a:pt x="330" y="240"/>
                  </a:cubicBezTo>
                  <a:cubicBezTo>
                    <a:pt x="322" y="237"/>
                    <a:pt x="313" y="239"/>
                    <a:pt x="307" y="245"/>
                  </a:cubicBezTo>
                  <a:cubicBezTo>
                    <a:pt x="302" y="250"/>
                    <a:pt x="302" y="250"/>
                    <a:pt x="302" y="250"/>
                  </a:cubicBezTo>
                  <a:cubicBezTo>
                    <a:pt x="299" y="254"/>
                    <a:pt x="293" y="256"/>
                    <a:pt x="288" y="256"/>
                  </a:cubicBezTo>
                  <a:cubicBezTo>
                    <a:pt x="282" y="256"/>
                    <a:pt x="278" y="254"/>
                    <a:pt x="274" y="250"/>
                  </a:cubicBezTo>
                  <a:cubicBezTo>
                    <a:pt x="269" y="245"/>
                    <a:pt x="269" y="245"/>
                    <a:pt x="269" y="245"/>
                  </a:cubicBezTo>
                  <a:cubicBezTo>
                    <a:pt x="264" y="239"/>
                    <a:pt x="254" y="237"/>
                    <a:pt x="246" y="240"/>
                  </a:cubicBezTo>
                  <a:cubicBezTo>
                    <a:pt x="184" y="260"/>
                    <a:pt x="184" y="260"/>
                    <a:pt x="184" y="260"/>
                  </a:cubicBezTo>
                  <a:cubicBezTo>
                    <a:pt x="162" y="268"/>
                    <a:pt x="146" y="285"/>
                    <a:pt x="139" y="307"/>
                  </a:cubicBezTo>
                  <a:cubicBezTo>
                    <a:pt x="128" y="387"/>
                    <a:pt x="128" y="387"/>
                    <a:pt x="128" y="387"/>
                  </a:cubicBezTo>
                  <a:cubicBezTo>
                    <a:pt x="68" y="387"/>
                    <a:pt x="68" y="387"/>
                    <a:pt x="68" y="387"/>
                  </a:cubicBezTo>
                  <a:cubicBezTo>
                    <a:pt x="68" y="460"/>
                    <a:pt x="68" y="460"/>
                    <a:pt x="68" y="460"/>
                  </a:cubicBezTo>
                  <a:cubicBezTo>
                    <a:pt x="160" y="552"/>
                    <a:pt x="160" y="552"/>
                    <a:pt x="160" y="552"/>
                  </a:cubicBezTo>
                  <a:cubicBezTo>
                    <a:pt x="24" y="552"/>
                    <a:pt x="24" y="552"/>
                    <a:pt x="24" y="552"/>
                  </a:cubicBezTo>
                  <a:cubicBezTo>
                    <a:pt x="24" y="24"/>
                    <a:pt x="24" y="24"/>
                    <a:pt x="24" y="24"/>
                  </a:cubicBezTo>
                  <a:cubicBezTo>
                    <a:pt x="552" y="24"/>
                    <a:pt x="552" y="24"/>
                    <a:pt x="552" y="24"/>
                  </a:cubicBezTo>
                  <a:cubicBezTo>
                    <a:pt x="552" y="552"/>
                    <a:pt x="552" y="552"/>
                    <a:pt x="552" y="552"/>
                  </a:cubicBezTo>
                  <a:cubicBezTo>
                    <a:pt x="416" y="552"/>
                    <a:pt x="416" y="552"/>
                    <a:pt x="416" y="552"/>
                  </a:cubicBezTo>
                  <a:lnTo>
                    <a:pt x="508" y="460"/>
                  </a:lnTo>
                  <a:close/>
                  <a:moveTo>
                    <a:pt x="467" y="467"/>
                  </a:moveTo>
                  <a:cubicBezTo>
                    <a:pt x="382" y="552"/>
                    <a:pt x="382" y="552"/>
                    <a:pt x="382" y="552"/>
                  </a:cubicBezTo>
                  <a:cubicBezTo>
                    <a:pt x="194" y="552"/>
                    <a:pt x="194" y="552"/>
                    <a:pt x="194" y="552"/>
                  </a:cubicBezTo>
                  <a:cubicBezTo>
                    <a:pt x="109" y="467"/>
                    <a:pt x="109" y="467"/>
                    <a:pt x="109" y="467"/>
                  </a:cubicBezTo>
                  <a:lnTo>
                    <a:pt x="467" y="4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grpSp>
          <p:nvGrpSpPr>
            <p:cNvPr id="105" name="Graphic 61">
              <a:extLst>
                <a:ext uri="{FF2B5EF4-FFF2-40B4-BE49-F238E27FC236}">
                  <a16:creationId xmlns:a16="http://schemas.microsoft.com/office/drawing/2014/main" id="{1E118A52-7B51-46A7-976B-E0028012FA03}"/>
                </a:ext>
              </a:extLst>
            </p:cNvPr>
            <p:cNvGrpSpPr/>
            <p:nvPr/>
          </p:nvGrpSpPr>
          <p:grpSpPr>
            <a:xfrm>
              <a:off x="7796076" y="2841345"/>
              <a:ext cx="476749" cy="452546"/>
              <a:chOff x="3519218" y="2560815"/>
              <a:chExt cx="457200" cy="457200"/>
            </a:xfrm>
            <a:solidFill>
              <a:schemeClr val="tx2"/>
            </a:solidFill>
          </p:grpSpPr>
          <p:grpSp>
            <p:nvGrpSpPr>
              <p:cNvPr id="107" name="Graphic 61">
                <a:extLst>
                  <a:ext uri="{FF2B5EF4-FFF2-40B4-BE49-F238E27FC236}">
                    <a16:creationId xmlns:a16="http://schemas.microsoft.com/office/drawing/2014/main" id="{670825A9-51A4-413C-88F6-59F4A9567782}"/>
                  </a:ext>
                </a:extLst>
              </p:cNvPr>
              <p:cNvGrpSpPr/>
              <p:nvPr/>
            </p:nvGrpSpPr>
            <p:grpSpPr>
              <a:xfrm>
                <a:off x="3519218" y="2560815"/>
                <a:ext cx="457200" cy="457200"/>
                <a:chOff x="3519218" y="2560815"/>
                <a:chExt cx="457200" cy="457200"/>
              </a:xfrm>
              <a:grpFill/>
            </p:grpSpPr>
            <p:sp>
              <p:nvSpPr>
                <p:cNvPr id="116" name="Freeform 183">
                  <a:extLst>
                    <a:ext uri="{FF2B5EF4-FFF2-40B4-BE49-F238E27FC236}">
                      <a16:creationId xmlns:a16="http://schemas.microsoft.com/office/drawing/2014/main" id="{65D6C14E-363C-45F0-A87D-51156A60DC2F}"/>
                    </a:ext>
                  </a:extLst>
                </p:cNvPr>
                <p:cNvSpPr/>
                <p:nvPr/>
              </p:nvSpPr>
              <p:spPr>
                <a:xfrm>
                  <a:off x="3519218" y="2560815"/>
                  <a:ext cx="457200" cy="457200"/>
                </a:xfrm>
                <a:custGeom>
                  <a:avLst/>
                  <a:gdLst>
                    <a:gd name="connsiteX0" fmla="*/ 457200 w 457200"/>
                    <a:gd name="connsiteY0" fmla="*/ 362458 h 457200"/>
                    <a:gd name="connsiteX1" fmla="*/ 457200 w 457200"/>
                    <a:gd name="connsiteY1" fmla="*/ 0 h 457200"/>
                    <a:gd name="connsiteX2" fmla="*/ 0 w 457200"/>
                    <a:gd name="connsiteY2" fmla="*/ 0 h 457200"/>
                    <a:gd name="connsiteX3" fmla="*/ 0 w 457200"/>
                    <a:gd name="connsiteY3" fmla="*/ 362458 h 457200"/>
                    <a:gd name="connsiteX4" fmla="*/ 190691 w 457200"/>
                    <a:gd name="connsiteY4" fmla="*/ 362458 h 457200"/>
                    <a:gd name="connsiteX5" fmla="*/ 190691 w 457200"/>
                    <a:gd name="connsiteY5" fmla="*/ 399034 h 457200"/>
                    <a:gd name="connsiteX6" fmla="*/ 126619 w 457200"/>
                    <a:gd name="connsiteY6" fmla="*/ 399034 h 457200"/>
                    <a:gd name="connsiteX7" fmla="*/ 126619 w 457200"/>
                    <a:gd name="connsiteY7" fmla="*/ 457200 h 457200"/>
                    <a:gd name="connsiteX8" fmla="*/ 328930 w 457200"/>
                    <a:gd name="connsiteY8" fmla="*/ 457200 h 457200"/>
                    <a:gd name="connsiteX9" fmla="*/ 328930 w 457200"/>
                    <a:gd name="connsiteY9" fmla="*/ 399034 h 457200"/>
                    <a:gd name="connsiteX10" fmla="*/ 264890 w 457200"/>
                    <a:gd name="connsiteY10" fmla="*/ 399034 h 457200"/>
                    <a:gd name="connsiteX11" fmla="*/ 264890 w 457200"/>
                    <a:gd name="connsiteY11" fmla="*/ 362458 h 457200"/>
                    <a:gd name="connsiteX12" fmla="*/ 146050 w 457200"/>
                    <a:gd name="connsiteY12" fmla="*/ 437737 h 457200"/>
                    <a:gd name="connsiteX13" fmla="*/ 146050 w 457200"/>
                    <a:gd name="connsiteY13" fmla="*/ 418497 h 457200"/>
                    <a:gd name="connsiteX14" fmla="*/ 309467 w 457200"/>
                    <a:gd name="connsiteY14" fmla="*/ 418497 h 457200"/>
                    <a:gd name="connsiteX15" fmla="*/ 309467 w 457200"/>
                    <a:gd name="connsiteY15" fmla="*/ 437737 h 457200"/>
                    <a:gd name="connsiteX16" fmla="*/ 210090 w 457200"/>
                    <a:gd name="connsiteY16" fmla="*/ 399034 h 457200"/>
                    <a:gd name="connsiteX17" fmla="*/ 210090 w 457200"/>
                    <a:gd name="connsiteY17" fmla="*/ 362458 h 457200"/>
                    <a:gd name="connsiteX18" fmla="*/ 245332 w 457200"/>
                    <a:gd name="connsiteY18" fmla="*/ 362458 h 457200"/>
                    <a:gd name="connsiteX19" fmla="*/ 245332 w 457200"/>
                    <a:gd name="connsiteY19" fmla="*/ 399034 h 457200"/>
                    <a:gd name="connsiteX20" fmla="*/ 437579 w 457200"/>
                    <a:gd name="connsiteY20" fmla="*/ 286385 h 457200"/>
                    <a:gd name="connsiteX21" fmla="*/ 437579 w 457200"/>
                    <a:gd name="connsiteY21" fmla="*/ 341630 h 457200"/>
                    <a:gd name="connsiteX22" fmla="*/ 19336 w 457200"/>
                    <a:gd name="connsiteY22" fmla="*/ 341630 h 457200"/>
                    <a:gd name="connsiteX23" fmla="*/ 19336 w 457200"/>
                    <a:gd name="connsiteY23" fmla="*/ 286385 h 457200"/>
                    <a:gd name="connsiteX24" fmla="*/ 437579 w 457200"/>
                    <a:gd name="connsiteY24" fmla="*/ 19463 h 457200"/>
                    <a:gd name="connsiteX25" fmla="*/ 437579 w 457200"/>
                    <a:gd name="connsiteY25" fmla="*/ 265557 h 457200"/>
                    <a:gd name="connsiteX26" fmla="*/ 19336 w 457200"/>
                    <a:gd name="connsiteY26" fmla="*/ 265557 h 457200"/>
                    <a:gd name="connsiteX27" fmla="*/ 19336 w 457200"/>
                    <a:gd name="connsiteY27" fmla="*/ 19463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7200" h="457200">
                      <a:moveTo>
                        <a:pt x="457200" y="362458"/>
                      </a:moveTo>
                      <a:lnTo>
                        <a:pt x="457200" y="0"/>
                      </a:lnTo>
                      <a:lnTo>
                        <a:pt x="0" y="0"/>
                      </a:lnTo>
                      <a:lnTo>
                        <a:pt x="0" y="362458"/>
                      </a:lnTo>
                      <a:lnTo>
                        <a:pt x="190691" y="362458"/>
                      </a:lnTo>
                      <a:lnTo>
                        <a:pt x="190691" y="399034"/>
                      </a:lnTo>
                      <a:lnTo>
                        <a:pt x="126619" y="399034"/>
                      </a:lnTo>
                      <a:lnTo>
                        <a:pt x="126619" y="457200"/>
                      </a:lnTo>
                      <a:lnTo>
                        <a:pt x="328930" y="457200"/>
                      </a:lnTo>
                      <a:lnTo>
                        <a:pt x="328930" y="399034"/>
                      </a:lnTo>
                      <a:lnTo>
                        <a:pt x="264890" y="399034"/>
                      </a:lnTo>
                      <a:lnTo>
                        <a:pt x="264890" y="362458"/>
                      </a:lnTo>
                      <a:close/>
                      <a:moveTo>
                        <a:pt x="146050" y="437737"/>
                      </a:moveTo>
                      <a:lnTo>
                        <a:pt x="146050" y="418497"/>
                      </a:lnTo>
                      <a:lnTo>
                        <a:pt x="309467" y="418497"/>
                      </a:lnTo>
                      <a:lnTo>
                        <a:pt x="309467" y="437737"/>
                      </a:lnTo>
                      <a:close/>
                      <a:moveTo>
                        <a:pt x="210090" y="399034"/>
                      </a:moveTo>
                      <a:lnTo>
                        <a:pt x="210090" y="362458"/>
                      </a:lnTo>
                      <a:lnTo>
                        <a:pt x="245332" y="362458"/>
                      </a:lnTo>
                      <a:lnTo>
                        <a:pt x="245332" y="399034"/>
                      </a:lnTo>
                      <a:close/>
                      <a:moveTo>
                        <a:pt x="437579" y="286385"/>
                      </a:moveTo>
                      <a:lnTo>
                        <a:pt x="437579" y="341630"/>
                      </a:lnTo>
                      <a:lnTo>
                        <a:pt x="19336" y="341630"/>
                      </a:lnTo>
                      <a:lnTo>
                        <a:pt x="19336" y="286385"/>
                      </a:lnTo>
                      <a:close/>
                      <a:moveTo>
                        <a:pt x="437579" y="19463"/>
                      </a:moveTo>
                      <a:lnTo>
                        <a:pt x="437579" y="265557"/>
                      </a:lnTo>
                      <a:lnTo>
                        <a:pt x="19336" y="265557"/>
                      </a:lnTo>
                      <a:lnTo>
                        <a:pt x="19336" y="19463"/>
                      </a:lnTo>
                      <a:close/>
                    </a:path>
                  </a:pathLst>
                </a:custGeom>
                <a:solidFill>
                  <a:schemeClr val="tx1"/>
                </a:solidFill>
                <a:ln w="3175" cap="flat">
                  <a:noFill/>
                  <a:prstDash val="solid"/>
                  <a:miter/>
                </a:ln>
              </p:spPr>
              <p:txBody>
                <a:bodyPr rtlCol="0" anchor="ctr"/>
                <a:lstStyle/>
                <a:p>
                  <a:endParaRPr lang="en-GB" sz="700" b="1" dirty="0">
                    <a:solidFill>
                      <a:schemeClr val="accent1"/>
                    </a:solidFill>
                  </a:endParaRPr>
                </a:p>
              </p:txBody>
            </p:sp>
            <p:sp>
              <p:nvSpPr>
                <p:cNvPr id="117" name="Freeform 184">
                  <a:extLst>
                    <a:ext uri="{FF2B5EF4-FFF2-40B4-BE49-F238E27FC236}">
                      <a16:creationId xmlns:a16="http://schemas.microsoft.com/office/drawing/2014/main" id="{A5ABA701-5282-4655-8A86-02E0E08CE6D9}"/>
                    </a:ext>
                  </a:extLst>
                </p:cNvPr>
                <p:cNvSpPr/>
                <p:nvPr/>
              </p:nvSpPr>
              <p:spPr>
                <a:xfrm>
                  <a:off x="3737943" y="2865075"/>
                  <a:ext cx="19462" cy="19462"/>
                </a:xfrm>
                <a:custGeom>
                  <a:avLst/>
                  <a:gdLst>
                    <a:gd name="connsiteX0" fmla="*/ 0 w 19462"/>
                    <a:gd name="connsiteY0" fmla="*/ 0 h 19462"/>
                    <a:gd name="connsiteX1" fmla="*/ 19463 w 19462"/>
                    <a:gd name="connsiteY1" fmla="*/ 0 h 19462"/>
                    <a:gd name="connsiteX2" fmla="*/ 19463 w 19462"/>
                    <a:gd name="connsiteY2" fmla="*/ 19463 h 19462"/>
                    <a:gd name="connsiteX3" fmla="*/ 0 w 19462"/>
                    <a:gd name="connsiteY3" fmla="*/ 19463 h 19462"/>
                  </a:gdLst>
                  <a:ahLst/>
                  <a:cxnLst>
                    <a:cxn ang="0">
                      <a:pos x="connsiteX0" y="connsiteY0"/>
                    </a:cxn>
                    <a:cxn ang="0">
                      <a:pos x="connsiteX1" y="connsiteY1"/>
                    </a:cxn>
                    <a:cxn ang="0">
                      <a:pos x="connsiteX2" y="connsiteY2"/>
                    </a:cxn>
                    <a:cxn ang="0">
                      <a:pos x="connsiteX3" y="connsiteY3"/>
                    </a:cxn>
                  </a:cxnLst>
                  <a:rect l="l" t="t" r="r" b="b"/>
                  <a:pathLst>
                    <a:path w="19462" h="19462">
                      <a:moveTo>
                        <a:pt x="0" y="0"/>
                      </a:moveTo>
                      <a:lnTo>
                        <a:pt x="19463" y="0"/>
                      </a:lnTo>
                      <a:lnTo>
                        <a:pt x="19463" y="19463"/>
                      </a:lnTo>
                      <a:lnTo>
                        <a:pt x="0" y="19463"/>
                      </a:lnTo>
                      <a:close/>
                    </a:path>
                  </a:pathLst>
                </a:custGeom>
                <a:grpFill/>
                <a:ln w="3175" cap="flat">
                  <a:noFill/>
                  <a:prstDash val="solid"/>
                  <a:miter/>
                </a:ln>
              </p:spPr>
              <p:txBody>
                <a:bodyPr rtlCol="0" anchor="ctr"/>
                <a:lstStyle/>
                <a:p>
                  <a:endParaRPr lang="en-GB" sz="700" b="1" dirty="0">
                    <a:solidFill>
                      <a:schemeClr val="accent1"/>
                    </a:solidFill>
                  </a:endParaRPr>
                </a:p>
              </p:txBody>
            </p:sp>
          </p:grpSp>
          <p:sp>
            <p:nvSpPr>
              <p:cNvPr id="108" name="Freeform 179">
                <a:extLst>
                  <a:ext uri="{FF2B5EF4-FFF2-40B4-BE49-F238E27FC236}">
                    <a16:creationId xmlns:a16="http://schemas.microsoft.com/office/drawing/2014/main" id="{110AB4F4-31C5-4FD6-9EF9-1DFDF0593E41}"/>
                  </a:ext>
                </a:extLst>
              </p:cNvPr>
              <p:cNvSpPr/>
              <p:nvPr/>
            </p:nvSpPr>
            <p:spPr>
              <a:xfrm>
                <a:off x="3618024" y="2655207"/>
                <a:ext cx="153733" cy="154336"/>
              </a:xfrm>
              <a:custGeom>
                <a:avLst/>
                <a:gdLst>
                  <a:gd name="connsiteX0" fmla="*/ 153702 w 153733"/>
                  <a:gd name="connsiteY0" fmla="*/ 96107 h 154336"/>
                  <a:gd name="connsiteX1" fmla="*/ 153448 w 153733"/>
                  <a:gd name="connsiteY1" fmla="*/ 57087 h 154336"/>
                  <a:gd name="connsiteX2" fmla="*/ 153448 w 153733"/>
                  <a:gd name="connsiteY2" fmla="*/ 55277 h 154336"/>
                  <a:gd name="connsiteX3" fmla="*/ 151702 w 153733"/>
                  <a:gd name="connsiteY3" fmla="*/ 54832 h 154336"/>
                  <a:gd name="connsiteX4" fmla="*/ 134080 w 153733"/>
                  <a:gd name="connsiteY4" fmla="*/ 50673 h 154336"/>
                  <a:gd name="connsiteX5" fmla="*/ 127889 w 153733"/>
                  <a:gd name="connsiteY5" fmla="*/ 40132 h 154336"/>
                  <a:gd name="connsiteX6" fmla="*/ 132779 w 153733"/>
                  <a:gd name="connsiteY6" fmla="*/ 22606 h 154336"/>
                  <a:gd name="connsiteX7" fmla="*/ 133287 w 153733"/>
                  <a:gd name="connsiteY7" fmla="*/ 20892 h 154336"/>
                  <a:gd name="connsiteX8" fmla="*/ 131731 w 153733"/>
                  <a:gd name="connsiteY8" fmla="*/ 20002 h 154336"/>
                  <a:gd name="connsiteX9" fmla="*/ 98044 w 153733"/>
                  <a:gd name="connsiteY9" fmla="*/ 857 h 154336"/>
                  <a:gd name="connsiteX10" fmla="*/ 96488 w 153733"/>
                  <a:gd name="connsiteY10" fmla="*/ 0 h 154336"/>
                  <a:gd name="connsiteX11" fmla="*/ 95282 w 153733"/>
                  <a:gd name="connsiteY11" fmla="*/ 1270 h 154336"/>
                  <a:gd name="connsiteX12" fmla="*/ 82582 w 153733"/>
                  <a:gd name="connsiteY12" fmla="*/ 14383 h 154336"/>
                  <a:gd name="connsiteX13" fmla="*/ 77216 w 153733"/>
                  <a:gd name="connsiteY13" fmla="*/ 14097 h 154336"/>
                  <a:gd name="connsiteX14" fmla="*/ 76486 w 153733"/>
                  <a:gd name="connsiteY14" fmla="*/ 14097 h 154336"/>
                  <a:gd name="connsiteX15" fmla="*/ 70358 w 153733"/>
                  <a:gd name="connsiteY15" fmla="*/ 14446 h 154336"/>
                  <a:gd name="connsiteX16" fmla="*/ 57658 w 153733"/>
                  <a:gd name="connsiteY16" fmla="*/ 1492 h 154336"/>
                  <a:gd name="connsiteX17" fmla="*/ 56420 w 153733"/>
                  <a:gd name="connsiteY17" fmla="*/ 222 h 154336"/>
                  <a:gd name="connsiteX18" fmla="*/ 54864 w 153733"/>
                  <a:gd name="connsiteY18" fmla="*/ 1143 h 154336"/>
                  <a:gd name="connsiteX19" fmla="*/ 21304 w 153733"/>
                  <a:gd name="connsiteY19" fmla="*/ 20733 h 154336"/>
                  <a:gd name="connsiteX20" fmla="*/ 19780 w 153733"/>
                  <a:gd name="connsiteY20" fmla="*/ 21622 h 154336"/>
                  <a:gd name="connsiteX21" fmla="*/ 20256 w 153733"/>
                  <a:gd name="connsiteY21" fmla="*/ 23336 h 154336"/>
                  <a:gd name="connsiteX22" fmla="*/ 25400 w 153733"/>
                  <a:gd name="connsiteY22" fmla="*/ 40799 h 154336"/>
                  <a:gd name="connsiteX23" fmla="*/ 19304 w 153733"/>
                  <a:gd name="connsiteY23" fmla="*/ 51403 h 154336"/>
                  <a:gd name="connsiteX24" fmla="*/ 1746 w 153733"/>
                  <a:gd name="connsiteY24" fmla="*/ 55690 h 154336"/>
                  <a:gd name="connsiteX25" fmla="*/ 0 w 153733"/>
                  <a:gd name="connsiteY25" fmla="*/ 56134 h 154336"/>
                  <a:gd name="connsiteX26" fmla="*/ 0 w 153733"/>
                  <a:gd name="connsiteY26" fmla="*/ 58007 h 154336"/>
                  <a:gd name="connsiteX27" fmla="*/ 254 w 153733"/>
                  <a:gd name="connsiteY27" fmla="*/ 97092 h 154336"/>
                  <a:gd name="connsiteX28" fmla="*/ 254 w 153733"/>
                  <a:gd name="connsiteY28" fmla="*/ 98870 h 154336"/>
                  <a:gd name="connsiteX29" fmla="*/ 1968 w 153733"/>
                  <a:gd name="connsiteY29" fmla="*/ 99282 h 154336"/>
                  <a:gd name="connsiteX30" fmla="*/ 19590 w 153733"/>
                  <a:gd name="connsiteY30" fmla="*/ 103600 h 154336"/>
                  <a:gd name="connsiteX31" fmla="*/ 25940 w 153733"/>
                  <a:gd name="connsiteY31" fmla="*/ 114109 h 154336"/>
                  <a:gd name="connsiteX32" fmla="*/ 21050 w 153733"/>
                  <a:gd name="connsiteY32" fmla="*/ 131636 h 154336"/>
                  <a:gd name="connsiteX33" fmla="*/ 20542 w 153733"/>
                  <a:gd name="connsiteY33" fmla="*/ 133350 h 154336"/>
                  <a:gd name="connsiteX34" fmla="*/ 21844 w 153733"/>
                  <a:gd name="connsiteY34" fmla="*/ 134207 h 154336"/>
                  <a:gd name="connsiteX35" fmla="*/ 55658 w 153733"/>
                  <a:gd name="connsiteY35" fmla="*/ 153448 h 154336"/>
                  <a:gd name="connsiteX36" fmla="*/ 57213 w 153733"/>
                  <a:gd name="connsiteY36" fmla="*/ 154337 h 154336"/>
                  <a:gd name="connsiteX37" fmla="*/ 58452 w 153733"/>
                  <a:gd name="connsiteY37" fmla="*/ 153035 h 154336"/>
                  <a:gd name="connsiteX38" fmla="*/ 71152 w 153733"/>
                  <a:gd name="connsiteY38" fmla="*/ 139891 h 154336"/>
                  <a:gd name="connsiteX39" fmla="*/ 76549 w 153733"/>
                  <a:gd name="connsiteY39" fmla="*/ 140208 h 154336"/>
                  <a:gd name="connsiteX40" fmla="*/ 77248 w 153733"/>
                  <a:gd name="connsiteY40" fmla="*/ 140208 h 154336"/>
                  <a:gd name="connsiteX41" fmla="*/ 83344 w 153733"/>
                  <a:gd name="connsiteY41" fmla="*/ 139827 h 154336"/>
                  <a:gd name="connsiteX42" fmla="*/ 96044 w 153733"/>
                  <a:gd name="connsiteY42" fmla="*/ 152813 h 154336"/>
                  <a:gd name="connsiteX43" fmla="*/ 97282 w 153733"/>
                  <a:gd name="connsiteY43" fmla="*/ 154083 h 154336"/>
                  <a:gd name="connsiteX44" fmla="*/ 98838 w 153733"/>
                  <a:gd name="connsiteY44" fmla="*/ 153194 h 154336"/>
                  <a:gd name="connsiteX45" fmla="*/ 132588 w 153733"/>
                  <a:gd name="connsiteY45" fmla="*/ 133445 h 154336"/>
                  <a:gd name="connsiteX46" fmla="*/ 134144 w 153733"/>
                  <a:gd name="connsiteY46" fmla="*/ 132525 h 154336"/>
                  <a:gd name="connsiteX47" fmla="*/ 133636 w 153733"/>
                  <a:gd name="connsiteY47" fmla="*/ 130778 h 154336"/>
                  <a:gd name="connsiteX48" fmla="*/ 128334 w 153733"/>
                  <a:gd name="connsiteY48" fmla="*/ 113443 h 154336"/>
                  <a:gd name="connsiteX49" fmla="*/ 134398 w 153733"/>
                  <a:gd name="connsiteY49" fmla="*/ 102870 h 154336"/>
                  <a:gd name="connsiteX50" fmla="*/ 152019 w 153733"/>
                  <a:gd name="connsiteY50" fmla="*/ 98362 h 154336"/>
                  <a:gd name="connsiteX51" fmla="*/ 153734 w 153733"/>
                  <a:gd name="connsiteY51" fmla="*/ 97917 h 154336"/>
                  <a:gd name="connsiteX52" fmla="*/ 110109 w 153733"/>
                  <a:gd name="connsiteY52" fmla="*/ 44672 h 154336"/>
                  <a:gd name="connsiteX53" fmla="*/ 113284 w 153733"/>
                  <a:gd name="connsiteY53" fmla="*/ 48927 h 154336"/>
                  <a:gd name="connsiteX54" fmla="*/ 119316 w 153733"/>
                  <a:gd name="connsiteY54" fmla="*/ 59087 h 154336"/>
                  <a:gd name="connsiteX55" fmla="*/ 121412 w 153733"/>
                  <a:gd name="connsiteY55" fmla="*/ 64008 h 154336"/>
                  <a:gd name="connsiteX56" fmla="*/ 121857 w 153733"/>
                  <a:gd name="connsiteY56" fmla="*/ 65088 h 154336"/>
                  <a:gd name="connsiteX57" fmla="*/ 122968 w 153733"/>
                  <a:gd name="connsiteY57" fmla="*/ 65342 h 154336"/>
                  <a:gd name="connsiteX58" fmla="*/ 136620 w 153733"/>
                  <a:gd name="connsiteY58" fmla="*/ 68517 h 154336"/>
                  <a:gd name="connsiteX59" fmla="*/ 136620 w 153733"/>
                  <a:gd name="connsiteY59" fmla="*/ 84709 h 154336"/>
                  <a:gd name="connsiteX60" fmla="*/ 123000 w 153733"/>
                  <a:gd name="connsiteY60" fmla="*/ 88202 h 154336"/>
                  <a:gd name="connsiteX61" fmla="*/ 121888 w 153733"/>
                  <a:gd name="connsiteY61" fmla="*/ 88487 h 154336"/>
                  <a:gd name="connsiteX62" fmla="*/ 121444 w 153733"/>
                  <a:gd name="connsiteY62" fmla="*/ 89535 h 154336"/>
                  <a:gd name="connsiteX63" fmla="*/ 119412 w 153733"/>
                  <a:gd name="connsiteY63" fmla="*/ 94488 h 154336"/>
                  <a:gd name="connsiteX64" fmla="*/ 113538 w 153733"/>
                  <a:gd name="connsiteY64" fmla="*/ 104712 h 154336"/>
                  <a:gd name="connsiteX65" fmla="*/ 110363 w 153733"/>
                  <a:gd name="connsiteY65" fmla="*/ 108998 h 154336"/>
                  <a:gd name="connsiteX66" fmla="*/ 109696 w 153733"/>
                  <a:gd name="connsiteY66" fmla="*/ 109919 h 154336"/>
                  <a:gd name="connsiteX67" fmla="*/ 110014 w 153733"/>
                  <a:gd name="connsiteY67" fmla="*/ 111030 h 154336"/>
                  <a:gd name="connsiteX68" fmla="*/ 114078 w 153733"/>
                  <a:gd name="connsiteY68" fmla="*/ 124682 h 154336"/>
                  <a:gd name="connsiteX69" fmla="*/ 100108 w 153733"/>
                  <a:gd name="connsiteY69" fmla="*/ 132842 h 154336"/>
                  <a:gd name="connsiteX70" fmla="*/ 90265 w 153733"/>
                  <a:gd name="connsiteY70" fmla="*/ 122777 h 154336"/>
                  <a:gd name="connsiteX71" fmla="*/ 89471 w 153733"/>
                  <a:gd name="connsiteY71" fmla="*/ 121952 h 154336"/>
                  <a:gd name="connsiteX72" fmla="*/ 88328 w 153733"/>
                  <a:gd name="connsiteY72" fmla="*/ 121952 h 154336"/>
                  <a:gd name="connsiteX73" fmla="*/ 83026 w 153733"/>
                  <a:gd name="connsiteY73" fmla="*/ 122650 h 154336"/>
                  <a:gd name="connsiteX74" fmla="*/ 77121 w 153733"/>
                  <a:gd name="connsiteY74" fmla="*/ 123127 h 154336"/>
                  <a:gd name="connsiteX75" fmla="*/ 76676 w 153733"/>
                  <a:gd name="connsiteY75" fmla="*/ 123127 h 154336"/>
                  <a:gd name="connsiteX76" fmla="*/ 71215 w 153733"/>
                  <a:gd name="connsiteY76" fmla="*/ 122714 h 154336"/>
                  <a:gd name="connsiteX77" fmla="*/ 65913 w 153733"/>
                  <a:gd name="connsiteY77" fmla="*/ 122079 h 154336"/>
                  <a:gd name="connsiteX78" fmla="*/ 64770 w 153733"/>
                  <a:gd name="connsiteY78" fmla="*/ 122079 h 154336"/>
                  <a:gd name="connsiteX79" fmla="*/ 63976 w 153733"/>
                  <a:gd name="connsiteY79" fmla="*/ 122904 h 154336"/>
                  <a:gd name="connsiteX80" fmla="*/ 54229 w 153733"/>
                  <a:gd name="connsiteY80" fmla="*/ 133191 h 154336"/>
                  <a:gd name="connsiteX81" fmla="*/ 40164 w 153733"/>
                  <a:gd name="connsiteY81" fmla="*/ 125190 h 154336"/>
                  <a:gd name="connsiteX82" fmla="*/ 44069 w 153733"/>
                  <a:gd name="connsiteY82" fmla="*/ 111570 h 154336"/>
                  <a:gd name="connsiteX83" fmla="*/ 44386 w 153733"/>
                  <a:gd name="connsiteY83" fmla="*/ 110490 h 154336"/>
                  <a:gd name="connsiteX84" fmla="*/ 43656 w 153733"/>
                  <a:gd name="connsiteY84" fmla="*/ 109569 h 154336"/>
                  <a:gd name="connsiteX85" fmla="*/ 40481 w 153733"/>
                  <a:gd name="connsiteY85" fmla="*/ 105315 h 154336"/>
                  <a:gd name="connsiteX86" fmla="*/ 34480 w 153733"/>
                  <a:gd name="connsiteY86" fmla="*/ 95155 h 154336"/>
                  <a:gd name="connsiteX87" fmla="*/ 32385 w 153733"/>
                  <a:gd name="connsiteY87" fmla="*/ 90234 h 154336"/>
                  <a:gd name="connsiteX88" fmla="*/ 31940 w 153733"/>
                  <a:gd name="connsiteY88" fmla="*/ 89154 h 154336"/>
                  <a:gd name="connsiteX89" fmla="*/ 30797 w 153733"/>
                  <a:gd name="connsiteY89" fmla="*/ 88900 h 154336"/>
                  <a:gd name="connsiteX90" fmla="*/ 17177 w 153733"/>
                  <a:gd name="connsiteY90" fmla="*/ 85725 h 154336"/>
                  <a:gd name="connsiteX91" fmla="*/ 17177 w 153733"/>
                  <a:gd name="connsiteY91" fmla="*/ 69533 h 154336"/>
                  <a:gd name="connsiteX92" fmla="*/ 30797 w 153733"/>
                  <a:gd name="connsiteY92" fmla="*/ 66040 h 154336"/>
                  <a:gd name="connsiteX93" fmla="*/ 31909 w 153733"/>
                  <a:gd name="connsiteY93" fmla="*/ 65754 h 154336"/>
                  <a:gd name="connsiteX94" fmla="*/ 32321 w 153733"/>
                  <a:gd name="connsiteY94" fmla="*/ 64707 h 154336"/>
                  <a:gd name="connsiteX95" fmla="*/ 34353 w 153733"/>
                  <a:gd name="connsiteY95" fmla="*/ 59754 h 154336"/>
                  <a:gd name="connsiteX96" fmla="*/ 40259 w 153733"/>
                  <a:gd name="connsiteY96" fmla="*/ 49530 h 154336"/>
                  <a:gd name="connsiteX97" fmla="*/ 43434 w 153733"/>
                  <a:gd name="connsiteY97" fmla="*/ 45244 h 154336"/>
                  <a:gd name="connsiteX98" fmla="*/ 44133 w 153733"/>
                  <a:gd name="connsiteY98" fmla="*/ 44323 h 154336"/>
                  <a:gd name="connsiteX99" fmla="*/ 43815 w 153733"/>
                  <a:gd name="connsiteY99" fmla="*/ 43212 h 154336"/>
                  <a:gd name="connsiteX100" fmla="*/ 39592 w 153733"/>
                  <a:gd name="connsiteY100" fmla="*/ 29432 h 154336"/>
                  <a:gd name="connsiteX101" fmla="*/ 53594 w 153733"/>
                  <a:gd name="connsiteY101" fmla="*/ 21336 h 154336"/>
                  <a:gd name="connsiteX102" fmla="*/ 63468 w 153733"/>
                  <a:gd name="connsiteY102" fmla="*/ 31401 h 154336"/>
                  <a:gd name="connsiteX103" fmla="*/ 64262 w 153733"/>
                  <a:gd name="connsiteY103" fmla="*/ 32226 h 154336"/>
                  <a:gd name="connsiteX104" fmla="*/ 65405 w 153733"/>
                  <a:gd name="connsiteY104" fmla="*/ 32068 h 154336"/>
                  <a:gd name="connsiteX105" fmla="*/ 70707 w 153733"/>
                  <a:gd name="connsiteY105" fmla="*/ 31369 h 154336"/>
                  <a:gd name="connsiteX106" fmla="*/ 76613 w 153733"/>
                  <a:gd name="connsiteY106" fmla="*/ 30893 h 154336"/>
                  <a:gd name="connsiteX107" fmla="*/ 77057 w 153733"/>
                  <a:gd name="connsiteY107" fmla="*/ 30893 h 154336"/>
                  <a:gd name="connsiteX108" fmla="*/ 82518 w 153733"/>
                  <a:gd name="connsiteY108" fmla="*/ 31306 h 154336"/>
                  <a:gd name="connsiteX109" fmla="*/ 87820 w 153733"/>
                  <a:gd name="connsiteY109" fmla="*/ 31941 h 154336"/>
                  <a:gd name="connsiteX110" fmla="*/ 88963 w 153733"/>
                  <a:gd name="connsiteY110" fmla="*/ 31941 h 154336"/>
                  <a:gd name="connsiteX111" fmla="*/ 89757 w 153733"/>
                  <a:gd name="connsiteY111" fmla="*/ 31115 h 154336"/>
                  <a:gd name="connsiteX112" fmla="*/ 99504 w 153733"/>
                  <a:gd name="connsiteY112" fmla="*/ 20923 h 154336"/>
                  <a:gd name="connsiteX113" fmla="*/ 113570 w 153733"/>
                  <a:gd name="connsiteY113" fmla="*/ 28956 h 154336"/>
                  <a:gd name="connsiteX114" fmla="*/ 109760 w 153733"/>
                  <a:gd name="connsiteY114" fmla="*/ 42545 h 154336"/>
                  <a:gd name="connsiteX115" fmla="*/ 109442 w 153733"/>
                  <a:gd name="connsiteY115" fmla="*/ 43656 h 15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53733" h="154336">
                    <a:moveTo>
                      <a:pt x="153702" y="96107"/>
                    </a:moveTo>
                    <a:lnTo>
                      <a:pt x="153448" y="57087"/>
                    </a:lnTo>
                    <a:lnTo>
                      <a:pt x="153448" y="55277"/>
                    </a:lnTo>
                    <a:lnTo>
                      <a:pt x="151702" y="54832"/>
                    </a:lnTo>
                    <a:lnTo>
                      <a:pt x="134080" y="50673"/>
                    </a:lnTo>
                    <a:cubicBezTo>
                      <a:pt x="132360" y="46968"/>
                      <a:pt x="130287" y="43438"/>
                      <a:pt x="127889" y="40132"/>
                    </a:cubicBezTo>
                    <a:lnTo>
                      <a:pt x="132779" y="22606"/>
                    </a:lnTo>
                    <a:lnTo>
                      <a:pt x="133287" y="20892"/>
                    </a:lnTo>
                    <a:lnTo>
                      <a:pt x="131731" y="20002"/>
                    </a:lnTo>
                    <a:lnTo>
                      <a:pt x="98044" y="857"/>
                    </a:lnTo>
                    <a:lnTo>
                      <a:pt x="96488" y="0"/>
                    </a:lnTo>
                    <a:lnTo>
                      <a:pt x="95282" y="1270"/>
                    </a:lnTo>
                    <a:lnTo>
                      <a:pt x="82582" y="14383"/>
                    </a:lnTo>
                    <a:cubicBezTo>
                      <a:pt x="80677" y="14192"/>
                      <a:pt x="78899" y="14097"/>
                      <a:pt x="77216" y="14097"/>
                    </a:cubicBezTo>
                    <a:lnTo>
                      <a:pt x="76486" y="14097"/>
                    </a:lnTo>
                    <a:cubicBezTo>
                      <a:pt x="74439" y="14110"/>
                      <a:pt x="72393" y="14226"/>
                      <a:pt x="70358" y="14446"/>
                    </a:cubicBezTo>
                    <a:lnTo>
                      <a:pt x="57658" y="1492"/>
                    </a:lnTo>
                    <a:lnTo>
                      <a:pt x="56420" y="222"/>
                    </a:lnTo>
                    <a:lnTo>
                      <a:pt x="54864" y="1143"/>
                    </a:lnTo>
                    <a:lnTo>
                      <a:pt x="21304" y="20733"/>
                    </a:lnTo>
                    <a:lnTo>
                      <a:pt x="19780" y="21622"/>
                    </a:lnTo>
                    <a:lnTo>
                      <a:pt x="20256" y="23336"/>
                    </a:lnTo>
                    <a:lnTo>
                      <a:pt x="25400" y="40799"/>
                    </a:lnTo>
                    <a:cubicBezTo>
                      <a:pt x="23031" y="44129"/>
                      <a:pt x="20990" y="47681"/>
                      <a:pt x="19304" y="51403"/>
                    </a:cubicBezTo>
                    <a:lnTo>
                      <a:pt x="1746" y="55690"/>
                    </a:lnTo>
                    <a:lnTo>
                      <a:pt x="0" y="56134"/>
                    </a:lnTo>
                    <a:lnTo>
                      <a:pt x="0" y="58007"/>
                    </a:lnTo>
                    <a:lnTo>
                      <a:pt x="254" y="97092"/>
                    </a:lnTo>
                    <a:lnTo>
                      <a:pt x="254" y="98870"/>
                    </a:lnTo>
                    <a:lnTo>
                      <a:pt x="1968" y="99282"/>
                    </a:lnTo>
                    <a:lnTo>
                      <a:pt x="19590" y="103600"/>
                    </a:lnTo>
                    <a:cubicBezTo>
                      <a:pt x="21374" y="107294"/>
                      <a:pt x="23500" y="110812"/>
                      <a:pt x="25940" y="114109"/>
                    </a:cubicBezTo>
                    <a:lnTo>
                      <a:pt x="21050" y="131636"/>
                    </a:lnTo>
                    <a:lnTo>
                      <a:pt x="20542" y="133350"/>
                    </a:lnTo>
                    <a:lnTo>
                      <a:pt x="21844" y="134207"/>
                    </a:lnTo>
                    <a:lnTo>
                      <a:pt x="55658" y="153448"/>
                    </a:lnTo>
                    <a:lnTo>
                      <a:pt x="57213" y="154337"/>
                    </a:lnTo>
                    <a:lnTo>
                      <a:pt x="58452" y="153035"/>
                    </a:lnTo>
                    <a:lnTo>
                      <a:pt x="71152" y="139891"/>
                    </a:lnTo>
                    <a:cubicBezTo>
                      <a:pt x="73088" y="140081"/>
                      <a:pt x="74867" y="140176"/>
                      <a:pt x="76549" y="140208"/>
                    </a:cubicBezTo>
                    <a:lnTo>
                      <a:pt x="77248" y="140208"/>
                    </a:lnTo>
                    <a:cubicBezTo>
                      <a:pt x="79285" y="140184"/>
                      <a:pt x="81319" y="140057"/>
                      <a:pt x="83344" y="139827"/>
                    </a:cubicBezTo>
                    <a:lnTo>
                      <a:pt x="96044" y="152813"/>
                    </a:lnTo>
                    <a:lnTo>
                      <a:pt x="97282" y="154083"/>
                    </a:lnTo>
                    <a:lnTo>
                      <a:pt x="98838" y="153194"/>
                    </a:lnTo>
                    <a:lnTo>
                      <a:pt x="132588" y="133445"/>
                    </a:lnTo>
                    <a:lnTo>
                      <a:pt x="134144" y="132525"/>
                    </a:lnTo>
                    <a:lnTo>
                      <a:pt x="133636" y="130778"/>
                    </a:lnTo>
                    <a:lnTo>
                      <a:pt x="128334" y="113443"/>
                    </a:lnTo>
                    <a:cubicBezTo>
                      <a:pt x="130687" y="110119"/>
                      <a:pt x="132718" y="106579"/>
                      <a:pt x="134398" y="102870"/>
                    </a:cubicBezTo>
                    <a:lnTo>
                      <a:pt x="152019" y="98362"/>
                    </a:lnTo>
                    <a:lnTo>
                      <a:pt x="153734" y="97917"/>
                    </a:lnTo>
                    <a:close/>
                    <a:moveTo>
                      <a:pt x="110109" y="44672"/>
                    </a:moveTo>
                    <a:lnTo>
                      <a:pt x="113284" y="48927"/>
                    </a:lnTo>
                    <a:cubicBezTo>
                      <a:pt x="115718" y="52043"/>
                      <a:pt x="117746" y="55457"/>
                      <a:pt x="119316" y="59087"/>
                    </a:cubicBezTo>
                    <a:lnTo>
                      <a:pt x="121412" y="64008"/>
                    </a:lnTo>
                    <a:lnTo>
                      <a:pt x="121857" y="65088"/>
                    </a:lnTo>
                    <a:lnTo>
                      <a:pt x="122968" y="65342"/>
                    </a:lnTo>
                    <a:lnTo>
                      <a:pt x="136620" y="68517"/>
                    </a:lnTo>
                    <a:lnTo>
                      <a:pt x="136620" y="84709"/>
                    </a:lnTo>
                    <a:lnTo>
                      <a:pt x="123000" y="88202"/>
                    </a:lnTo>
                    <a:lnTo>
                      <a:pt x="121888" y="88487"/>
                    </a:lnTo>
                    <a:lnTo>
                      <a:pt x="121444" y="89535"/>
                    </a:lnTo>
                    <a:lnTo>
                      <a:pt x="119412" y="94488"/>
                    </a:lnTo>
                    <a:cubicBezTo>
                      <a:pt x="117917" y="98141"/>
                      <a:pt x="115941" y="101580"/>
                      <a:pt x="113538" y="104712"/>
                    </a:cubicBezTo>
                    <a:lnTo>
                      <a:pt x="110363" y="108998"/>
                    </a:lnTo>
                    <a:lnTo>
                      <a:pt x="109696" y="109919"/>
                    </a:lnTo>
                    <a:lnTo>
                      <a:pt x="110014" y="111030"/>
                    </a:lnTo>
                    <a:lnTo>
                      <a:pt x="114078" y="124682"/>
                    </a:lnTo>
                    <a:lnTo>
                      <a:pt x="100108" y="132842"/>
                    </a:lnTo>
                    <a:lnTo>
                      <a:pt x="90265" y="122777"/>
                    </a:lnTo>
                    <a:lnTo>
                      <a:pt x="89471" y="121952"/>
                    </a:lnTo>
                    <a:lnTo>
                      <a:pt x="88328" y="121952"/>
                    </a:lnTo>
                    <a:lnTo>
                      <a:pt x="83026" y="122650"/>
                    </a:lnTo>
                    <a:cubicBezTo>
                      <a:pt x="81071" y="122946"/>
                      <a:pt x="79098" y="123105"/>
                      <a:pt x="77121" y="123127"/>
                    </a:cubicBezTo>
                    <a:lnTo>
                      <a:pt x="76676" y="123127"/>
                    </a:lnTo>
                    <a:cubicBezTo>
                      <a:pt x="74849" y="123114"/>
                      <a:pt x="73024" y="122976"/>
                      <a:pt x="71215" y="122714"/>
                    </a:cubicBezTo>
                    <a:lnTo>
                      <a:pt x="65913" y="122079"/>
                    </a:lnTo>
                    <a:lnTo>
                      <a:pt x="64770" y="122079"/>
                    </a:lnTo>
                    <a:lnTo>
                      <a:pt x="63976" y="122904"/>
                    </a:lnTo>
                    <a:lnTo>
                      <a:pt x="54229" y="133191"/>
                    </a:lnTo>
                    <a:lnTo>
                      <a:pt x="40164" y="125190"/>
                    </a:lnTo>
                    <a:lnTo>
                      <a:pt x="44069" y="111570"/>
                    </a:lnTo>
                    <a:lnTo>
                      <a:pt x="44386" y="110490"/>
                    </a:lnTo>
                    <a:lnTo>
                      <a:pt x="43656" y="109569"/>
                    </a:lnTo>
                    <a:lnTo>
                      <a:pt x="40481" y="105315"/>
                    </a:lnTo>
                    <a:cubicBezTo>
                      <a:pt x="38050" y="102202"/>
                      <a:pt x="36033" y="98787"/>
                      <a:pt x="34480" y="95155"/>
                    </a:cubicBezTo>
                    <a:lnTo>
                      <a:pt x="32385" y="90234"/>
                    </a:lnTo>
                    <a:lnTo>
                      <a:pt x="31940" y="89154"/>
                    </a:lnTo>
                    <a:lnTo>
                      <a:pt x="30797" y="88900"/>
                    </a:lnTo>
                    <a:lnTo>
                      <a:pt x="17177" y="85725"/>
                    </a:lnTo>
                    <a:lnTo>
                      <a:pt x="17177" y="69533"/>
                    </a:lnTo>
                    <a:lnTo>
                      <a:pt x="30797" y="66040"/>
                    </a:lnTo>
                    <a:lnTo>
                      <a:pt x="31909" y="65754"/>
                    </a:lnTo>
                    <a:lnTo>
                      <a:pt x="32321" y="64707"/>
                    </a:lnTo>
                    <a:lnTo>
                      <a:pt x="34353" y="59754"/>
                    </a:lnTo>
                    <a:cubicBezTo>
                      <a:pt x="35878" y="56108"/>
                      <a:pt x="37863" y="52672"/>
                      <a:pt x="40259" y="49530"/>
                    </a:cubicBezTo>
                    <a:lnTo>
                      <a:pt x="43434" y="45244"/>
                    </a:lnTo>
                    <a:lnTo>
                      <a:pt x="44133" y="44323"/>
                    </a:lnTo>
                    <a:lnTo>
                      <a:pt x="43815" y="43212"/>
                    </a:lnTo>
                    <a:lnTo>
                      <a:pt x="39592" y="29432"/>
                    </a:lnTo>
                    <a:lnTo>
                      <a:pt x="53594" y="21336"/>
                    </a:lnTo>
                    <a:lnTo>
                      <a:pt x="63468" y="31401"/>
                    </a:lnTo>
                    <a:lnTo>
                      <a:pt x="64262" y="32226"/>
                    </a:lnTo>
                    <a:lnTo>
                      <a:pt x="65405" y="32068"/>
                    </a:lnTo>
                    <a:lnTo>
                      <a:pt x="70707" y="31369"/>
                    </a:lnTo>
                    <a:cubicBezTo>
                      <a:pt x="72664" y="31091"/>
                      <a:pt x="74636" y="30931"/>
                      <a:pt x="76613" y="30893"/>
                    </a:cubicBezTo>
                    <a:lnTo>
                      <a:pt x="77057" y="30893"/>
                    </a:lnTo>
                    <a:cubicBezTo>
                      <a:pt x="78884" y="30938"/>
                      <a:pt x="80706" y="31076"/>
                      <a:pt x="82518" y="31306"/>
                    </a:cubicBezTo>
                    <a:lnTo>
                      <a:pt x="87820" y="31941"/>
                    </a:lnTo>
                    <a:lnTo>
                      <a:pt x="88963" y="31941"/>
                    </a:lnTo>
                    <a:lnTo>
                      <a:pt x="89757" y="31115"/>
                    </a:lnTo>
                    <a:lnTo>
                      <a:pt x="99504" y="20923"/>
                    </a:lnTo>
                    <a:lnTo>
                      <a:pt x="113570" y="28956"/>
                    </a:lnTo>
                    <a:lnTo>
                      <a:pt x="109760" y="42545"/>
                    </a:lnTo>
                    <a:lnTo>
                      <a:pt x="109442" y="43656"/>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111" name="Freeform 180">
                <a:extLst>
                  <a:ext uri="{FF2B5EF4-FFF2-40B4-BE49-F238E27FC236}">
                    <a16:creationId xmlns:a16="http://schemas.microsoft.com/office/drawing/2014/main" id="{D75E7F7C-887F-424A-8264-FD2BCAFDB057}"/>
                  </a:ext>
                </a:extLst>
              </p:cNvPr>
              <p:cNvSpPr/>
              <p:nvPr/>
            </p:nvSpPr>
            <p:spPr>
              <a:xfrm>
                <a:off x="3669237" y="2706706"/>
                <a:ext cx="51307" cy="51307"/>
              </a:xfrm>
              <a:custGeom>
                <a:avLst/>
                <a:gdLst>
                  <a:gd name="connsiteX0" fmla="*/ 25654 w 51307"/>
                  <a:gd name="connsiteY0" fmla="*/ 51308 h 51307"/>
                  <a:gd name="connsiteX1" fmla="*/ 0 w 51307"/>
                  <a:gd name="connsiteY1" fmla="*/ 25654 h 51307"/>
                  <a:gd name="connsiteX2" fmla="*/ 25654 w 51307"/>
                  <a:gd name="connsiteY2" fmla="*/ 0 h 51307"/>
                  <a:gd name="connsiteX3" fmla="*/ 51308 w 51307"/>
                  <a:gd name="connsiteY3" fmla="*/ 25559 h 51307"/>
                  <a:gd name="connsiteX4" fmla="*/ 25654 w 51307"/>
                  <a:gd name="connsiteY4" fmla="*/ 51308 h 51307"/>
                  <a:gd name="connsiteX5" fmla="*/ 25654 w 51307"/>
                  <a:gd name="connsiteY5" fmla="*/ 17367 h 51307"/>
                  <a:gd name="connsiteX6" fmla="*/ 17336 w 51307"/>
                  <a:gd name="connsiteY6" fmla="*/ 25623 h 51307"/>
                  <a:gd name="connsiteX7" fmla="*/ 25591 w 51307"/>
                  <a:gd name="connsiteY7" fmla="*/ 33941 h 51307"/>
                  <a:gd name="connsiteX8" fmla="*/ 33909 w 51307"/>
                  <a:gd name="connsiteY8" fmla="*/ 25685 h 51307"/>
                  <a:gd name="connsiteX9" fmla="*/ 33909 w 51307"/>
                  <a:gd name="connsiteY9" fmla="*/ 25559 h 51307"/>
                  <a:gd name="connsiteX10" fmla="*/ 25654 w 51307"/>
                  <a:gd name="connsiteY10" fmla="*/ 17367 h 5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307" h="51307">
                    <a:moveTo>
                      <a:pt x="25654" y="51308"/>
                    </a:moveTo>
                    <a:cubicBezTo>
                      <a:pt x="11485" y="51308"/>
                      <a:pt x="0" y="39822"/>
                      <a:pt x="0" y="25654"/>
                    </a:cubicBezTo>
                    <a:cubicBezTo>
                      <a:pt x="0" y="11486"/>
                      <a:pt x="11486" y="0"/>
                      <a:pt x="25654" y="0"/>
                    </a:cubicBezTo>
                    <a:cubicBezTo>
                      <a:pt x="39785" y="0"/>
                      <a:pt x="51255" y="11428"/>
                      <a:pt x="51308" y="25559"/>
                    </a:cubicBezTo>
                    <a:cubicBezTo>
                      <a:pt x="51325" y="39750"/>
                      <a:pt x="39845" y="51273"/>
                      <a:pt x="25654" y="51308"/>
                    </a:cubicBezTo>
                    <a:close/>
                    <a:moveTo>
                      <a:pt x="25654" y="17367"/>
                    </a:moveTo>
                    <a:cubicBezTo>
                      <a:pt x="21077" y="17350"/>
                      <a:pt x="17353" y="21046"/>
                      <a:pt x="17336" y="25623"/>
                    </a:cubicBezTo>
                    <a:cubicBezTo>
                      <a:pt x="17319" y="30199"/>
                      <a:pt x="21015" y="33923"/>
                      <a:pt x="25591" y="33941"/>
                    </a:cubicBezTo>
                    <a:cubicBezTo>
                      <a:pt x="30168" y="33958"/>
                      <a:pt x="33892" y="30262"/>
                      <a:pt x="33909" y="25685"/>
                    </a:cubicBezTo>
                    <a:cubicBezTo>
                      <a:pt x="33909" y="25643"/>
                      <a:pt x="33909" y="25601"/>
                      <a:pt x="33909" y="25559"/>
                    </a:cubicBezTo>
                    <a:cubicBezTo>
                      <a:pt x="33857" y="21032"/>
                      <a:pt x="30181" y="17384"/>
                      <a:pt x="25654" y="17367"/>
                    </a:cubicBez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113" name="Freeform 181">
                <a:extLst>
                  <a:ext uri="{FF2B5EF4-FFF2-40B4-BE49-F238E27FC236}">
                    <a16:creationId xmlns:a16="http://schemas.microsoft.com/office/drawing/2014/main" id="{437EADE3-35B3-4DAE-9855-848C73618D47}"/>
                  </a:ext>
                </a:extLst>
              </p:cNvPr>
              <p:cNvSpPr/>
              <p:nvPr/>
            </p:nvSpPr>
            <p:spPr>
              <a:xfrm>
                <a:off x="3762994" y="2602090"/>
                <a:ext cx="114585" cy="113442"/>
              </a:xfrm>
              <a:custGeom>
                <a:avLst/>
                <a:gdLst>
                  <a:gd name="connsiteX0" fmla="*/ 113824 w 114585"/>
                  <a:gd name="connsiteY0" fmla="*/ 69659 h 113442"/>
                  <a:gd name="connsiteX1" fmla="*/ 112871 w 114585"/>
                  <a:gd name="connsiteY1" fmla="*/ 68771 h 113442"/>
                  <a:gd name="connsiteX2" fmla="*/ 103823 w 114585"/>
                  <a:gd name="connsiteY2" fmla="*/ 60325 h 113442"/>
                  <a:gd name="connsiteX3" fmla="*/ 103823 w 114585"/>
                  <a:gd name="connsiteY3" fmla="*/ 52610 h 113442"/>
                  <a:gd name="connsiteX4" fmla="*/ 112713 w 114585"/>
                  <a:gd name="connsiteY4" fmla="*/ 43974 h 113442"/>
                  <a:gd name="connsiteX5" fmla="*/ 113633 w 114585"/>
                  <a:gd name="connsiteY5" fmla="*/ 43085 h 113442"/>
                  <a:gd name="connsiteX6" fmla="*/ 114395 w 114585"/>
                  <a:gd name="connsiteY6" fmla="*/ 42323 h 113442"/>
                  <a:gd name="connsiteX7" fmla="*/ 113856 w 114585"/>
                  <a:gd name="connsiteY7" fmla="*/ 41402 h 113442"/>
                  <a:gd name="connsiteX8" fmla="*/ 113221 w 114585"/>
                  <a:gd name="connsiteY8" fmla="*/ 40291 h 113442"/>
                  <a:gd name="connsiteX9" fmla="*/ 99124 w 114585"/>
                  <a:gd name="connsiteY9" fmla="*/ 15875 h 113442"/>
                  <a:gd name="connsiteX10" fmla="*/ 98457 w 114585"/>
                  <a:gd name="connsiteY10" fmla="*/ 14764 h 113442"/>
                  <a:gd name="connsiteX11" fmla="*/ 97917 w 114585"/>
                  <a:gd name="connsiteY11" fmla="*/ 13811 h 113442"/>
                  <a:gd name="connsiteX12" fmla="*/ 96869 w 114585"/>
                  <a:gd name="connsiteY12" fmla="*/ 14129 h 113442"/>
                  <a:gd name="connsiteX13" fmla="*/ 95631 w 114585"/>
                  <a:gd name="connsiteY13" fmla="*/ 14510 h 113442"/>
                  <a:gd name="connsiteX14" fmla="*/ 83788 w 114585"/>
                  <a:gd name="connsiteY14" fmla="*/ 18002 h 113442"/>
                  <a:gd name="connsiteX15" fmla="*/ 77057 w 114585"/>
                  <a:gd name="connsiteY15" fmla="*/ 14192 h 113442"/>
                  <a:gd name="connsiteX16" fmla="*/ 73882 w 114585"/>
                  <a:gd name="connsiteY16" fmla="*/ 2127 h 113442"/>
                  <a:gd name="connsiteX17" fmla="*/ 73565 w 114585"/>
                  <a:gd name="connsiteY17" fmla="*/ 889 h 113442"/>
                  <a:gd name="connsiteX18" fmla="*/ 73406 w 114585"/>
                  <a:gd name="connsiteY18" fmla="*/ 0 h 113442"/>
                  <a:gd name="connsiteX19" fmla="*/ 71057 w 114585"/>
                  <a:gd name="connsiteY19" fmla="*/ 0 h 113442"/>
                  <a:gd name="connsiteX20" fmla="*/ 43117 w 114585"/>
                  <a:gd name="connsiteY20" fmla="*/ 0 h 113442"/>
                  <a:gd name="connsiteX21" fmla="*/ 40767 w 114585"/>
                  <a:gd name="connsiteY21" fmla="*/ 0 h 113442"/>
                  <a:gd name="connsiteX22" fmla="*/ 40513 w 114585"/>
                  <a:gd name="connsiteY22" fmla="*/ 1016 h 113442"/>
                  <a:gd name="connsiteX23" fmla="*/ 40196 w 114585"/>
                  <a:gd name="connsiteY23" fmla="*/ 2254 h 113442"/>
                  <a:gd name="connsiteX24" fmla="*/ 37021 w 114585"/>
                  <a:gd name="connsiteY24" fmla="*/ 14351 h 113442"/>
                  <a:gd name="connsiteX25" fmla="*/ 34036 w 114585"/>
                  <a:gd name="connsiteY25" fmla="*/ 15875 h 113442"/>
                  <a:gd name="connsiteX26" fmla="*/ 33592 w 114585"/>
                  <a:gd name="connsiteY26" fmla="*/ 16129 h 113442"/>
                  <a:gd name="connsiteX27" fmla="*/ 30417 w 114585"/>
                  <a:gd name="connsiteY27" fmla="*/ 18256 h 113442"/>
                  <a:gd name="connsiteX28" fmla="*/ 18479 w 114585"/>
                  <a:gd name="connsiteY28" fmla="*/ 14986 h 113442"/>
                  <a:gd name="connsiteX29" fmla="*/ 17240 w 114585"/>
                  <a:gd name="connsiteY29" fmla="*/ 14637 h 113442"/>
                  <a:gd name="connsiteX30" fmla="*/ 16192 w 114585"/>
                  <a:gd name="connsiteY30" fmla="*/ 14351 h 113442"/>
                  <a:gd name="connsiteX31" fmla="*/ 15685 w 114585"/>
                  <a:gd name="connsiteY31" fmla="*/ 15272 h 113442"/>
                  <a:gd name="connsiteX32" fmla="*/ 15049 w 114585"/>
                  <a:gd name="connsiteY32" fmla="*/ 16383 h 113442"/>
                  <a:gd name="connsiteX33" fmla="*/ 1143 w 114585"/>
                  <a:gd name="connsiteY33" fmla="*/ 40640 h 113442"/>
                  <a:gd name="connsiteX34" fmla="*/ 508 w 114585"/>
                  <a:gd name="connsiteY34" fmla="*/ 41751 h 113442"/>
                  <a:gd name="connsiteX35" fmla="*/ 0 w 114585"/>
                  <a:gd name="connsiteY35" fmla="*/ 42672 h 113442"/>
                  <a:gd name="connsiteX36" fmla="*/ 762 w 114585"/>
                  <a:gd name="connsiteY36" fmla="*/ 43402 h 113442"/>
                  <a:gd name="connsiteX37" fmla="*/ 1683 w 114585"/>
                  <a:gd name="connsiteY37" fmla="*/ 44291 h 113442"/>
                  <a:gd name="connsiteX38" fmla="*/ 10668 w 114585"/>
                  <a:gd name="connsiteY38" fmla="*/ 52927 h 113442"/>
                  <a:gd name="connsiteX39" fmla="*/ 10668 w 114585"/>
                  <a:gd name="connsiteY39" fmla="*/ 60642 h 113442"/>
                  <a:gd name="connsiteX40" fmla="*/ 1715 w 114585"/>
                  <a:gd name="connsiteY40" fmla="*/ 69183 h 113442"/>
                  <a:gd name="connsiteX41" fmla="*/ 794 w 114585"/>
                  <a:gd name="connsiteY41" fmla="*/ 70072 h 113442"/>
                  <a:gd name="connsiteX42" fmla="*/ 0 w 114585"/>
                  <a:gd name="connsiteY42" fmla="*/ 70803 h 113442"/>
                  <a:gd name="connsiteX43" fmla="*/ 540 w 114585"/>
                  <a:gd name="connsiteY43" fmla="*/ 71755 h 113442"/>
                  <a:gd name="connsiteX44" fmla="*/ 1207 w 114585"/>
                  <a:gd name="connsiteY44" fmla="*/ 72866 h 113442"/>
                  <a:gd name="connsiteX45" fmla="*/ 15335 w 114585"/>
                  <a:gd name="connsiteY45" fmla="*/ 97187 h 113442"/>
                  <a:gd name="connsiteX46" fmla="*/ 16002 w 114585"/>
                  <a:gd name="connsiteY46" fmla="*/ 98298 h 113442"/>
                  <a:gd name="connsiteX47" fmla="*/ 16542 w 114585"/>
                  <a:gd name="connsiteY47" fmla="*/ 99219 h 113442"/>
                  <a:gd name="connsiteX48" fmla="*/ 17558 w 114585"/>
                  <a:gd name="connsiteY48" fmla="*/ 98933 h 113442"/>
                  <a:gd name="connsiteX49" fmla="*/ 18796 w 114585"/>
                  <a:gd name="connsiteY49" fmla="*/ 98584 h 113442"/>
                  <a:gd name="connsiteX50" fmla="*/ 30702 w 114585"/>
                  <a:gd name="connsiteY50" fmla="*/ 95250 h 113442"/>
                  <a:gd name="connsiteX51" fmla="*/ 37433 w 114585"/>
                  <a:gd name="connsiteY51" fmla="*/ 99060 h 113442"/>
                  <a:gd name="connsiteX52" fmla="*/ 40608 w 114585"/>
                  <a:gd name="connsiteY52" fmla="*/ 111157 h 113442"/>
                  <a:gd name="connsiteX53" fmla="*/ 40926 w 114585"/>
                  <a:gd name="connsiteY53" fmla="*/ 112395 h 113442"/>
                  <a:gd name="connsiteX54" fmla="*/ 41180 w 114585"/>
                  <a:gd name="connsiteY54" fmla="*/ 113443 h 113442"/>
                  <a:gd name="connsiteX55" fmla="*/ 43529 w 114585"/>
                  <a:gd name="connsiteY55" fmla="*/ 113443 h 113442"/>
                  <a:gd name="connsiteX56" fmla="*/ 71565 w 114585"/>
                  <a:gd name="connsiteY56" fmla="*/ 113443 h 113442"/>
                  <a:gd name="connsiteX57" fmla="*/ 73724 w 114585"/>
                  <a:gd name="connsiteY57" fmla="*/ 113443 h 113442"/>
                  <a:gd name="connsiteX58" fmla="*/ 73978 w 114585"/>
                  <a:gd name="connsiteY58" fmla="*/ 112395 h 113442"/>
                  <a:gd name="connsiteX59" fmla="*/ 74295 w 114585"/>
                  <a:gd name="connsiteY59" fmla="*/ 111157 h 113442"/>
                  <a:gd name="connsiteX60" fmla="*/ 77248 w 114585"/>
                  <a:gd name="connsiteY60" fmla="*/ 99092 h 113442"/>
                  <a:gd name="connsiteX61" fmla="*/ 80232 w 114585"/>
                  <a:gd name="connsiteY61" fmla="*/ 97568 h 113442"/>
                  <a:gd name="connsiteX62" fmla="*/ 80677 w 114585"/>
                  <a:gd name="connsiteY62" fmla="*/ 97314 h 113442"/>
                  <a:gd name="connsiteX63" fmla="*/ 83852 w 114585"/>
                  <a:gd name="connsiteY63" fmla="*/ 95187 h 113442"/>
                  <a:gd name="connsiteX64" fmla="*/ 95949 w 114585"/>
                  <a:gd name="connsiteY64" fmla="*/ 98425 h 113442"/>
                  <a:gd name="connsiteX65" fmla="*/ 97187 w 114585"/>
                  <a:gd name="connsiteY65" fmla="*/ 98774 h 113442"/>
                  <a:gd name="connsiteX66" fmla="*/ 98235 w 114585"/>
                  <a:gd name="connsiteY66" fmla="*/ 99060 h 113442"/>
                  <a:gd name="connsiteX67" fmla="*/ 98742 w 114585"/>
                  <a:gd name="connsiteY67" fmla="*/ 98139 h 113442"/>
                  <a:gd name="connsiteX68" fmla="*/ 99409 w 114585"/>
                  <a:gd name="connsiteY68" fmla="*/ 97028 h 113442"/>
                  <a:gd name="connsiteX69" fmla="*/ 113411 w 114585"/>
                  <a:gd name="connsiteY69" fmla="*/ 72581 h 113442"/>
                  <a:gd name="connsiteX70" fmla="*/ 114046 w 114585"/>
                  <a:gd name="connsiteY70" fmla="*/ 71469 h 113442"/>
                  <a:gd name="connsiteX71" fmla="*/ 114586 w 114585"/>
                  <a:gd name="connsiteY71" fmla="*/ 70517 h 113442"/>
                  <a:gd name="connsiteX72" fmla="*/ 80931 w 114585"/>
                  <a:gd name="connsiteY72" fmla="*/ 78645 h 113442"/>
                  <a:gd name="connsiteX73" fmla="*/ 80391 w 114585"/>
                  <a:gd name="connsiteY73" fmla="*/ 79058 h 113442"/>
                  <a:gd name="connsiteX74" fmla="*/ 79724 w 114585"/>
                  <a:gd name="connsiteY74" fmla="*/ 79566 h 113442"/>
                  <a:gd name="connsiteX75" fmla="*/ 76549 w 114585"/>
                  <a:gd name="connsiteY75" fmla="*/ 81883 h 113442"/>
                  <a:gd name="connsiteX76" fmla="*/ 73184 w 114585"/>
                  <a:gd name="connsiteY76" fmla="*/ 84201 h 113442"/>
                  <a:gd name="connsiteX77" fmla="*/ 72898 w 114585"/>
                  <a:gd name="connsiteY77" fmla="*/ 84201 h 113442"/>
                  <a:gd name="connsiteX78" fmla="*/ 69501 w 114585"/>
                  <a:gd name="connsiteY78" fmla="*/ 85820 h 113442"/>
                  <a:gd name="connsiteX79" fmla="*/ 65945 w 114585"/>
                  <a:gd name="connsiteY79" fmla="*/ 87344 h 113442"/>
                  <a:gd name="connsiteX80" fmla="*/ 65183 w 114585"/>
                  <a:gd name="connsiteY80" fmla="*/ 87662 h 113442"/>
                  <a:gd name="connsiteX81" fmla="*/ 64548 w 114585"/>
                  <a:gd name="connsiteY81" fmla="*/ 87916 h 113442"/>
                  <a:gd name="connsiteX82" fmla="*/ 64516 w 114585"/>
                  <a:gd name="connsiteY82" fmla="*/ 88900 h 113442"/>
                  <a:gd name="connsiteX83" fmla="*/ 64326 w 114585"/>
                  <a:gd name="connsiteY83" fmla="*/ 89725 h 113442"/>
                  <a:gd name="connsiteX84" fmla="*/ 62135 w 114585"/>
                  <a:gd name="connsiteY84" fmla="*/ 98425 h 113442"/>
                  <a:gd name="connsiteX85" fmla="*/ 52610 w 114585"/>
                  <a:gd name="connsiteY85" fmla="*/ 98425 h 113442"/>
                  <a:gd name="connsiteX86" fmla="*/ 50356 w 114585"/>
                  <a:gd name="connsiteY86" fmla="*/ 89630 h 113442"/>
                  <a:gd name="connsiteX87" fmla="*/ 50197 w 114585"/>
                  <a:gd name="connsiteY87" fmla="*/ 88900 h 113442"/>
                  <a:gd name="connsiteX88" fmla="*/ 50197 w 114585"/>
                  <a:gd name="connsiteY88" fmla="*/ 88233 h 113442"/>
                  <a:gd name="connsiteX89" fmla="*/ 49562 w 114585"/>
                  <a:gd name="connsiteY89" fmla="*/ 87979 h 113442"/>
                  <a:gd name="connsiteX90" fmla="*/ 48800 w 114585"/>
                  <a:gd name="connsiteY90" fmla="*/ 87662 h 113442"/>
                  <a:gd name="connsiteX91" fmla="*/ 45149 w 114585"/>
                  <a:gd name="connsiteY91" fmla="*/ 86074 h 113442"/>
                  <a:gd name="connsiteX92" fmla="*/ 38068 w 114585"/>
                  <a:gd name="connsiteY92" fmla="*/ 82042 h 113442"/>
                  <a:gd name="connsiteX93" fmla="*/ 34893 w 114585"/>
                  <a:gd name="connsiteY93" fmla="*/ 79724 h 113442"/>
                  <a:gd name="connsiteX94" fmla="*/ 34258 w 114585"/>
                  <a:gd name="connsiteY94" fmla="*/ 79216 h 113442"/>
                  <a:gd name="connsiteX95" fmla="*/ 33687 w 114585"/>
                  <a:gd name="connsiteY95" fmla="*/ 78804 h 113442"/>
                  <a:gd name="connsiteX96" fmla="*/ 33052 w 114585"/>
                  <a:gd name="connsiteY96" fmla="*/ 78994 h 113442"/>
                  <a:gd name="connsiteX97" fmla="*/ 32258 w 114585"/>
                  <a:gd name="connsiteY97" fmla="*/ 79216 h 113442"/>
                  <a:gd name="connsiteX98" fmla="*/ 23590 w 114585"/>
                  <a:gd name="connsiteY98" fmla="*/ 81725 h 113442"/>
                  <a:gd name="connsiteX99" fmla="*/ 18796 w 114585"/>
                  <a:gd name="connsiteY99" fmla="*/ 73501 h 113442"/>
                  <a:gd name="connsiteX100" fmla="*/ 25146 w 114585"/>
                  <a:gd name="connsiteY100" fmla="*/ 67151 h 113442"/>
                  <a:gd name="connsiteX101" fmla="*/ 25717 w 114585"/>
                  <a:gd name="connsiteY101" fmla="*/ 66580 h 113442"/>
                  <a:gd name="connsiteX102" fmla="*/ 26226 w 114585"/>
                  <a:gd name="connsiteY102" fmla="*/ 66072 h 113442"/>
                  <a:gd name="connsiteX103" fmla="*/ 26226 w 114585"/>
                  <a:gd name="connsiteY103" fmla="*/ 65405 h 113442"/>
                  <a:gd name="connsiteX104" fmla="*/ 26226 w 114585"/>
                  <a:gd name="connsiteY104" fmla="*/ 64580 h 113442"/>
                  <a:gd name="connsiteX105" fmla="*/ 25717 w 114585"/>
                  <a:gd name="connsiteY105" fmla="*/ 60770 h 113442"/>
                  <a:gd name="connsiteX106" fmla="*/ 25717 w 114585"/>
                  <a:gd name="connsiteY106" fmla="*/ 52610 h 113442"/>
                  <a:gd name="connsiteX107" fmla="*/ 26194 w 114585"/>
                  <a:gd name="connsiteY107" fmla="*/ 48800 h 113442"/>
                  <a:gd name="connsiteX108" fmla="*/ 26194 w 114585"/>
                  <a:gd name="connsiteY108" fmla="*/ 47974 h 113442"/>
                  <a:gd name="connsiteX109" fmla="*/ 26194 w 114585"/>
                  <a:gd name="connsiteY109" fmla="*/ 47276 h 113442"/>
                  <a:gd name="connsiteX110" fmla="*/ 25717 w 114585"/>
                  <a:gd name="connsiteY110" fmla="*/ 46800 h 113442"/>
                  <a:gd name="connsiteX111" fmla="*/ 25114 w 114585"/>
                  <a:gd name="connsiteY111" fmla="*/ 46228 h 113442"/>
                  <a:gd name="connsiteX112" fmla="*/ 18542 w 114585"/>
                  <a:gd name="connsiteY112" fmla="*/ 39878 h 113442"/>
                  <a:gd name="connsiteX113" fmla="*/ 23368 w 114585"/>
                  <a:gd name="connsiteY113" fmla="*/ 31750 h 113442"/>
                  <a:gd name="connsiteX114" fmla="*/ 32099 w 114585"/>
                  <a:gd name="connsiteY114" fmla="*/ 34227 h 113442"/>
                  <a:gd name="connsiteX115" fmla="*/ 32925 w 114585"/>
                  <a:gd name="connsiteY115" fmla="*/ 34449 h 113442"/>
                  <a:gd name="connsiteX116" fmla="*/ 33560 w 114585"/>
                  <a:gd name="connsiteY116" fmla="*/ 34639 h 113442"/>
                  <a:gd name="connsiteX117" fmla="*/ 34131 w 114585"/>
                  <a:gd name="connsiteY117" fmla="*/ 34227 h 113442"/>
                  <a:gd name="connsiteX118" fmla="*/ 34766 w 114585"/>
                  <a:gd name="connsiteY118" fmla="*/ 33719 h 113442"/>
                  <a:gd name="connsiteX119" fmla="*/ 37941 w 114585"/>
                  <a:gd name="connsiteY119" fmla="*/ 31369 h 113442"/>
                  <a:gd name="connsiteX120" fmla="*/ 41339 w 114585"/>
                  <a:gd name="connsiteY120" fmla="*/ 29083 h 113442"/>
                  <a:gd name="connsiteX121" fmla="*/ 41592 w 114585"/>
                  <a:gd name="connsiteY121" fmla="*/ 29083 h 113442"/>
                  <a:gd name="connsiteX122" fmla="*/ 45022 w 114585"/>
                  <a:gd name="connsiteY122" fmla="*/ 27432 h 113442"/>
                  <a:gd name="connsiteX123" fmla="*/ 48324 w 114585"/>
                  <a:gd name="connsiteY123" fmla="*/ 25749 h 113442"/>
                  <a:gd name="connsiteX124" fmla="*/ 49085 w 114585"/>
                  <a:gd name="connsiteY124" fmla="*/ 25432 h 113442"/>
                  <a:gd name="connsiteX125" fmla="*/ 49721 w 114585"/>
                  <a:gd name="connsiteY125" fmla="*/ 25146 h 113442"/>
                  <a:gd name="connsiteX126" fmla="*/ 49721 w 114585"/>
                  <a:gd name="connsiteY126" fmla="*/ 24479 h 113442"/>
                  <a:gd name="connsiteX127" fmla="*/ 49911 w 114585"/>
                  <a:gd name="connsiteY127" fmla="*/ 23685 h 113442"/>
                  <a:gd name="connsiteX128" fmla="*/ 52102 w 114585"/>
                  <a:gd name="connsiteY128" fmla="*/ 14859 h 113442"/>
                  <a:gd name="connsiteX129" fmla="*/ 61627 w 114585"/>
                  <a:gd name="connsiteY129" fmla="*/ 14859 h 113442"/>
                  <a:gd name="connsiteX130" fmla="*/ 63849 w 114585"/>
                  <a:gd name="connsiteY130" fmla="*/ 23685 h 113442"/>
                  <a:gd name="connsiteX131" fmla="*/ 64040 w 114585"/>
                  <a:gd name="connsiteY131" fmla="*/ 24479 h 113442"/>
                  <a:gd name="connsiteX132" fmla="*/ 64230 w 114585"/>
                  <a:gd name="connsiteY132" fmla="*/ 25146 h 113442"/>
                  <a:gd name="connsiteX133" fmla="*/ 64865 w 114585"/>
                  <a:gd name="connsiteY133" fmla="*/ 25432 h 113442"/>
                  <a:gd name="connsiteX134" fmla="*/ 65627 w 114585"/>
                  <a:gd name="connsiteY134" fmla="*/ 25718 h 113442"/>
                  <a:gd name="connsiteX135" fmla="*/ 69183 w 114585"/>
                  <a:gd name="connsiteY135" fmla="*/ 27210 h 113442"/>
                  <a:gd name="connsiteX136" fmla="*/ 76295 w 114585"/>
                  <a:gd name="connsiteY136" fmla="*/ 31242 h 113442"/>
                  <a:gd name="connsiteX137" fmla="*/ 79470 w 114585"/>
                  <a:gd name="connsiteY137" fmla="*/ 33560 h 113442"/>
                  <a:gd name="connsiteX138" fmla="*/ 80137 w 114585"/>
                  <a:gd name="connsiteY138" fmla="*/ 34068 h 113442"/>
                  <a:gd name="connsiteX139" fmla="*/ 80677 w 114585"/>
                  <a:gd name="connsiteY139" fmla="*/ 34481 h 113442"/>
                  <a:gd name="connsiteX140" fmla="*/ 81344 w 114585"/>
                  <a:gd name="connsiteY140" fmla="*/ 34290 h 113442"/>
                  <a:gd name="connsiteX141" fmla="*/ 82137 w 114585"/>
                  <a:gd name="connsiteY141" fmla="*/ 34036 h 113442"/>
                  <a:gd name="connsiteX142" fmla="*/ 90837 w 114585"/>
                  <a:gd name="connsiteY142" fmla="*/ 31528 h 113442"/>
                  <a:gd name="connsiteX143" fmla="*/ 95631 w 114585"/>
                  <a:gd name="connsiteY143" fmla="*/ 39751 h 113442"/>
                  <a:gd name="connsiteX144" fmla="*/ 89281 w 114585"/>
                  <a:gd name="connsiteY144" fmla="*/ 46101 h 113442"/>
                  <a:gd name="connsiteX145" fmla="*/ 88678 w 114585"/>
                  <a:gd name="connsiteY145" fmla="*/ 46673 h 113442"/>
                  <a:gd name="connsiteX146" fmla="*/ 88170 w 114585"/>
                  <a:gd name="connsiteY146" fmla="*/ 47149 h 113442"/>
                  <a:gd name="connsiteX147" fmla="*/ 88170 w 114585"/>
                  <a:gd name="connsiteY147" fmla="*/ 47847 h 113442"/>
                  <a:gd name="connsiteX148" fmla="*/ 88170 w 114585"/>
                  <a:gd name="connsiteY148" fmla="*/ 48673 h 113442"/>
                  <a:gd name="connsiteX149" fmla="*/ 88678 w 114585"/>
                  <a:gd name="connsiteY149" fmla="*/ 52483 h 113442"/>
                  <a:gd name="connsiteX150" fmla="*/ 88678 w 114585"/>
                  <a:gd name="connsiteY150" fmla="*/ 60642 h 113442"/>
                  <a:gd name="connsiteX151" fmla="*/ 88202 w 114585"/>
                  <a:gd name="connsiteY151" fmla="*/ 64452 h 113442"/>
                  <a:gd name="connsiteX152" fmla="*/ 88202 w 114585"/>
                  <a:gd name="connsiteY152" fmla="*/ 65278 h 113442"/>
                  <a:gd name="connsiteX153" fmla="*/ 88202 w 114585"/>
                  <a:gd name="connsiteY153" fmla="*/ 65977 h 113442"/>
                  <a:gd name="connsiteX154" fmla="*/ 88710 w 114585"/>
                  <a:gd name="connsiteY154" fmla="*/ 66453 h 113442"/>
                  <a:gd name="connsiteX155" fmla="*/ 89313 w 114585"/>
                  <a:gd name="connsiteY155" fmla="*/ 67024 h 113442"/>
                  <a:gd name="connsiteX156" fmla="*/ 95853 w 114585"/>
                  <a:gd name="connsiteY156" fmla="*/ 73374 h 113442"/>
                  <a:gd name="connsiteX157" fmla="*/ 91123 w 114585"/>
                  <a:gd name="connsiteY157" fmla="*/ 81629 h 113442"/>
                  <a:gd name="connsiteX158" fmla="*/ 82391 w 114585"/>
                  <a:gd name="connsiteY158" fmla="*/ 79184 h 113442"/>
                  <a:gd name="connsiteX159" fmla="*/ 81598 w 114585"/>
                  <a:gd name="connsiteY159" fmla="*/ 78962 h 113442"/>
                  <a:gd name="connsiteX160" fmla="*/ 1746 w 114585"/>
                  <a:gd name="connsiteY160" fmla="*/ 71057 h 113442"/>
                  <a:gd name="connsiteX161" fmla="*/ 2064 w 114585"/>
                  <a:gd name="connsiteY161" fmla="*/ 71628 h 113442"/>
                  <a:gd name="connsiteX162" fmla="*/ 1746 w 114585"/>
                  <a:gd name="connsiteY162" fmla="*/ 71057 h 11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14585" h="113442">
                    <a:moveTo>
                      <a:pt x="113824" y="69659"/>
                    </a:moveTo>
                    <a:lnTo>
                      <a:pt x="112871" y="68771"/>
                    </a:lnTo>
                    <a:lnTo>
                      <a:pt x="103823" y="60325"/>
                    </a:lnTo>
                    <a:cubicBezTo>
                      <a:pt x="104029" y="57757"/>
                      <a:pt x="104029" y="55177"/>
                      <a:pt x="103823" y="52610"/>
                    </a:cubicBezTo>
                    <a:lnTo>
                      <a:pt x="112713" y="43974"/>
                    </a:lnTo>
                    <a:lnTo>
                      <a:pt x="113633" y="43085"/>
                    </a:lnTo>
                    <a:lnTo>
                      <a:pt x="114395" y="42323"/>
                    </a:lnTo>
                    <a:lnTo>
                      <a:pt x="113856" y="41402"/>
                    </a:lnTo>
                    <a:lnTo>
                      <a:pt x="113221" y="40291"/>
                    </a:lnTo>
                    <a:lnTo>
                      <a:pt x="99124" y="15875"/>
                    </a:lnTo>
                    <a:lnTo>
                      <a:pt x="98457" y="14764"/>
                    </a:lnTo>
                    <a:lnTo>
                      <a:pt x="97917" y="13811"/>
                    </a:lnTo>
                    <a:lnTo>
                      <a:pt x="96869" y="14129"/>
                    </a:lnTo>
                    <a:lnTo>
                      <a:pt x="95631" y="14510"/>
                    </a:lnTo>
                    <a:lnTo>
                      <a:pt x="83788" y="18002"/>
                    </a:lnTo>
                    <a:cubicBezTo>
                      <a:pt x="81651" y="16553"/>
                      <a:pt x="79400" y="15279"/>
                      <a:pt x="77057" y="14192"/>
                    </a:cubicBezTo>
                    <a:lnTo>
                      <a:pt x="73882" y="2127"/>
                    </a:lnTo>
                    <a:lnTo>
                      <a:pt x="73565" y="889"/>
                    </a:lnTo>
                    <a:lnTo>
                      <a:pt x="73406" y="0"/>
                    </a:lnTo>
                    <a:lnTo>
                      <a:pt x="71057" y="0"/>
                    </a:lnTo>
                    <a:lnTo>
                      <a:pt x="43117" y="0"/>
                    </a:lnTo>
                    <a:lnTo>
                      <a:pt x="40767" y="0"/>
                    </a:lnTo>
                    <a:lnTo>
                      <a:pt x="40513" y="1016"/>
                    </a:lnTo>
                    <a:lnTo>
                      <a:pt x="40196" y="2254"/>
                    </a:lnTo>
                    <a:lnTo>
                      <a:pt x="37021" y="14351"/>
                    </a:lnTo>
                    <a:cubicBezTo>
                      <a:pt x="35973" y="14827"/>
                      <a:pt x="34989" y="15335"/>
                      <a:pt x="34036" y="15875"/>
                    </a:cubicBezTo>
                    <a:lnTo>
                      <a:pt x="33592" y="16129"/>
                    </a:lnTo>
                    <a:cubicBezTo>
                      <a:pt x="32496" y="16781"/>
                      <a:pt x="31436" y="17491"/>
                      <a:pt x="30417" y="18256"/>
                    </a:cubicBezTo>
                    <a:lnTo>
                      <a:pt x="18479" y="14986"/>
                    </a:lnTo>
                    <a:lnTo>
                      <a:pt x="17240" y="14637"/>
                    </a:lnTo>
                    <a:lnTo>
                      <a:pt x="16192" y="14351"/>
                    </a:lnTo>
                    <a:lnTo>
                      <a:pt x="15685" y="15272"/>
                    </a:lnTo>
                    <a:lnTo>
                      <a:pt x="15049" y="16383"/>
                    </a:lnTo>
                    <a:lnTo>
                      <a:pt x="1143" y="40640"/>
                    </a:lnTo>
                    <a:lnTo>
                      <a:pt x="508" y="41751"/>
                    </a:lnTo>
                    <a:lnTo>
                      <a:pt x="0" y="42672"/>
                    </a:lnTo>
                    <a:lnTo>
                      <a:pt x="762" y="43402"/>
                    </a:lnTo>
                    <a:lnTo>
                      <a:pt x="1683" y="44291"/>
                    </a:lnTo>
                    <a:lnTo>
                      <a:pt x="10668" y="52927"/>
                    </a:lnTo>
                    <a:cubicBezTo>
                      <a:pt x="10446" y="55494"/>
                      <a:pt x="10446" y="58076"/>
                      <a:pt x="10668" y="60642"/>
                    </a:cubicBezTo>
                    <a:lnTo>
                      <a:pt x="1715" y="69183"/>
                    </a:lnTo>
                    <a:lnTo>
                      <a:pt x="794" y="70072"/>
                    </a:lnTo>
                    <a:lnTo>
                      <a:pt x="0" y="70803"/>
                    </a:lnTo>
                    <a:lnTo>
                      <a:pt x="540" y="71755"/>
                    </a:lnTo>
                    <a:lnTo>
                      <a:pt x="1207" y="72866"/>
                    </a:lnTo>
                    <a:lnTo>
                      <a:pt x="15335" y="97187"/>
                    </a:lnTo>
                    <a:lnTo>
                      <a:pt x="16002" y="98298"/>
                    </a:lnTo>
                    <a:lnTo>
                      <a:pt x="16542" y="99219"/>
                    </a:lnTo>
                    <a:lnTo>
                      <a:pt x="17558" y="98933"/>
                    </a:lnTo>
                    <a:lnTo>
                      <a:pt x="18796" y="98584"/>
                    </a:lnTo>
                    <a:lnTo>
                      <a:pt x="30702" y="95250"/>
                    </a:lnTo>
                    <a:cubicBezTo>
                      <a:pt x="32841" y="96698"/>
                      <a:pt x="35091" y="97972"/>
                      <a:pt x="37433" y="99060"/>
                    </a:cubicBezTo>
                    <a:lnTo>
                      <a:pt x="40608" y="111157"/>
                    </a:lnTo>
                    <a:lnTo>
                      <a:pt x="40926" y="112395"/>
                    </a:lnTo>
                    <a:lnTo>
                      <a:pt x="41180" y="113443"/>
                    </a:lnTo>
                    <a:lnTo>
                      <a:pt x="43529" y="113443"/>
                    </a:lnTo>
                    <a:lnTo>
                      <a:pt x="71565" y="113443"/>
                    </a:lnTo>
                    <a:lnTo>
                      <a:pt x="73724" y="113443"/>
                    </a:lnTo>
                    <a:lnTo>
                      <a:pt x="73978" y="112395"/>
                    </a:lnTo>
                    <a:lnTo>
                      <a:pt x="74295" y="111157"/>
                    </a:lnTo>
                    <a:lnTo>
                      <a:pt x="77248" y="99092"/>
                    </a:lnTo>
                    <a:cubicBezTo>
                      <a:pt x="78327" y="98584"/>
                      <a:pt x="79312" y="98076"/>
                      <a:pt x="80232" y="97568"/>
                    </a:cubicBezTo>
                    <a:lnTo>
                      <a:pt x="80677" y="97314"/>
                    </a:lnTo>
                    <a:cubicBezTo>
                      <a:pt x="81756" y="96679"/>
                      <a:pt x="82804" y="95980"/>
                      <a:pt x="83852" y="95187"/>
                    </a:cubicBezTo>
                    <a:lnTo>
                      <a:pt x="95949" y="98425"/>
                    </a:lnTo>
                    <a:lnTo>
                      <a:pt x="97187" y="98774"/>
                    </a:lnTo>
                    <a:lnTo>
                      <a:pt x="98235" y="99060"/>
                    </a:lnTo>
                    <a:lnTo>
                      <a:pt x="98742" y="98139"/>
                    </a:lnTo>
                    <a:lnTo>
                      <a:pt x="99409" y="97028"/>
                    </a:lnTo>
                    <a:lnTo>
                      <a:pt x="113411" y="72581"/>
                    </a:lnTo>
                    <a:lnTo>
                      <a:pt x="114046" y="71469"/>
                    </a:lnTo>
                    <a:lnTo>
                      <a:pt x="114586" y="70517"/>
                    </a:lnTo>
                    <a:close/>
                    <a:moveTo>
                      <a:pt x="80931" y="78645"/>
                    </a:moveTo>
                    <a:lnTo>
                      <a:pt x="80391" y="79058"/>
                    </a:lnTo>
                    <a:lnTo>
                      <a:pt x="79724" y="79566"/>
                    </a:lnTo>
                    <a:lnTo>
                      <a:pt x="76549" y="81883"/>
                    </a:lnTo>
                    <a:cubicBezTo>
                      <a:pt x="75476" y="82725"/>
                      <a:pt x="74352" y="83499"/>
                      <a:pt x="73184" y="84201"/>
                    </a:cubicBezTo>
                    <a:lnTo>
                      <a:pt x="72898" y="84201"/>
                    </a:lnTo>
                    <a:cubicBezTo>
                      <a:pt x="71799" y="84808"/>
                      <a:pt x="70664" y="85349"/>
                      <a:pt x="69501" y="85820"/>
                    </a:cubicBezTo>
                    <a:lnTo>
                      <a:pt x="65945" y="87344"/>
                    </a:lnTo>
                    <a:lnTo>
                      <a:pt x="65183" y="87662"/>
                    </a:lnTo>
                    <a:lnTo>
                      <a:pt x="64548" y="87916"/>
                    </a:lnTo>
                    <a:lnTo>
                      <a:pt x="64516" y="88900"/>
                    </a:lnTo>
                    <a:lnTo>
                      <a:pt x="64326" y="89725"/>
                    </a:lnTo>
                    <a:lnTo>
                      <a:pt x="62135" y="98425"/>
                    </a:lnTo>
                    <a:lnTo>
                      <a:pt x="52610" y="98425"/>
                    </a:lnTo>
                    <a:lnTo>
                      <a:pt x="50356" y="89630"/>
                    </a:lnTo>
                    <a:lnTo>
                      <a:pt x="50197" y="88900"/>
                    </a:lnTo>
                    <a:lnTo>
                      <a:pt x="50197" y="88233"/>
                    </a:lnTo>
                    <a:lnTo>
                      <a:pt x="49562" y="87979"/>
                    </a:lnTo>
                    <a:lnTo>
                      <a:pt x="48800" y="87662"/>
                    </a:lnTo>
                    <a:lnTo>
                      <a:pt x="45149" y="86074"/>
                    </a:lnTo>
                    <a:cubicBezTo>
                      <a:pt x="42627" y="85037"/>
                      <a:pt x="40247" y="83682"/>
                      <a:pt x="38068" y="82042"/>
                    </a:cubicBezTo>
                    <a:lnTo>
                      <a:pt x="34893" y="79724"/>
                    </a:lnTo>
                    <a:lnTo>
                      <a:pt x="34258" y="79216"/>
                    </a:lnTo>
                    <a:lnTo>
                      <a:pt x="33687" y="78804"/>
                    </a:lnTo>
                    <a:lnTo>
                      <a:pt x="33052" y="78994"/>
                    </a:lnTo>
                    <a:lnTo>
                      <a:pt x="32258" y="79216"/>
                    </a:lnTo>
                    <a:lnTo>
                      <a:pt x="23590" y="81725"/>
                    </a:lnTo>
                    <a:lnTo>
                      <a:pt x="18796" y="73501"/>
                    </a:lnTo>
                    <a:lnTo>
                      <a:pt x="25146" y="67151"/>
                    </a:lnTo>
                    <a:lnTo>
                      <a:pt x="25717" y="66580"/>
                    </a:lnTo>
                    <a:lnTo>
                      <a:pt x="26226" y="66072"/>
                    </a:lnTo>
                    <a:lnTo>
                      <a:pt x="26226" y="65405"/>
                    </a:lnTo>
                    <a:lnTo>
                      <a:pt x="26226" y="64580"/>
                    </a:lnTo>
                    <a:lnTo>
                      <a:pt x="25717" y="60770"/>
                    </a:lnTo>
                    <a:cubicBezTo>
                      <a:pt x="25367" y="58061"/>
                      <a:pt x="25367" y="55318"/>
                      <a:pt x="25717" y="52610"/>
                    </a:cubicBezTo>
                    <a:lnTo>
                      <a:pt x="26194" y="48800"/>
                    </a:lnTo>
                    <a:lnTo>
                      <a:pt x="26194" y="47974"/>
                    </a:lnTo>
                    <a:lnTo>
                      <a:pt x="26194" y="47276"/>
                    </a:lnTo>
                    <a:lnTo>
                      <a:pt x="25717" y="46800"/>
                    </a:lnTo>
                    <a:lnTo>
                      <a:pt x="25114" y="46228"/>
                    </a:lnTo>
                    <a:lnTo>
                      <a:pt x="18542" y="39878"/>
                    </a:lnTo>
                    <a:lnTo>
                      <a:pt x="23368" y="31750"/>
                    </a:lnTo>
                    <a:lnTo>
                      <a:pt x="32099" y="34227"/>
                    </a:lnTo>
                    <a:lnTo>
                      <a:pt x="32925" y="34449"/>
                    </a:lnTo>
                    <a:lnTo>
                      <a:pt x="33560" y="34639"/>
                    </a:lnTo>
                    <a:lnTo>
                      <a:pt x="34131" y="34227"/>
                    </a:lnTo>
                    <a:lnTo>
                      <a:pt x="34766" y="33719"/>
                    </a:lnTo>
                    <a:lnTo>
                      <a:pt x="37941" y="31369"/>
                    </a:lnTo>
                    <a:cubicBezTo>
                      <a:pt x="39021" y="30531"/>
                      <a:pt x="40156" y="29768"/>
                      <a:pt x="41339" y="29083"/>
                    </a:cubicBezTo>
                    <a:lnTo>
                      <a:pt x="41592" y="29083"/>
                    </a:lnTo>
                    <a:cubicBezTo>
                      <a:pt x="42698" y="28459"/>
                      <a:pt x="43844" y="27907"/>
                      <a:pt x="45022" y="27432"/>
                    </a:cubicBezTo>
                    <a:lnTo>
                      <a:pt x="48324" y="25749"/>
                    </a:lnTo>
                    <a:lnTo>
                      <a:pt x="49085" y="25432"/>
                    </a:lnTo>
                    <a:lnTo>
                      <a:pt x="49721" y="25146"/>
                    </a:lnTo>
                    <a:lnTo>
                      <a:pt x="49721" y="24479"/>
                    </a:lnTo>
                    <a:lnTo>
                      <a:pt x="49911" y="23685"/>
                    </a:lnTo>
                    <a:lnTo>
                      <a:pt x="52102" y="14859"/>
                    </a:lnTo>
                    <a:lnTo>
                      <a:pt x="61627" y="14859"/>
                    </a:lnTo>
                    <a:lnTo>
                      <a:pt x="63849" y="23685"/>
                    </a:lnTo>
                    <a:lnTo>
                      <a:pt x="64040" y="24479"/>
                    </a:lnTo>
                    <a:lnTo>
                      <a:pt x="64230" y="25146"/>
                    </a:lnTo>
                    <a:lnTo>
                      <a:pt x="64865" y="25432"/>
                    </a:lnTo>
                    <a:lnTo>
                      <a:pt x="65627" y="25718"/>
                    </a:lnTo>
                    <a:lnTo>
                      <a:pt x="69183" y="27210"/>
                    </a:lnTo>
                    <a:cubicBezTo>
                      <a:pt x="71721" y="28235"/>
                      <a:pt x="74114" y="29591"/>
                      <a:pt x="76295" y="31242"/>
                    </a:cubicBezTo>
                    <a:lnTo>
                      <a:pt x="79470" y="33560"/>
                    </a:lnTo>
                    <a:lnTo>
                      <a:pt x="80137" y="34068"/>
                    </a:lnTo>
                    <a:lnTo>
                      <a:pt x="80677" y="34481"/>
                    </a:lnTo>
                    <a:lnTo>
                      <a:pt x="81344" y="34290"/>
                    </a:lnTo>
                    <a:lnTo>
                      <a:pt x="82137" y="34036"/>
                    </a:lnTo>
                    <a:lnTo>
                      <a:pt x="90837" y="31528"/>
                    </a:lnTo>
                    <a:lnTo>
                      <a:pt x="95631" y="39751"/>
                    </a:lnTo>
                    <a:lnTo>
                      <a:pt x="89281" y="46101"/>
                    </a:lnTo>
                    <a:lnTo>
                      <a:pt x="88678" y="46673"/>
                    </a:lnTo>
                    <a:lnTo>
                      <a:pt x="88170" y="47149"/>
                    </a:lnTo>
                    <a:lnTo>
                      <a:pt x="88170" y="47847"/>
                    </a:lnTo>
                    <a:lnTo>
                      <a:pt x="88170" y="48673"/>
                    </a:lnTo>
                    <a:lnTo>
                      <a:pt x="88678" y="52483"/>
                    </a:lnTo>
                    <a:cubicBezTo>
                      <a:pt x="89011" y="55193"/>
                      <a:pt x="89011" y="57933"/>
                      <a:pt x="88678" y="60642"/>
                    </a:cubicBezTo>
                    <a:lnTo>
                      <a:pt x="88202" y="64452"/>
                    </a:lnTo>
                    <a:lnTo>
                      <a:pt x="88202" y="65278"/>
                    </a:lnTo>
                    <a:lnTo>
                      <a:pt x="88202" y="65977"/>
                    </a:lnTo>
                    <a:lnTo>
                      <a:pt x="88710" y="66453"/>
                    </a:lnTo>
                    <a:lnTo>
                      <a:pt x="89313" y="67024"/>
                    </a:lnTo>
                    <a:lnTo>
                      <a:pt x="95853" y="73374"/>
                    </a:lnTo>
                    <a:lnTo>
                      <a:pt x="91123" y="81629"/>
                    </a:lnTo>
                    <a:lnTo>
                      <a:pt x="82391" y="79184"/>
                    </a:lnTo>
                    <a:lnTo>
                      <a:pt x="81598" y="78962"/>
                    </a:lnTo>
                    <a:close/>
                    <a:moveTo>
                      <a:pt x="1746" y="71057"/>
                    </a:moveTo>
                    <a:lnTo>
                      <a:pt x="2064" y="71628"/>
                    </a:lnTo>
                    <a:lnTo>
                      <a:pt x="1746" y="71057"/>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114" name="Freeform 182">
                <a:extLst>
                  <a:ext uri="{FF2B5EF4-FFF2-40B4-BE49-F238E27FC236}">
                    <a16:creationId xmlns:a16="http://schemas.microsoft.com/office/drawing/2014/main" id="{031F7187-1582-4D5E-B306-52431AF7DE77}"/>
                  </a:ext>
                </a:extLst>
              </p:cNvPr>
              <p:cNvSpPr/>
              <p:nvPr/>
            </p:nvSpPr>
            <p:spPr>
              <a:xfrm>
                <a:off x="3804191" y="2642632"/>
                <a:ext cx="32130" cy="32133"/>
              </a:xfrm>
              <a:custGeom>
                <a:avLst/>
                <a:gdLst>
                  <a:gd name="connsiteX0" fmla="*/ 30018 w 32130"/>
                  <a:gd name="connsiteY0" fmla="*/ 8099 h 32133"/>
                  <a:gd name="connsiteX1" fmla="*/ 8099 w 32130"/>
                  <a:gd name="connsiteY1" fmla="*/ 2119 h 32133"/>
                  <a:gd name="connsiteX2" fmla="*/ 2119 w 32130"/>
                  <a:gd name="connsiteY2" fmla="*/ 24037 h 32133"/>
                  <a:gd name="connsiteX3" fmla="*/ 16111 w 32130"/>
                  <a:gd name="connsiteY3" fmla="*/ 32134 h 32133"/>
                  <a:gd name="connsiteX4" fmla="*/ 24081 w 32130"/>
                  <a:gd name="connsiteY4" fmla="*/ 30006 h 32133"/>
                  <a:gd name="connsiteX5" fmla="*/ 30018 w 32130"/>
                  <a:gd name="connsiteY5" fmla="*/ 8099 h 32133"/>
                  <a:gd name="connsiteX6" fmla="*/ 19350 w 32130"/>
                  <a:gd name="connsiteY6" fmla="*/ 16957 h 32133"/>
                  <a:gd name="connsiteX7" fmla="*/ 17762 w 32130"/>
                  <a:gd name="connsiteY7" fmla="*/ 18989 h 32133"/>
                  <a:gd name="connsiteX8" fmla="*/ 13225 w 32130"/>
                  <a:gd name="connsiteY8" fmla="*/ 17552 h 32133"/>
                  <a:gd name="connsiteX9" fmla="*/ 14662 w 32130"/>
                  <a:gd name="connsiteY9" fmla="*/ 13015 h 32133"/>
                  <a:gd name="connsiteX10" fmla="*/ 16080 w 32130"/>
                  <a:gd name="connsiteY10" fmla="*/ 12639 h 32133"/>
                  <a:gd name="connsiteX11" fmla="*/ 19384 w 32130"/>
                  <a:gd name="connsiteY11" fmla="*/ 16002 h 32133"/>
                  <a:gd name="connsiteX12" fmla="*/ 19255 w 32130"/>
                  <a:gd name="connsiteY12" fmla="*/ 16894 h 32133"/>
                  <a:gd name="connsiteX13" fmla="*/ 17318 w 32130"/>
                  <a:gd name="connsiteY13" fmla="*/ 11496 h 32133"/>
                  <a:gd name="connsiteX14" fmla="*/ 17318 w 32130"/>
                  <a:gd name="connsiteY14" fmla="*/ 11496 h 32133"/>
                  <a:gd name="connsiteX15" fmla="*/ 12587 w 32130"/>
                  <a:gd name="connsiteY15" fmla="*/ 30292 h 32133"/>
                  <a:gd name="connsiteX16" fmla="*/ 12587 w 32130"/>
                  <a:gd name="connsiteY16" fmla="*/ 30292 h 32133"/>
                  <a:gd name="connsiteX17" fmla="*/ 14873 w 32130"/>
                  <a:gd name="connsiteY17" fmla="*/ 20767 h 32133"/>
                  <a:gd name="connsiteX18" fmla="*/ 14873 w 32130"/>
                  <a:gd name="connsiteY18" fmla="*/ 20767 h 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130" h="32133">
                    <a:moveTo>
                      <a:pt x="30018" y="8099"/>
                    </a:moveTo>
                    <a:cubicBezTo>
                      <a:pt x="25617" y="395"/>
                      <a:pt x="15803" y="-2283"/>
                      <a:pt x="8099" y="2119"/>
                    </a:cubicBezTo>
                    <a:cubicBezTo>
                      <a:pt x="395" y="6520"/>
                      <a:pt x="-2283" y="16333"/>
                      <a:pt x="2119" y="24037"/>
                    </a:cubicBezTo>
                    <a:cubicBezTo>
                      <a:pt x="4986" y="29057"/>
                      <a:pt x="10330" y="32149"/>
                      <a:pt x="16111" y="32134"/>
                    </a:cubicBezTo>
                    <a:cubicBezTo>
                      <a:pt x="18907" y="32122"/>
                      <a:pt x="21651" y="31389"/>
                      <a:pt x="24081" y="30006"/>
                    </a:cubicBezTo>
                    <a:cubicBezTo>
                      <a:pt x="31747" y="25579"/>
                      <a:pt x="34399" y="15792"/>
                      <a:pt x="30018" y="8099"/>
                    </a:cubicBezTo>
                    <a:close/>
                    <a:moveTo>
                      <a:pt x="19350" y="16957"/>
                    </a:moveTo>
                    <a:cubicBezTo>
                      <a:pt x="19132" y="17829"/>
                      <a:pt x="18555" y="18567"/>
                      <a:pt x="17762" y="18989"/>
                    </a:cubicBezTo>
                    <a:cubicBezTo>
                      <a:pt x="16113" y="19845"/>
                      <a:pt x="14081" y="19202"/>
                      <a:pt x="13225" y="17552"/>
                    </a:cubicBezTo>
                    <a:cubicBezTo>
                      <a:pt x="12369" y="15903"/>
                      <a:pt x="13012" y="13871"/>
                      <a:pt x="14662" y="13015"/>
                    </a:cubicBezTo>
                    <a:cubicBezTo>
                      <a:pt x="15101" y="12787"/>
                      <a:pt x="15585" y="12659"/>
                      <a:pt x="16080" y="12639"/>
                    </a:cubicBezTo>
                    <a:cubicBezTo>
                      <a:pt x="17921" y="12655"/>
                      <a:pt x="19400" y="14161"/>
                      <a:pt x="19384" y="16002"/>
                    </a:cubicBezTo>
                    <a:cubicBezTo>
                      <a:pt x="19382" y="16304"/>
                      <a:pt x="19338" y="16603"/>
                      <a:pt x="19255" y="16894"/>
                    </a:cubicBezTo>
                    <a:close/>
                    <a:moveTo>
                      <a:pt x="17318" y="11496"/>
                    </a:moveTo>
                    <a:lnTo>
                      <a:pt x="17318" y="11496"/>
                    </a:lnTo>
                    <a:close/>
                    <a:moveTo>
                      <a:pt x="12587" y="30292"/>
                    </a:moveTo>
                    <a:lnTo>
                      <a:pt x="12587" y="30292"/>
                    </a:lnTo>
                    <a:close/>
                    <a:moveTo>
                      <a:pt x="14873" y="20767"/>
                    </a:moveTo>
                    <a:lnTo>
                      <a:pt x="14873" y="20767"/>
                    </a:lnTo>
                    <a:close/>
                  </a:path>
                </a:pathLst>
              </a:custGeom>
              <a:grpFill/>
              <a:ln w="3175" cap="flat">
                <a:noFill/>
                <a:prstDash val="solid"/>
                <a:miter/>
              </a:ln>
            </p:spPr>
            <p:txBody>
              <a:bodyPr rtlCol="0" anchor="ctr"/>
              <a:lstStyle/>
              <a:p>
                <a:endParaRPr lang="en-GB" sz="700" b="1" dirty="0">
                  <a:solidFill>
                    <a:schemeClr val="accent1"/>
                  </a:solidFill>
                </a:endParaRPr>
              </a:p>
            </p:txBody>
          </p:sp>
        </p:grpSp>
      </p:grpSp>
    </p:spTree>
    <p:extLst>
      <p:ext uri="{BB962C8B-B14F-4D97-AF65-F5344CB8AC3E}">
        <p14:creationId xmlns:p14="http://schemas.microsoft.com/office/powerpoint/2010/main" val="37864643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2E173D-7D40-4A51-85AA-795682553D31}"/>
              </a:ext>
            </a:extLst>
          </p:cNvPr>
          <p:cNvGraphicFramePr>
            <a:graphicFrameLocks noChangeAspect="1"/>
          </p:cNvGraphicFramePr>
          <p:nvPr>
            <p:custDataLst>
              <p:tags r:id="rId2"/>
            </p:custDataLst>
            <p:extLst>
              <p:ext uri="{D42A27DB-BD31-4B8C-83A1-F6EECF244321}">
                <p14:modId xmlns:p14="http://schemas.microsoft.com/office/powerpoint/2010/main" val="674081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Google Shape;116;p3">
            <a:extLst>
              <a:ext uri="{FF2B5EF4-FFF2-40B4-BE49-F238E27FC236}">
                <a16:creationId xmlns:a16="http://schemas.microsoft.com/office/drawing/2014/main" id="{F3A533F6-8AAD-40C1-A5A8-FDB242CF1E2E}"/>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Το Επιχειρησιακό Σχέδιο σε μία εικόνα</a:t>
            </a:r>
          </a:p>
        </p:txBody>
      </p:sp>
      <p:pic>
        <p:nvPicPr>
          <p:cNvPr id="2" name="Picture 1">
            <a:extLst>
              <a:ext uri="{FF2B5EF4-FFF2-40B4-BE49-F238E27FC236}">
                <a16:creationId xmlns:a16="http://schemas.microsoft.com/office/drawing/2014/main" id="{D9398377-6990-48C6-831C-A3D1F2DF0CAD}"/>
              </a:ext>
            </a:extLst>
          </p:cNvPr>
          <p:cNvPicPr>
            <a:picLocks noChangeAspect="1"/>
          </p:cNvPicPr>
          <p:nvPr/>
        </p:nvPicPr>
        <p:blipFill>
          <a:blip r:embed="rId7"/>
          <a:stretch>
            <a:fillRect/>
          </a:stretch>
        </p:blipFill>
        <p:spPr>
          <a:xfrm>
            <a:off x="1300989" y="1072786"/>
            <a:ext cx="9571549" cy="5654530"/>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91439" y="1"/>
            <a:ext cx="6898640" cy="6858000"/>
            <a:chOff x="1467598" y="-1"/>
            <a:chExt cx="5913339" cy="5372100"/>
          </a:xfrm>
          <a:solidFill>
            <a:srgbClr val="013476"/>
          </a:solidFill>
        </p:grpSpPr>
        <p:sp>
          <p:nvSpPr>
            <p:cNvPr id="3" name="Freeform 3"/>
            <p:cNvSpPr/>
            <p:nvPr/>
          </p:nvSpPr>
          <p:spPr>
            <a:xfrm>
              <a:off x="1467598" y="-1"/>
              <a:ext cx="5913339" cy="5372100"/>
            </a:xfrm>
            <a:custGeom>
              <a:avLst/>
              <a:gdLst>
                <a:gd name="connsiteX0" fmla="*/ 4362669 w 5913339"/>
                <a:gd name="connsiteY0" fmla="*/ 0 h 5372100"/>
                <a:gd name="connsiteX1" fmla="*/ 18329 w 5913339"/>
                <a:gd name="connsiteY1" fmla="*/ 0 h 5372100"/>
                <a:gd name="connsiteX2" fmla="*/ 0 w 5913339"/>
                <a:gd name="connsiteY2" fmla="*/ 2887674 h 5372100"/>
                <a:gd name="connsiteX3" fmla="*/ 18329 w 5913339"/>
                <a:gd name="connsiteY3" fmla="*/ 5372100 h 5372100"/>
                <a:gd name="connsiteX4" fmla="*/ 4362669 w 5913339"/>
                <a:gd name="connsiteY4" fmla="*/ 5372100 h 5372100"/>
                <a:gd name="connsiteX5" fmla="*/ 5913339 w 5913339"/>
                <a:gd name="connsiteY5" fmla="*/ 2686050 h 5372100"/>
                <a:gd name="connsiteX6" fmla="*/ 4362669 w 5913339"/>
                <a:gd name="connsiteY6" fmla="*/ 0 h 537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3339" h="5372100">
                  <a:moveTo>
                    <a:pt x="4362669" y="0"/>
                  </a:moveTo>
                  <a:lnTo>
                    <a:pt x="18329" y="0"/>
                  </a:lnTo>
                  <a:lnTo>
                    <a:pt x="0" y="2887674"/>
                  </a:lnTo>
                  <a:lnTo>
                    <a:pt x="18329" y="5372100"/>
                  </a:lnTo>
                  <a:lnTo>
                    <a:pt x="4362669" y="5372100"/>
                  </a:lnTo>
                  <a:lnTo>
                    <a:pt x="5913339" y="2686050"/>
                  </a:lnTo>
                  <a:lnTo>
                    <a:pt x="4362669" y="0"/>
                  </a:lnTo>
                  <a:close/>
                </a:path>
              </a:pathLst>
            </a:custGeom>
            <a:grpFill/>
          </p:spPr>
        </p:sp>
      </p:grpSp>
      <p:sp>
        <p:nvSpPr>
          <p:cNvPr id="6" name="TextBox 6"/>
          <p:cNvSpPr txBox="1"/>
          <p:nvPr/>
        </p:nvSpPr>
        <p:spPr>
          <a:xfrm>
            <a:off x="1333132" y="261408"/>
            <a:ext cx="6597412" cy="474489"/>
          </a:xfrm>
          <a:prstGeom prst="rect">
            <a:avLst/>
          </a:prstGeom>
        </p:spPr>
        <p:txBody>
          <a:bodyPr lIns="0" tIns="0" rIns="0" bIns="0" rtlCol="0" anchor="t">
            <a:spAutoFit/>
          </a:bodyPr>
          <a:lstStyle/>
          <a:p>
            <a:pPr>
              <a:lnSpc>
                <a:spcPts val="3667"/>
              </a:lnSpc>
              <a:spcBef>
                <a:spcPct val="0"/>
              </a:spcBef>
            </a:pPr>
            <a:r>
              <a:rPr lang="en-US" sz="2400" b="1" spc="-1" dirty="0" err="1">
                <a:solidFill>
                  <a:schemeClr val="bg1"/>
                </a:solidFill>
                <a:latin typeface="Calibri" panose="020F0502020204030204" pitchFamily="34" charset="0"/>
                <a:ea typeface="+mj-ea"/>
                <a:cs typeface="Calibri" panose="020F0502020204030204" pitchFamily="34" charset="0"/>
              </a:rPr>
              <a:t>Τί</a:t>
            </a:r>
            <a:r>
              <a:rPr lang="en-US" sz="2400" b="1" spc="-1" dirty="0">
                <a:solidFill>
                  <a:schemeClr val="bg1"/>
                </a:solidFill>
                <a:latin typeface="Calibri" panose="020F0502020204030204" pitchFamily="34" charset="0"/>
                <a:ea typeface="+mj-ea"/>
                <a:cs typeface="Calibri" panose="020F0502020204030204" pitchFamily="34" charset="0"/>
              </a:rPr>
              <a:t> </a:t>
            </a:r>
            <a:r>
              <a:rPr lang="en-US" sz="2400" b="1" spc="-1" dirty="0" err="1">
                <a:solidFill>
                  <a:schemeClr val="bg1"/>
                </a:solidFill>
                <a:latin typeface="Calibri" panose="020F0502020204030204" pitchFamily="34" charset="0"/>
                <a:ea typeface="+mj-ea"/>
                <a:cs typeface="Calibri" panose="020F0502020204030204" pitchFamily="34" charset="0"/>
              </a:rPr>
              <a:t>έχουμε</a:t>
            </a:r>
            <a:r>
              <a:rPr lang="en-US" sz="2400" b="1" spc="-1" dirty="0">
                <a:solidFill>
                  <a:schemeClr val="bg1"/>
                </a:solidFill>
                <a:latin typeface="Calibri" panose="020F0502020204030204" pitchFamily="34" charset="0"/>
                <a:ea typeface="+mj-ea"/>
                <a:cs typeface="Calibri" panose="020F0502020204030204" pitchFamily="34" charset="0"/>
              </a:rPr>
              <a:t> π</a:t>
            </a:r>
            <a:r>
              <a:rPr lang="en-US" sz="2400" b="1" spc="-1" dirty="0" err="1">
                <a:solidFill>
                  <a:schemeClr val="bg1"/>
                </a:solidFill>
                <a:latin typeface="Calibri" panose="020F0502020204030204" pitchFamily="34" charset="0"/>
                <a:ea typeface="+mj-ea"/>
                <a:cs typeface="Calibri" panose="020F0502020204030204" pitchFamily="34" charset="0"/>
              </a:rPr>
              <a:t>ετύχει</a:t>
            </a:r>
            <a:r>
              <a:rPr lang="en-US" sz="3334" dirty="0">
                <a:solidFill>
                  <a:srgbClr val="FFFFFF"/>
                </a:solidFill>
              </a:rPr>
              <a:t>;</a:t>
            </a:r>
          </a:p>
        </p:txBody>
      </p:sp>
      <p:sp>
        <p:nvSpPr>
          <p:cNvPr id="7" name="TextBox 7"/>
          <p:cNvSpPr txBox="1"/>
          <p:nvPr/>
        </p:nvSpPr>
        <p:spPr>
          <a:xfrm>
            <a:off x="7090486" y="261408"/>
            <a:ext cx="6597412" cy="474489"/>
          </a:xfrm>
          <a:prstGeom prst="rect">
            <a:avLst/>
          </a:prstGeom>
          <a:ln>
            <a:noFill/>
          </a:ln>
        </p:spPr>
        <p:txBody>
          <a:bodyPr lIns="0" tIns="0" rIns="0" bIns="0" rtlCol="0" anchor="t">
            <a:spAutoFit/>
          </a:bodyPr>
          <a:lstStyle/>
          <a:p>
            <a:pPr>
              <a:lnSpc>
                <a:spcPts val="3667"/>
              </a:lnSpc>
              <a:spcBef>
                <a:spcPct val="0"/>
              </a:spcBef>
            </a:pPr>
            <a:r>
              <a:rPr lang="en-US" sz="2400" b="1" spc="-1" dirty="0" err="1">
                <a:solidFill>
                  <a:srgbClr val="013476"/>
                </a:solidFill>
                <a:latin typeface="Calibri" panose="020F0502020204030204" pitchFamily="34" charset="0"/>
                <a:ea typeface="+mj-ea"/>
                <a:cs typeface="Calibri" panose="020F0502020204030204" pitchFamily="34" charset="0"/>
              </a:rPr>
              <a:t>Πού</a:t>
            </a:r>
            <a:r>
              <a:rPr lang="en-US" sz="3334" dirty="0">
                <a:solidFill>
                  <a:srgbClr val="013476"/>
                </a:solidFill>
                <a:latin typeface="Fira Sans Medium Bold"/>
              </a:rPr>
              <a:t> </a:t>
            </a:r>
            <a:r>
              <a:rPr lang="en-US" sz="2400" b="1" spc="-1" dirty="0" err="1">
                <a:solidFill>
                  <a:srgbClr val="013476"/>
                </a:solidFill>
                <a:latin typeface="Calibri" panose="020F0502020204030204" pitchFamily="34" charset="0"/>
                <a:ea typeface="+mj-ea"/>
                <a:cs typeface="Calibri" panose="020F0502020204030204" pitchFamily="34" charset="0"/>
              </a:rPr>
              <a:t>στοχεύουμε</a:t>
            </a:r>
            <a:r>
              <a:rPr lang="en-US" sz="2400" b="1" spc="-1" dirty="0">
                <a:solidFill>
                  <a:srgbClr val="013476"/>
                </a:solidFill>
                <a:latin typeface="Calibri" panose="020F0502020204030204" pitchFamily="34" charset="0"/>
                <a:ea typeface="+mj-ea"/>
                <a:cs typeface="Calibri" panose="020F0502020204030204" pitchFamily="34" charset="0"/>
              </a:rPr>
              <a:t> </a:t>
            </a:r>
            <a:r>
              <a:rPr lang="en-US" sz="2400" b="1" spc="-1" dirty="0" err="1">
                <a:solidFill>
                  <a:srgbClr val="013476"/>
                </a:solidFill>
                <a:latin typeface="Calibri" panose="020F0502020204030204" pitchFamily="34" charset="0"/>
                <a:ea typeface="+mj-ea"/>
                <a:cs typeface="Calibri" panose="020F0502020204030204" pitchFamily="34" charset="0"/>
              </a:rPr>
              <a:t>τώρ</a:t>
            </a:r>
            <a:r>
              <a:rPr lang="en-US" sz="2400" b="1" spc="-1" dirty="0">
                <a:solidFill>
                  <a:srgbClr val="013476"/>
                </a:solidFill>
                <a:latin typeface="Calibri" panose="020F0502020204030204" pitchFamily="34" charset="0"/>
                <a:ea typeface="+mj-ea"/>
                <a:cs typeface="Calibri" panose="020F0502020204030204" pitchFamily="34" charset="0"/>
              </a:rPr>
              <a:t>α;</a:t>
            </a:r>
          </a:p>
        </p:txBody>
      </p:sp>
      <p:sp>
        <p:nvSpPr>
          <p:cNvPr id="8" name="TextBox 8"/>
          <p:cNvSpPr txBox="1"/>
          <p:nvPr/>
        </p:nvSpPr>
        <p:spPr>
          <a:xfrm>
            <a:off x="1333132" y="1274018"/>
            <a:ext cx="2920458" cy="317779"/>
          </a:xfrm>
          <a:prstGeom prst="rect">
            <a:avLst/>
          </a:prstGeom>
        </p:spPr>
        <p:txBody>
          <a:bodyPr wrap="square"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solidFill>
                  <a:srgbClr val="FFFFFF"/>
                </a:solidFill>
              </a:rPr>
              <a:t>Συμμετοχή</a:t>
            </a:r>
            <a:r>
              <a:rPr lang="en-US" dirty="0">
                <a:solidFill>
                  <a:srgbClr val="FFFFFF"/>
                </a:solidFill>
              </a:rPr>
              <a:t> </a:t>
            </a:r>
            <a:r>
              <a:rPr lang="en-US" dirty="0" err="1">
                <a:solidFill>
                  <a:srgbClr val="FFFFFF"/>
                </a:solidFill>
              </a:rPr>
              <a:t>όλων</a:t>
            </a:r>
            <a:endParaRPr lang="en-US" dirty="0">
              <a:solidFill>
                <a:srgbClr val="FFFFFF"/>
              </a:solidFill>
            </a:endParaRPr>
          </a:p>
        </p:txBody>
      </p:sp>
      <p:sp>
        <p:nvSpPr>
          <p:cNvPr id="9" name="TextBox 9"/>
          <p:cNvSpPr txBox="1"/>
          <p:nvPr/>
        </p:nvSpPr>
        <p:spPr>
          <a:xfrm>
            <a:off x="1333132" y="1956203"/>
            <a:ext cx="4176000"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solidFill>
                  <a:srgbClr val="FFFFFF"/>
                </a:solidFill>
              </a:rPr>
              <a:t>Ανοιχτή</a:t>
            </a:r>
            <a:r>
              <a:rPr lang="en-US" dirty="0">
                <a:solidFill>
                  <a:srgbClr val="FFFFFF"/>
                </a:solidFill>
              </a:rPr>
              <a:t> </a:t>
            </a:r>
            <a:r>
              <a:rPr lang="en-US" dirty="0" err="1">
                <a:solidFill>
                  <a:srgbClr val="FFFFFF"/>
                </a:solidFill>
              </a:rPr>
              <a:t>δι</a:t>
            </a:r>
            <a:r>
              <a:rPr lang="en-US" dirty="0">
                <a:solidFill>
                  <a:srgbClr val="FFFFFF"/>
                </a:solidFill>
              </a:rPr>
              <a:t>αδικασία</a:t>
            </a:r>
          </a:p>
        </p:txBody>
      </p:sp>
      <p:sp>
        <p:nvSpPr>
          <p:cNvPr id="10" name="TextBox 10"/>
          <p:cNvSpPr txBox="1"/>
          <p:nvPr/>
        </p:nvSpPr>
        <p:spPr>
          <a:xfrm>
            <a:off x="1333132" y="3802901"/>
            <a:ext cx="4176000"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solidFill>
                  <a:srgbClr val="FFFFFF"/>
                </a:solidFill>
              </a:rPr>
              <a:t>Τυ</a:t>
            </a:r>
            <a:r>
              <a:rPr lang="en-US" dirty="0">
                <a:solidFill>
                  <a:srgbClr val="FFFFFF"/>
                </a:solidFill>
              </a:rPr>
              <a:t>ποποίηση δεδομένων Επιχειρησιακού </a:t>
            </a:r>
          </a:p>
        </p:txBody>
      </p:sp>
      <p:sp>
        <p:nvSpPr>
          <p:cNvPr id="11" name="TextBox 11"/>
          <p:cNvSpPr txBox="1"/>
          <p:nvPr/>
        </p:nvSpPr>
        <p:spPr>
          <a:xfrm>
            <a:off x="1333132" y="3193107"/>
            <a:ext cx="4176000"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solidFill>
                  <a:srgbClr val="FFFFFF"/>
                </a:solidFill>
              </a:rPr>
              <a:t>Σύνδεση</a:t>
            </a:r>
            <a:r>
              <a:rPr lang="en-US" dirty="0">
                <a:solidFill>
                  <a:srgbClr val="FFFFFF"/>
                </a:solidFill>
              </a:rPr>
              <a:t> </a:t>
            </a:r>
            <a:r>
              <a:rPr lang="en-US" dirty="0" err="1">
                <a:solidFill>
                  <a:srgbClr val="FFFFFF"/>
                </a:solidFill>
              </a:rPr>
              <a:t>κάθε</a:t>
            </a:r>
            <a:r>
              <a:rPr lang="en-US" dirty="0">
                <a:solidFill>
                  <a:srgbClr val="FFFFFF"/>
                </a:solidFill>
              </a:rPr>
              <a:t> </a:t>
            </a:r>
            <a:r>
              <a:rPr lang="en-US" dirty="0" err="1">
                <a:solidFill>
                  <a:srgbClr val="FFFFFF"/>
                </a:solidFill>
              </a:rPr>
              <a:t>Δράσης</a:t>
            </a:r>
            <a:r>
              <a:rPr lang="en-US" dirty="0">
                <a:solidFill>
                  <a:srgbClr val="FFFFFF"/>
                </a:solidFill>
              </a:rPr>
              <a:t> </a:t>
            </a:r>
            <a:r>
              <a:rPr lang="en-US" dirty="0" err="1">
                <a:solidFill>
                  <a:srgbClr val="FFFFFF"/>
                </a:solidFill>
              </a:rPr>
              <a:t>με</a:t>
            </a:r>
            <a:r>
              <a:rPr lang="en-US" dirty="0">
                <a:solidFill>
                  <a:srgbClr val="FFFFFF"/>
                </a:solidFill>
              </a:rPr>
              <a:t> </a:t>
            </a:r>
            <a:r>
              <a:rPr lang="en-US" dirty="0" err="1">
                <a:solidFill>
                  <a:srgbClr val="FFFFFF"/>
                </a:solidFill>
              </a:rPr>
              <a:t>Στοχοθεσί</a:t>
            </a:r>
            <a:r>
              <a:rPr lang="en-US" dirty="0">
                <a:solidFill>
                  <a:srgbClr val="FFFFFF"/>
                </a:solidFill>
              </a:rPr>
              <a:t>α </a:t>
            </a:r>
          </a:p>
        </p:txBody>
      </p:sp>
      <p:sp>
        <p:nvSpPr>
          <p:cNvPr id="12" name="TextBox 12"/>
          <p:cNvSpPr txBox="1"/>
          <p:nvPr/>
        </p:nvSpPr>
        <p:spPr>
          <a:xfrm>
            <a:off x="1333132" y="5640670"/>
            <a:ext cx="4176000"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solidFill>
                  <a:srgbClr val="FFFFFF"/>
                </a:solidFill>
              </a:rPr>
              <a:t>Αυτοδι</a:t>
            </a:r>
            <a:r>
              <a:rPr lang="en-US" dirty="0">
                <a:solidFill>
                  <a:srgbClr val="FFFFFF"/>
                </a:solidFill>
              </a:rPr>
              <a:t>αγνωστικό εργαλείο</a:t>
            </a:r>
          </a:p>
        </p:txBody>
      </p:sp>
      <p:sp>
        <p:nvSpPr>
          <p:cNvPr id="13" name="TextBox 13"/>
          <p:cNvSpPr txBox="1"/>
          <p:nvPr/>
        </p:nvSpPr>
        <p:spPr>
          <a:xfrm>
            <a:off x="1333132" y="4383584"/>
            <a:ext cx="4176000"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solidFill>
                  <a:srgbClr val="FFFFFF"/>
                </a:solidFill>
              </a:rPr>
              <a:t>Διευκόλυνση</a:t>
            </a:r>
            <a:r>
              <a:rPr lang="en-US" dirty="0">
                <a:solidFill>
                  <a:srgbClr val="FFFFFF"/>
                </a:solidFill>
              </a:rPr>
              <a:t> </a:t>
            </a:r>
            <a:r>
              <a:rPr lang="en-US" dirty="0" err="1">
                <a:solidFill>
                  <a:srgbClr val="FFFFFF"/>
                </a:solidFill>
              </a:rPr>
              <a:t>συνεργ</a:t>
            </a:r>
            <a:r>
              <a:rPr lang="en-US" dirty="0">
                <a:solidFill>
                  <a:srgbClr val="FFFFFF"/>
                </a:solidFill>
              </a:rPr>
              <a:t>ασιών</a:t>
            </a:r>
          </a:p>
        </p:txBody>
      </p:sp>
      <p:sp>
        <p:nvSpPr>
          <p:cNvPr id="14" name="TextBox 14"/>
          <p:cNvSpPr txBox="1"/>
          <p:nvPr/>
        </p:nvSpPr>
        <p:spPr>
          <a:xfrm>
            <a:off x="1333132" y="4982085"/>
            <a:ext cx="4176000"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solidFill>
                  <a:srgbClr val="FFFFFF"/>
                </a:solidFill>
              </a:rPr>
              <a:t>Θεσμική</a:t>
            </a:r>
            <a:r>
              <a:rPr lang="en-US" dirty="0">
                <a:solidFill>
                  <a:srgbClr val="FFFFFF"/>
                </a:solidFill>
              </a:rPr>
              <a:t> </a:t>
            </a:r>
            <a:r>
              <a:rPr lang="en-US" dirty="0" err="1">
                <a:solidFill>
                  <a:srgbClr val="FFFFFF"/>
                </a:solidFill>
              </a:rPr>
              <a:t>μνήμη</a:t>
            </a:r>
            <a:endParaRPr lang="en-US" dirty="0">
              <a:solidFill>
                <a:srgbClr val="FFFFFF"/>
              </a:solidFill>
            </a:endParaRPr>
          </a:p>
        </p:txBody>
      </p:sp>
      <p:sp>
        <p:nvSpPr>
          <p:cNvPr id="15" name="TextBox 15"/>
          <p:cNvSpPr txBox="1"/>
          <p:nvPr/>
        </p:nvSpPr>
        <p:spPr>
          <a:xfrm>
            <a:off x="1333132" y="2562232"/>
            <a:ext cx="4176000"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solidFill>
                  <a:srgbClr val="FFFFFF"/>
                </a:solidFill>
              </a:rPr>
              <a:t>Ομ</a:t>
            </a:r>
            <a:r>
              <a:rPr lang="en-US" dirty="0">
                <a:solidFill>
                  <a:srgbClr val="FFFFFF"/>
                </a:solidFill>
              </a:rPr>
              <a:t>αλή μετάβαση</a:t>
            </a:r>
          </a:p>
        </p:txBody>
      </p:sp>
      <p:sp>
        <p:nvSpPr>
          <p:cNvPr id="16" name="TextBox 16"/>
          <p:cNvSpPr txBox="1"/>
          <p:nvPr/>
        </p:nvSpPr>
        <p:spPr>
          <a:xfrm>
            <a:off x="7090486" y="2118490"/>
            <a:ext cx="4461869" cy="310983"/>
          </a:xfrm>
          <a:prstGeom prst="rect">
            <a:avLst/>
          </a:prstGeom>
        </p:spPr>
        <p:txBody>
          <a:bodyPr wrap="square"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t>Διοίκηση</a:t>
            </a:r>
            <a:r>
              <a:rPr lang="en-US" dirty="0"/>
              <a:t> β</a:t>
            </a:r>
            <a:r>
              <a:rPr lang="en-US" dirty="0" err="1"/>
              <a:t>άσει</a:t>
            </a:r>
            <a:r>
              <a:rPr lang="en-US" dirty="0"/>
              <a:t> </a:t>
            </a:r>
            <a:r>
              <a:rPr lang="en-US" dirty="0" err="1"/>
              <a:t>Στόχων</a:t>
            </a:r>
            <a:r>
              <a:rPr lang="en-US" dirty="0"/>
              <a:t> και Απ</a:t>
            </a:r>
            <a:r>
              <a:rPr lang="en-US" dirty="0" err="1"/>
              <a:t>οτελεσμάτων</a:t>
            </a:r>
            <a:endParaRPr lang="en-US" dirty="0"/>
          </a:p>
        </p:txBody>
      </p:sp>
      <p:sp>
        <p:nvSpPr>
          <p:cNvPr id="17" name="TextBox 17"/>
          <p:cNvSpPr txBox="1"/>
          <p:nvPr/>
        </p:nvSpPr>
        <p:spPr>
          <a:xfrm>
            <a:off x="7090485" y="2648010"/>
            <a:ext cx="4435343" cy="317779"/>
          </a:xfrm>
          <a:prstGeom prst="rect">
            <a:avLst/>
          </a:prstGeom>
        </p:spPr>
        <p:txBody>
          <a:bodyPr wrap="square"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t>Τυ</a:t>
            </a:r>
            <a:r>
              <a:rPr lang="en-US" dirty="0"/>
              <a:t>ποποίηση διαδικασιών ΣΕΣ</a:t>
            </a:r>
          </a:p>
        </p:txBody>
      </p:sp>
      <p:sp>
        <p:nvSpPr>
          <p:cNvPr id="18" name="TextBox 18"/>
          <p:cNvSpPr txBox="1"/>
          <p:nvPr/>
        </p:nvSpPr>
        <p:spPr>
          <a:xfrm>
            <a:off x="7090484" y="3184326"/>
            <a:ext cx="4435343"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t>Σύνδεση</a:t>
            </a:r>
            <a:r>
              <a:rPr lang="en-US" dirty="0"/>
              <a:t> </a:t>
            </a:r>
            <a:r>
              <a:rPr lang="en-US" dirty="0" err="1"/>
              <a:t>με</a:t>
            </a:r>
            <a:r>
              <a:rPr lang="en-US" dirty="0"/>
              <a:t> π</a:t>
            </a:r>
            <a:r>
              <a:rPr lang="en-US" dirty="0" err="1"/>
              <a:t>όρους</a:t>
            </a:r>
            <a:endParaRPr lang="en-US" dirty="0"/>
          </a:p>
        </p:txBody>
      </p:sp>
      <p:sp>
        <p:nvSpPr>
          <p:cNvPr id="19" name="TextBox 19"/>
          <p:cNvSpPr txBox="1"/>
          <p:nvPr/>
        </p:nvSpPr>
        <p:spPr>
          <a:xfrm>
            <a:off x="7090483" y="3720642"/>
            <a:ext cx="4435343" cy="651204"/>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t>Έγκ</a:t>
            </a:r>
            <a:r>
              <a:rPr lang="en-US" dirty="0"/>
              <a:t>αιρη αξιολόγηση</a:t>
            </a:r>
            <a:r>
              <a:rPr lang="el-GR" dirty="0"/>
              <a:t> </a:t>
            </a:r>
            <a:r>
              <a:rPr lang="en-US" dirty="0"/>
              <a:t>-</a:t>
            </a:r>
            <a:r>
              <a:rPr lang="el-GR" dirty="0"/>
              <a:t> </a:t>
            </a:r>
            <a:r>
              <a:rPr lang="en-US" dirty="0" err="1"/>
              <a:t>δι</a:t>
            </a:r>
            <a:r>
              <a:rPr lang="en-US" dirty="0"/>
              <a:t>αχείριση κινδύνων και αξιοποίηση ευκαιριών</a:t>
            </a:r>
          </a:p>
        </p:txBody>
      </p:sp>
      <p:sp>
        <p:nvSpPr>
          <p:cNvPr id="20" name="TextBox 20"/>
          <p:cNvSpPr txBox="1"/>
          <p:nvPr/>
        </p:nvSpPr>
        <p:spPr>
          <a:xfrm>
            <a:off x="7124858" y="4590382"/>
            <a:ext cx="4435343" cy="317779"/>
          </a:xfrm>
          <a:prstGeom prst="rect">
            <a:avLst/>
          </a:prstGeom>
        </p:spPr>
        <p:txBody>
          <a:bodyPr lIns="0" tIns="0" rIns="0" bIns="0" rtlCol="0" anchor="t">
            <a:spAutoFit/>
          </a:bodyPr>
          <a:lstStyle/>
          <a:p>
            <a:pPr marL="342900" indent="-342900">
              <a:lnSpc>
                <a:spcPts val="2640"/>
              </a:lnSpc>
              <a:spcBef>
                <a:spcPct val="0"/>
              </a:spcBef>
              <a:buFont typeface="Arial" panose="020B0604020202020204" pitchFamily="34" charset="0"/>
              <a:buChar char="•"/>
            </a:pPr>
            <a:r>
              <a:rPr lang="en-US" dirty="0" err="1"/>
              <a:t>Οργ</a:t>
            </a:r>
            <a:r>
              <a:rPr lang="en-US" dirty="0"/>
              <a:t>ανωσιακή αλλαγή</a:t>
            </a:r>
          </a:p>
        </p:txBody>
      </p:sp>
      <p:sp>
        <p:nvSpPr>
          <p:cNvPr id="21" name="Graphic 136">
            <a:extLst>
              <a:ext uri="{FF2B5EF4-FFF2-40B4-BE49-F238E27FC236}">
                <a16:creationId xmlns:a16="http://schemas.microsoft.com/office/drawing/2014/main" id="{D29F1018-0F0E-46E4-B2C0-7ED053F207FB}"/>
              </a:ext>
            </a:extLst>
          </p:cNvPr>
          <p:cNvSpPr/>
          <p:nvPr/>
        </p:nvSpPr>
        <p:spPr>
          <a:xfrm>
            <a:off x="426720" y="182592"/>
            <a:ext cx="612000" cy="612000"/>
          </a:xfrm>
          <a:custGeom>
            <a:avLst/>
            <a:gdLst>
              <a:gd name="connsiteX0" fmla="*/ 19463 w 457199"/>
              <a:gd name="connsiteY0" fmla="*/ 437706 h 457200"/>
              <a:gd name="connsiteX1" fmla="*/ 437706 w 457199"/>
              <a:gd name="connsiteY1" fmla="*/ 437706 h 457200"/>
              <a:gd name="connsiteX2" fmla="*/ 437706 w 457199"/>
              <a:gd name="connsiteY2" fmla="*/ 19495 h 457200"/>
              <a:gd name="connsiteX3" fmla="*/ 19463 w 457199"/>
              <a:gd name="connsiteY3" fmla="*/ 19495 h 457200"/>
              <a:gd name="connsiteX4" fmla="*/ 457200 w 457199"/>
              <a:gd name="connsiteY4" fmla="*/ 0 h 457200"/>
              <a:gd name="connsiteX5" fmla="*/ 457200 w 457199"/>
              <a:gd name="connsiteY5" fmla="*/ 457200 h 457200"/>
              <a:gd name="connsiteX6" fmla="*/ 0 w 457199"/>
              <a:gd name="connsiteY6" fmla="*/ 457200 h 457200"/>
              <a:gd name="connsiteX7" fmla="*/ 0 w 457199"/>
              <a:gd name="connsiteY7" fmla="*/ 0 h 457200"/>
              <a:gd name="connsiteX8" fmla="*/ 438150 w 457199"/>
              <a:gd name="connsiteY8" fmla="*/ 20320 h 457200"/>
              <a:gd name="connsiteX9" fmla="*/ 19844 w 457199"/>
              <a:gd name="connsiteY9" fmla="*/ 20320 h 457200"/>
              <a:gd name="connsiteX10" fmla="*/ 19844 w 457199"/>
              <a:gd name="connsiteY10" fmla="*/ 438531 h 457200"/>
              <a:gd name="connsiteX11" fmla="*/ 438055 w 457199"/>
              <a:gd name="connsiteY11" fmla="*/ 438531 h 457200"/>
              <a:gd name="connsiteX12" fmla="*/ 387350 w 457199"/>
              <a:gd name="connsiteY12" fmla="*/ 163195 h 457200"/>
              <a:gd name="connsiteX13" fmla="*/ 327025 w 457199"/>
              <a:gd name="connsiteY13" fmla="*/ 102870 h 457200"/>
              <a:gd name="connsiteX14" fmla="*/ 194310 w 457199"/>
              <a:gd name="connsiteY14" fmla="*/ 235490 h 457200"/>
              <a:gd name="connsiteX15" fmla="*/ 130810 w 457199"/>
              <a:gd name="connsiteY15" fmla="*/ 171990 h 457200"/>
              <a:gd name="connsiteX16" fmla="*/ 70485 w 457199"/>
              <a:gd name="connsiteY16" fmla="*/ 232315 h 457200"/>
              <a:gd name="connsiteX17" fmla="*/ 194088 w 457199"/>
              <a:gd name="connsiteY17" fmla="*/ 355949 h 457200"/>
              <a:gd name="connsiteX18" fmla="*/ 130969 w 457199"/>
              <a:gd name="connsiteY18" fmla="*/ 203549 h 457200"/>
              <a:gd name="connsiteX19" fmla="*/ 194469 w 457199"/>
              <a:gd name="connsiteY19" fmla="*/ 267049 h 457200"/>
              <a:gd name="connsiteX20" fmla="*/ 327120 w 457199"/>
              <a:gd name="connsiteY20" fmla="*/ 134398 h 457200"/>
              <a:gd name="connsiteX21" fmla="*/ 355949 w 457199"/>
              <a:gd name="connsiteY21" fmla="*/ 163227 h 457200"/>
              <a:gd name="connsiteX22" fmla="*/ 194310 w 457199"/>
              <a:gd name="connsiteY22" fmla="*/ 324580 h 457200"/>
              <a:gd name="connsiteX23" fmla="*/ 102235 w 457199"/>
              <a:gd name="connsiteY23" fmla="*/ 23250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199" h="457200">
                <a:moveTo>
                  <a:pt x="19463" y="437706"/>
                </a:moveTo>
                <a:lnTo>
                  <a:pt x="437706" y="437706"/>
                </a:lnTo>
                <a:moveTo>
                  <a:pt x="437706" y="19495"/>
                </a:moveTo>
                <a:lnTo>
                  <a:pt x="19463" y="19495"/>
                </a:lnTo>
                <a:moveTo>
                  <a:pt x="457200" y="0"/>
                </a:moveTo>
                <a:lnTo>
                  <a:pt x="457200" y="457200"/>
                </a:lnTo>
                <a:lnTo>
                  <a:pt x="0" y="457200"/>
                </a:lnTo>
                <a:lnTo>
                  <a:pt x="0" y="0"/>
                </a:lnTo>
                <a:close/>
                <a:moveTo>
                  <a:pt x="438150" y="20320"/>
                </a:moveTo>
                <a:lnTo>
                  <a:pt x="19844" y="20320"/>
                </a:lnTo>
                <a:lnTo>
                  <a:pt x="19844" y="438531"/>
                </a:lnTo>
                <a:lnTo>
                  <a:pt x="438055" y="438531"/>
                </a:lnTo>
                <a:close/>
                <a:moveTo>
                  <a:pt x="387350" y="163195"/>
                </a:moveTo>
                <a:lnTo>
                  <a:pt x="327025" y="102870"/>
                </a:lnTo>
                <a:lnTo>
                  <a:pt x="194310" y="235490"/>
                </a:lnTo>
                <a:lnTo>
                  <a:pt x="130810" y="171990"/>
                </a:lnTo>
                <a:lnTo>
                  <a:pt x="70485" y="232315"/>
                </a:lnTo>
                <a:lnTo>
                  <a:pt x="194088" y="355949"/>
                </a:lnTo>
                <a:close/>
                <a:moveTo>
                  <a:pt x="130969" y="203549"/>
                </a:moveTo>
                <a:lnTo>
                  <a:pt x="194469" y="267049"/>
                </a:lnTo>
                <a:lnTo>
                  <a:pt x="327120" y="134398"/>
                </a:lnTo>
                <a:lnTo>
                  <a:pt x="355949" y="163227"/>
                </a:lnTo>
                <a:lnTo>
                  <a:pt x="194310" y="324580"/>
                </a:lnTo>
                <a:lnTo>
                  <a:pt x="102235" y="232505"/>
                </a:lnTo>
                <a:close/>
              </a:path>
            </a:pathLst>
          </a:custGeom>
          <a:solidFill>
            <a:schemeClr val="bg1"/>
          </a:solidFill>
          <a:ln w="3175" cap="flat">
            <a:noFill/>
            <a:prstDash val="solid"/>
            <a:miter/>
          </a:ln>
        </p:spPr>
        <p:txBody>
          <a:bodyPr rtlCol="0" anchor="ctr"/>
          <a:lstStyle/>
          <a:p>
            <a:endParaRPr lang="en-GB" sz="700" b="1">
              <a:solidFill>
                <a:schemeClr val="accent1"/>
              </a:solidFill>
            </a:endParaRPr>
          </a:p>
        </p:txBody>
      </p:sp>
      <p:sp>
        <p:nvSpPr>
          <p:cNvPr id="22" name="Freeform 112">
            <a:extLst>
              <a:ext uri="{FF2B5EF4-FFF2-40B4-BE49-F238E27FC236}">
                <a16:creationId xmlns:a16="http://schemas.microsoft.com/office/drawing/2014/main" id="{5D7265E8-9FA3-4E6E-9CDF-5EF7CD209C8C}"/>
              </a:ext>
            </a:extLst>
          </p:cNvPr>
          <p:cNvSpPr>
            <a:spLocks noChangeAspect="1" noEditPoints="1"/>
          </p:cNvSpPr>
          <p:nvPr/>
        </p:nvSpPr>
        <p:spPr bwMode="auto">
          <a:xfrm>
            <a:off x="6284340" y="187643"/>
            <a:ext cx="610266" cy="612000"/>
          </a:xfrm>
          <a:custGeom>
            <a:avLst/>
            <a:gdLst>
              <a:gd name="T0" fmla="*/ 288 w 576"/>
              <a:gd name="T1" fmla="*/ 224 h 576"/>
              <a:gd name="T2" fmla="*/ 224 w 576"/>
              <a:gd name="T3" fmla="*/ 288 h 576"/>
              <a:gd name="T4" fmla="*/ 288 w 576"/>
              <a:gd name="T5" fmla="*/ 352 h 576"/>
              <a:gd name="T6" fmla="*/ 352 w 576"/>
              <a:gd name="T7" fmla="*/ 288 h 576"/>
              <a:gd name="T8" fmla="*/ 288 w 576"/>
              <a:gd name="T9" fmla="*/ 224 h 576"/>
              <a:gd name="T10" fmla="*/ 327 w 576"/>
              <a:gd name="T11" fmla="*/ 288 h 576"/>
              <a:gd name="T12" fmla="*/ 288 w 576"/>
              <a:gd name="T13" fmla="*/ 327 h 576"/>
              <a:gd name="T14" fmla="*/ 249 w 576"/>
              <a:gd name="T15" fmla="*/ 288 h 576"/>
              <a:gd name="T16" fmla="*/ 288 w 576"/>
              <a:gd name="T17" fmla="*/ 249 h 576"/>
              <a:gd name="T18" fmla="*/ 327 w 576"/>
              <a:gd name="T19" fmla="*/ 288 h 576"/>
              <a:gd name="T20" fmla="*/ 479 w 576"/>
              <a:gd name="T21" fmla="*/ 288 h 576"/>
              <a:gd name="T22" fmla="*/ 423 w 576"/>
              <a:gd name="T23" fmla="*/ 153 h 576"/>
              <a:gd name="T24" fmla="*/ 288 w 576"/>
              <a:gd name="T25" fmla="*/ 97 h 576"/>
              <a:gd name="T26" fmla="*/ 153 w 576"/>
              <a:gd name="T27" fmla="*/ 153 h 576"/>
              <a:gd name="T28" fmla="*/ 97 w 576"/>
              <a:gd name="T29" fmla="*/ 288 h 576"/>
              <a:gd name="T30" fmla="*/ 145 w 576"/>
              <a:gd name="T31" fmla="*/ 414 h 576"/>
              <a:gd name="T32" fmla="*/ 113 w 576"/>
              <a:gd name="T33" fmla="*/ 446 h 576"/>
              <a:gd name="T34" fmla="*/ 113 w 576"/>
              <a:gd name="T35" fmla="*/ 446 h 576"/>
              <a:gd name="T36" fmla="*/ 130 w 576"/>
              <a:gd name="T37" fmla="*/ 463 h 576"/>
              <a:gd name="T38" fmla="*/ 130 w 576"/>
              <a:gd name="T39" fmla="*/ 463 h 576"/>
              <a:gd name="T40" fmla="*/ 162 w 576"/>
              <a:gd name="T41" fmla="*/ 431 h 576"/>
              <a:gd name="T42" fmla="*/ 288 w 576"/>
              <a:gd name="T43" fmla="*/ 479 h 576"/>
              <a:gd name="T44" fmla="*/ 414 w 576"/>
              <a:gd name="T45" fmla="*/ 431 h 576"/>
              <a:gd name="T46" fmla="*/ 446 w 576"/>
              <a:gd name="T47" fmla="*/ 463 h 576"/>
              <a:gd name="T48" fmla="*/ 446 w 576"/>
              <a:gd name="T49" fmla="*/ 463 h 576"/>
              <a:gd name="T50" fmla="*/ 463 w 576"/>
              <a:gd name="T51" fmla="*/ 446 h 576"/>
              <a:gd name="T52" fmla="*/ 464 w 576"/>
              <a:gd name="T53" fmla="*/ 446 h 576"/>
              <a:gd name="T54" fmla="*/ 431 w 576"/>
              <a:gd name="T55" fmla="*/ 414 h 576"/>
              <a:gd name="T56" fmla="*/ 479 w 576"/>
              <a:gd name="T57" fmla="*/ 288 h 576"/>
              <a:gd name="T58" fmla="*/ 454 w 576"/>
              <a:gd name="T59" fmla="*/ 288 h 576"/>
              <a:gd name="T60" fmla="*/ 288 w 576"/>
              <a:gd name="T61" fmla="*/ 454 h 576"/>
              <a:gd name="T62" fmla="*/ 122 w 576"/>
              <a:gd name="T63" fmla="*/ 288 h 576"/>
              <a:gd name="T64" fmla="*/ 288 w 576"/>
              <a:gd name="T65" fmla="*/ 122 h 576"/>
              <a:gd name="T66" fmla="*/ 454 w 576"/>
              <a:gd name="T67" fmla="*/ 288 h 576"/>
              <a:gd name="T68" fmla="*/ 288 w 576"/>
              <a:gd name="T69" fmla="*/ 161 h 576"/>
              <a:gd name="T70" fmla="*/ 161 w 576"/>
              <a:gd name="T71" fmla="*/ 288 h 576"/>
              <a:gd name="T72" fmla="*/ 288 w 576"/>
              <a:gd name="T73" fmla="*/ 415 h 576"/>
              <a:gd name="T74" fmla="*/ 415 w 576"/>
              <a:gd name="T75" fmla="*/ 288 h 576"/>
              <a:gd name="T76" fmla="*/ 288 w 576"/>
              <a:gd name="T77" fmla="*/ 161 h 576"/>
              <a:gd name="T78" fmla="*/ 391 w 576"/>
              <a:gd name="T79" fmla="*/ 288 h 576"/>
              <a:gd name="T80" fmla="*/ 288 w 576"/>
              <a:gd name="T81" fmla="*/ 391 h 576"/>
              <a:gd name="T82" fmla="*/ 185 w 576"/>
              <a:gd name="T83" fmla="*/ 288 h 576"/>
              <a:gd name="T84" fmla="*/ 288 w 576"/>
              <a:gd name="T85" fmla="*/ 185 h 576"/>
              <a:gd name="T86" fmla="*/ 391 w 576"/>
              <a:gd name="T87" fmla="*/ 288 h 576"/>
              <a:gd name="T88" fmla="*/ 0 w 576"/>
              <a:gd name="T89" fmla="*/ 0 h 576"/>
              <a:gd name="T90" fmla="*/ 0 w 576"/>
              <a:gd name="T91" fmla="*/ 576 h 576"/>
              <a:gd name="T92" fmla="*/ 576 w 576"/>
              <a:gd name="T93" fmla="*/ 576 h 576"/>
              <a:gd name="T94" fmla="*/ 576 w 576"/>
              <a:gd name="T95" fmla="*/ 0 h 576"/>
              <a:gd name="T96" fmla="*/ 0 w 576"/>
              <a:gd name="T97" fmla="*/ 0 h 576"/>
              <a:gd name="T98" fmla="*/ 551 w 576"/>
              <a:gd name="T99" fmla="*/ 551 h 576"/>
              <a:gd name="T100" fmla="*/ 25 w 576"/>
              <a:gd name="T101" fmla="*/ 551 h 576"/>
              <a:gd name="T102" fmla="*/ 25 w 576"/>
              <a:gd name="T103" fmla="*/ 25 h 576"/>
              <a:gd name="T104" fmla="*/ 551 w 576"/>
              <a:gd name="T105" fmla="*/ 25 h 576"/>
              <a:gd name="T106" fmla="*/ 551 w 576"/>
              <a:gd name="T10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6" h="576">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rgbClr val="013476"/>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1999969" y="1658911"/>
            <a:ext cx="9591577" cy="310983"/>
          </a:xfrm>
          <a:prstGeom prst="rect">
            <a:avLst/>
          </a:prstGeom>
        </p:spPr>
        <p:txBody>
          <a:bodyPr lIns="0" tIns="0" rIns="0" bIns="0" rtlCol="0" anchor="t">
            <a:spAutoFit/>
          </a:bodyPr>
          <a:lstStyle/>
          <a:p>
            <a:pPr>
              <a:lnSpc>
                <a:spcPts val="2640"/>
              </a:lnSpc>
              <a:spcBef>
                <a:spcPct val="0"/>
              </a:spcBef>
            </a:pPr>
            <a:r>
              <a:rPr lang="en-US" dirty="0"/>
              <a:t>Π</a:t>
            </a:r>
            <a:r>
              <a:rPr lang="el-GR" dirty="0" err="1"/>
              <a:t>λατφόρμες</a:t>
            </a:r>
            <a:r>
              <a:rPr lang="el-GR" dirty="0"/>
              <a:t> π</a:t>
            </a:r>
            <a:r>
              <a:rPr lang="en-US" dirty="0"/>
              <a:t>αρα</a:t>
            </a:r>
            <a:r>
              <a:rPr lang="en-US" dirty="0" err="1"/>
              <a:t>κολούθηση</a:t>
            </a:r>
            <a:r>
              <a:rPr lang="el-GR" dirty="0"/>
              <a:t>ς</a:t>
            </a:r>
            <a:r>
              <a:rPr lang="en-US" dirty="0"/>
              <a:t> και α</a:t>
            </a:r>
            <a:r>
              <a:rPr lang="en-US" dirty="0" err="1"/>
              <a:t>ξιολόγηση</a:t>
            </a:r>
            <a:r>
              <a:rPr lang="el-GR" dirty="0"/>
              <a:t>ς</a:t>
            </a:r>
          </a:p>
        </p:txBody>
      </p:sp>
      <p:sp>
        <p:nvSpPr>
          <p:cNvPr id="4" name="TextBox 4"/>
          <p:cNvSpPr txBox="1"/>
          <p:nvPr/>
        </p:nvSpPr>
        <p:spPr>
          <a:xfrm>
            <a:off x="1999969" y="3429000"/>
            <a:ext cx="9484895" cy="644407"/>
          </a:xfrm>
          <a:prstGeom prst="rect">
            <a:avLst/>
          </a:prstGeom>
        </p:spPr>
        <p:txBody>
          <a:bodyPr wrap="square" lIns="0" tIns="0" rIns="0" bIns="0" rtlCol="0" anchor="t">
            <a:spAutoFit/>
          </a:bodyPr>
          <a:lstStyle/>
          <a:p>
            <a:pPr>
              <a:lnSpc>
                <a:spcPts val="2640"/>
              </a:lnSpc>
              <a:spcBef>
                <a:spcPct val="0"/>
              </a:spcBef>
            </a:pPr>
            <a:r>
              <a:rPr lang="el-GR" dirty="0"/>
              <a:t>Συναντήσεις εργασίας</a:t>
            </a:r>
            <a:r>
              <a:rPr lang="en-US" dirty="0"/>
              <a:t> (workshops) </a:t>
            </a:r>
            <a:r>
              <a:rPr lang="el-GR" dirty="0"/>
              <a:t>εμπλουτισμού και επιτάχυνσης υλοποίησης </a:t>
            </a:r>
            <a:r>
              <a:rPr lang="en-US" dirty="0"/>
              <a:t>Επ</a:t>
            </a:r>
            <a:r>
              <a:rPr lang="en-US" dirty="0" err="1"/>
              <a:t>ιχειρησι</a:t>
            </a:r>
            <a:r>
              <a:rPr lang="en-US" dirty="0"/>
              <a:t>ακού Σχεδίου με Γενικές Γραμματείες, Γενικές Διευθύνσεις και Διευθύνσεις που κατανέμουν τους  πόρους</a:t>
            </a:r>
          </a:p>
        </p:txBody>
      </p:sp>
      <p:sp>
        <p:nvSpPr>
          <p:cNvPr id="5" name="TextBox 5"/>
          <p:cNvSpPr txBox="1"/>
          <p:nvPr/>
        </p:nvSpPr>
        <p:spPr>
          <a:xfrm>
            <a:off x="1999969" y="4254330"/>
            <a:ext cx="9242683" cy="666849"/>
          </a:xfrm>
          <a:prstGeom prst="rect">
            <a:avLst/>
          </a:prstGeom>
        </p:spPr>
        <p:txBody>
          <a:bodyPr lIns="0" tIns="0" rIns="0" bIns="0" rtlCol="0" anchor="t">
            <a:spAutoFit/>
          </a:bodyPr>
          <a:lstStyle/>
          <a:p>
            <a:pPr>
              <a:lnSpc>
                <a:spcPts val="2640"/>
              </a:lnSpc>
              <a:spcBef>
                <a:spcPct val="0"/>
              </a:spcBef>
            </a:pPr>
            <a:r>
              <a:rPr lang="en-US" dirty="0" err="1"/>
              <a:t>Αξιο</a:t>
            </a:r>
            <a:r>
              <a:rPr lang="en-US" dirty="0"/>
              <a:t>ποίηση των προτάσεων της τεχνικής βοήθειας που παρέχεται μέσω της Ευρωπαϊκής Επιτροπής (DG</a:t>
            </a:r>
            <a:r>
              <a:rPr lang="el-GR" dirty="0"/>
              <a:t> </a:t>
            </a:r>
            <a:r>
              <a:rPr lang="en-US" dirty="0"/>
              <a:t>REFORM)</a:t>
            </a:r>
          </a:p>
        </p:txBody>
      </p:sp>
      <p:sp>
        <p:nvSpPr>
          <p:cNvPr id="6" name="TextBox 6"/>
          <p:cNvSpPr txBox="1"/>
          <p:nvPr/>
        </p:nvSpPr>
        <p:spPr>
          <a:xfrm>
            <a:off x="1999969" y="5142904"/>
            <a:ext cx="9578588" cy="317779"/>
          </a:xfrm>
          <a:prstGeom prst="rect">
            <a:avLst/>
          </a:prstGeom>
        </p:spPr>
        <p:txBody>
          <a:bodyPr lIns="0" tIns="0" rIns="0" bIns="0" rtlCol="0" anchor="t">
            <a:spAutoFit/>
          </a:bodyPr>
          <a:lstStyle/>
          <a:p>
            <a:pPr>
              <a:lnSpc>
                <a:spcPts val="2640"/>
              </a:lnSpc>
              <a:spcBef>
                <a:spcPct val="0"/>
              </a:spcBef>
            </a:pPr>
            <a:r>
              <a:rPr lang="en-US" dirty="0" err="1"/>
              <a:t>Ψηφι</a:t>
            </a:r>
            <a:r>
              <a:rPr lang="en-US" dirty="0"/>
              <a:t>ακό</a:t>
            </a:r>
            <a:r>
              <a:rPr lang="el-GR" dirty="0"/>
              <a:t>ς</a:t>
            </a:r>
            <a:r>
              <a:rPr lang="en-US" dirty="0"/>
              <a:t> μετασχηματισμό</a:t>
            </a:r>
            <a:r>
              <a:rPr lang="el-GR" dirty="0"/>
              <a:t>ς</a:t>
            </a:r>
            <a:r>
              <a:rPr lang="en-US" dirty="0"/>
              <a:t> </a:t>
            </a:r>
          </a:p>
        </p:txBody>
      </p:sp>
      <p:sp>
        <p:nvSpPr>
          <p:cNvPr id="8" name="TextBox 8"/>
          <p:cNvSpPr txBox="1"/>
          <p:nvPr/>
        </p:nvSpPr>
        <p:spPr>
          <a:xfrm>
            <a:off x="940100" y="2864525"/>
            <a:ext cx="5023656" cy="317779"/>
          </a:xfrm>
          <a:prstGeom prst="rect">
            <a:avLst/>
          </a:prstGeom>
        </p:spPr>
        <p:txBody>
          <a:bodyPr wrap="square" lIns="0" tIns="0" rIns="0" bIns="0" rtlCol="0" anchor="t">
            <a:spAutoFit/>
          </a:bodyPr>
          <a:lstStyle/>
          <a:p>
            <a:pPr algn="ctr">
              <a:lnSpc>
                <a:spcPts val="2640"/>
              </a:lnSpc>
              <a:spcBef>
                <a:spcPct val="0"/>
              </a:spcBef>
            </a:pPr>
            <a:r>
              <a:rPr lang="en-US" dirty="0" err="1"/>
              <a:t>Ποιοτική</a:t>
            </a:r>
            <a:r>
              <a:rPr lang="en-US" dirty="0"/>
              <a:t> α</a:t>
            </a:r>
            <a:r>
              <a:rPr lang="en-US" dirty="0" err="1"/>
              <a:t>νάλυση</a:t>
            </a:r>
            <a:r>
              <a:rPr lang="en-US" dirty="0"/>
              <a:t> </a:t>
            </a:r>
            <a:r>
              <a:rPr lang="en-US" dirty="0" err="1"/>
              <a:t>δεδομένων</a:t>
            </a:r>
            <a:endParaRPr lang="en-US" dirty="0"/>
          </a:p>
        </p:txBody>
      </p:sp>
      <p:pic>
        <p:nvPicPr>
          <p:cNvPr id="19" name="Picture 18">
            <a:extLst>
              <a:ext uri="{FF2B5EF4-FFF2-40B4-BE49-F238E27FC236}">
                <a16:creationId xmlns:a16="http://schemas.microsoft.com/office/drawing/2014/main" id="{CE94BCA9-2572-4779-94E0-0977DB8120AC}"/>
              </a:ext>
            </a:extLst>
          </p:cNvPr>
          <p:cNvPicPr>
            <a:picLocks noChangeAspect="1"/>
          </p:cNvPicPr>
          <p:nvPr/>
        </p:nvPicPr>
        <p:blipFill rotWithShape="1">
          <a:blip r:embed="rId3"/>
          <a:srcRect l="37419"/>
          <a:stretch/>
        </p:blipFill>
        <p:spPr>
          <a:xfrm>
            <a:off x="9144" y="3885785"/>
            <a:ext cx="1090977" cy="2972215"/>
          </a:xfrm>
          <a:prstGeom prst="rect">
            <a:avLst/>
          </a:prstGeom>
        </p:spPr>
      </p:pic>
      <p:sp>
        <p:nvSpPr>
          <p:cNvPr id="20" name="Google Shape;116;p3">
            <a:extLst>
              <a:ext uri="{FF2B5EF4-FFF2-40B4-BE49-F238E27FC236}">
                <a16:creationId xmlns:a16="http://schemas.microsoft.com/office/drawing/2014/main" id="{0263C380-3627-4A7A-A898-481CFC14E688}"/>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dirty="0">
                <a:solidFill>
                  <a:srgbClr val="FFFFFF"/>
                </a:solidFill>
                <a:latin typeface="Calibri"/>
                <a:ea typeface="Calibri"/>
                <a:cs typeface="Calibri"/>
                <a:sym typeface="Calibri"/>
              </a:rPr>
              <a:t>Πώς θα το πετύχουμε;</a:t>
            </a:r>
          </a:p>
        </p:txBody>
      </p:sp>
      <p:grpSp>
        <p:nvGrpSpPr>
          <p:cNvPr id="22" name="Graphic 53">
            <a:extLst>
              <a:ext uri="{FF2B5EF4-FFF2-40B4-BE49-F238E27FC236}">
                <a16:creationId xmlns:a16="http://schemas.microsoft.com/office/drawing/2014/main" id="{8E7C45C3-3425-4A0D-A0D2-2A3BD0857FF7}"/>
              </a:ext>
            </a:extLst>
          </p:cNvPr>
          <p:cNvGrpSpPr/>
          <p:nvPr/>
        </p:nvGrpSpPr>
        <p:grpSpPr>
          <a:xfrm>
            <a:off x="1356095" y="1544444"/>
            <a:ext cx="457200" cy="457200"/>
            <a:chOff x="8446903" y="2560815"/>
            <a:chExt cx="457200" cy="457200"/>
          </a:xfrm>
          <a:solidFill>
            <a:srgbClr val="013476"/>
          </a:solidFill>
        </p:grpSpPr>
        <p:sp>
          <p:nvSpPr>
            <p:cNvPr id="23" name="Freeform 171">
              <a:extLst>
                <a:ext uri="{FF2B5EF4-FFF2-40B4-BE49-F238E27FC236}">
                  <a16:creationId xmlns:a16="http://schemas.microsoft.com/office/drawing/2014/main" id="{D5295053-9D05-4E18-BA80-60AF9834717C}"/>
                </a:ext>
              </a:extLst>
            </p:cNvPr>
            <p:cNvSpPr/>
            <p:nvPr/>
          </p:nvSpPr>
          <p:spPr>
            <a:xfrm>
              <a:off x="8517673" y="2684195"/>
              <a:ext cx="101600" cy="74263"/>
            </a:xfrm>
            <a:custGeom>
              <a:avLst/>
              <a:gdLst>
                <a:gd name="connsiteX0" fmla="*/ 22447 w 101600"/>
                <a:gd name="connsiteY0" fmla="*/ 0 h 74263"/>
                <a:gd name="connsiteX1" fmla="*/ 31496 w 101600"/>
                <a:gd name="connsiteY1" fmla="*/ 45879 h 74263"/>
                <a:gd name="connsiteX2" fmla="*/ 31718 w 101600"/>
                <a:gd name="connsiteY2" fmla="*/ 45879 h 74263"/>
                <a:gd name="connsiteX3" fmla="*/ 40672 w 101600"/>
                <a:gd name="connsiteY3" fmla="*/ 0 h 74263"/>
                <a:gd name="connsiteX4" fmla="*/ 60833 w 101600"/>
                <a:gd name="connsiteY4" fmla="*/ 0 h 74263"/>
                <a:gd name="connsiteX5" fmla="*/ 69564 w 101600"/>
                <a:gd name="connsiteY5" fmla="*/ 46482 h 74263"/>
                <a:gd name="connsiteX6" fmla="*/ 69787 w 101600"/>
                <a:gd name="connsiteY6" fmla="*/ 46482 h 74263"/>
                <a:gd name="connsiteX7" fmla="*/ 79026 w 101600"/>
                <a:gd name="connsiteY7" fmla="*/ 0 h 74263"/>
                <a:gd name="connsiteX8" fmla="*/ 101600 w 101600"/>
                <a:gd name="connsiteY8" fmla="*/ 0 h 74263"/>
                <a:gd name="connsiteX9" fmla="*/ 80804 w 101600"/>
                <a:gd name="connsiteY9" fmla="*/ 74263 h 74263"/>
                <a:gd name="connsiteX10" fmla="*/ 58579 w 101600"/>
                <a:gd name="connsiteY10" fmla="*/ 74263 h 74263"/>
                <a:gd name="connsiteX11" fmla="*/ 50546 w 101600"/>
                <a:gd name="connsiteY11" fmla="*/ 29019 h 74263"/>
                <a:gd name="connsiteX12" fmla="*/ 50324 w 101600"/>
                <a:gd name="connsiteY12" fmla="*/ 29019 h 74263"/>
                <a:gd name="connsiteX13" fmla="*/ 42545 w 101600"/>
                <a:gd name="connsiteY13" fmla="*/ 74263 h 74263"/>
                <a:gd name="connsiteX14" fmla="*/ 20320 w 101600"/>
                <a:gd name="connsiteY14" fmla="*/ 74263 h 74263"/>
                <a:gd name="connsiteX15" fmla="*/ 0 w 101600"/>
                <a:gd name="connsiteY15" fmla="*/ 0 h 7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00" h="74263">
                  <a:moveTo>
                    <a:pt x="22447" y="0"/>
                  </a:moveTo>
                  <a:lnTo>
                    <a:pt x="31496" y="45879"/>
                  </a:lnTo>
                  <a:lnTo>
                    <a:pt x="31718" y="45879"/>
                  </a:lnTo>
                  <a:lnTo>
                    <a:pt x="40672" y="0"/>
                  </a:lnTo>
                  <a:lnTo>
                    <a:pt x="60833" y="0"/>
                  </a:lnTo>
                  <a:lnTo>
                    <a:pt x="69564" y="46482"/>
                  </a:lnTo>
                  <a:lnTo>
                    <a:pt x="69787" y="46482"/>
                  </a:lnTo>
                  <a:lnTo>
                    <a:pt x="79026" y="0"/>
                  </a:lnTo>
                  <a:lnTo>
                    <a:pt x="101600" y="0"/>
                  </a:lnTo>
                  <a:lnTo>
                    <a:pt x="80804" y="74263"/>
                  </a:lnTo>
                  <a:lnTo>
                    <a:pt x="58579" y="74263"/>
                  </a:lnTo>
                  <a:lnTo>
                    <a:pt x="50546" y="29019"/>
                  </a:lnTo>
                  <a:lnTo>
                    <a:pt x="50324" y="29019"/>
                  </a:lnTo>
                  <a:lnTo>
                    <a:pt x="42545" y="74263"/>
                  </a:lnTo>
                  <a:lnTo>
                    <a:pt x="20320" y="74263"/>
                  </a:lnTo>
                  <a:lnTo>
                    <a:pt x="0" y="0"/>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24" name="Freeform 172">
              <a:extLst>
                <a:ext uri="{FF2B5EF4-FFF2-40B4-BE49-F238E27FC236}">
                  <a16:creationId xmlns:a16="http://schemas.microsoft.com/office/drawing/2014/main" id="{7FAB9B20-11C4-42E5-B705-18A789CC0EE0}"/>
                </a:ext>
              </a:extLst>
            </p:cNvPr>
            <p:cNvSpPr/>
            <p:nvPr/>
          </p:nvSpPr>
          <p:spPr>
            <a:xfrm>
              <a:off x="8624703" y="2684195"/>
              <a:ext cx="101600" cy="74263"/>
            </a:xfrm>
            <a:custGeom>
              <a:avLst/>
              <a:gdLst>
                <a:gd name="connsiteX0" fmla="*/ 22447 w 101600"/>
                <a:gd name="connsiteY0" fmla="*/ 0 h 74263"/>
                <a:gd name="connsiteX1" fmla="*/ 31496 w 101600"/>
                <a:gd name="connsiteY1" fmla="*/ 45879 h 74263"/>
                <a:gd name="connsiteX2" fmla="*/ 31750 w 101600"/>
                <a:gd name="connsiteY2" fmla="*/ 45879 h 74263"/>
                <a:gd name="connsiteX3" fmla="*/ 40704 w 101600"/>
                <a:gd name="connsiteY3" fmla="*/ 0 h 74263"/>
                <a:gd name="connsiteX4" fmla="*/ 60865 w 101600"/>
                <a:gd name="connsiteY4" fmla="*/ 0 h 74263"/>
                <a:gd name="connsiteX5" fmla="*/ 69564 w 101600"/>
                <a:gd name="connsiteY5" fmla="*/ 46482 h 74263"/>
                <a:gd name="connsiteX6" fmla="*/ 69850 w 101600"/>
                <a:gd name="connsiteY6" fmla="*/ 46482 h 74263"/>
                <a:gd name="connsiteX7" fmla="*/ 79089 w 101600"/>
                <a:gd name="connsiteY7" fmla="*/ 0 h 74263"/>
                <a:gd name="connsiteX8" fmla="*/ 101600 w 101600"/>
                <a:gd name="connsiteY8" fmla="*/ 0 h 74263"/>
                <a:gd name="connsiteX9" fmla="*/ 80804 w 101600"/>
                <a:gd name="connsiteY9" fmla="*/ 74263 h 74263"/>
                <a:gd name="connsiteX10" fmla="*/ 58579 w 101600"/>
                <a:gd name="connsiteY10" fmla="*/ 74263 h 74263"/>
                <a:gd name="connsiteX11" fmla="*/ 50546 w 101600"/>
                <a:gd name="connsiteY11" fmla="*/ 29019 h 74263"/>
                <a:gd name="connsiteX12" fmla="*/ 50324 w 101600"/>
                <a:gd name="connsiteY12" fmla="*/ 29019 h 74263"/>
                <a:gd name="connsiteX13" fmla="*/ 42545 w 101600"/>
                <a:gd name="connsiteY13" fmla="*/ 74263 h 74263"/>
                <a:gd name="connsiteX14" fmla="*/ 20161 w 101600"/>
                <a:gd name="connsiteY14" fmla="*/ 74263 h 74263"/>
                <a:gd name="connsiteX15" fmla="*/ 0 w 101600"/>
                <a:gd name="connsiteY15" fmla="*/ 0 h 7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00" h="74263">
                  <a:moveTo>
                    <a:pt x="22447" y="0"/>
                  </a:moveTo>
                  <a:lnTo>
                    <a:pt x="31496" y="45879"/>
                  </a:lnTo>
                  <a:lnTo>
                    <a:pt x="31750" y="45879"/>
                  </a:lnTo>
                  <a:lnTo>
                    <a:pt x="40704" y="0"/>
                  </a:lnTo>
                  <a:lnTo>
                    <a:pt x="60865" y="0"/>
                  </a:lnTo>
                  <a:lnTo>
                    <a:pt x="69564" y="46482"/>
                  </a:lnTo>
                  <a:lnTo>
                    <a:pt x="69850" y="46482"/>
                  </a:lnTo>
                  <a:lnTo>
                    <a:pt x="79089" y="0"/>
                  </a:lnTo>
                  <a:lnTo>
                    <a:pt x="101600" y="0"/>
                  </a:lnTo>
                  <a:lnTo>
                    <a:pt x="80804" y="74263"/>
                  </a:lnTo>
                  <a:lnTo>
                    <a:pt x="58579" y="74263"/>
                  </a:lnTo>
                  <a:lnTo>
                    <a:pt x="50546" y="29019"/>
                  </a:lnTo>
                  <a:lnTo>
                    <a:pt x="50324" y="29019"/>
                  </a:lnTo>
                  <a:lnTo>
                    <a:pt x="42545" y="74263"/>
                  </a:lnTo>
                  <a:lnTo>
                    <a:pt x="20161" y="74263"/>
                  </a:lnTo>
                  <a:lnTo>
                    <a:pt x="0" y="0"/>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25" name="Freeform 173">
              <a:extLst>
                <a:ext uri="{FF2B5EF4-FFF2-40B4-BE49-F238E27FC236}">
                  <a16:creationId xmlns:a16="http://schemas.microsoft.com/office/drawing/2014/main" id="{1523071C-087C-45DB-BD4F-844D1026270E}"/>
                </a:ext>
              </a:extLst>
            </p:cNvPr>
            <p:cNvSpPr/>
            <p:nvPr/>
          </p:nvSpPr>
          <p:spPr>
            <a:xfrm>
              <a:off x="8731732" y="2684195"/>
              <a:ext cx="101600" cy="74263"/>
            </a:xfrm>
            <a:custGeom>
              <a:avLst/>
              <a:gdLst>
                <a:gd name="connsiteX0" fmla="*/ 22447 w 101600"/>
                <a:gd name="connsiteY0" fmla="*/ 0 h 74263"/>
                <a:gd name="connsiteX1" fmla="*/ 31496 w 101600"/>
                <a:gd name="connsiteY1" fmla="*/ 45879 h 74263"/>
                <a:gd name="connsiteX2" fmla="*/ 31718 w 101600"/>
                <a:gd name="connsiteY2" fmla="*/ 45879 h 74263"/>
                <a:gd name="connsiteX3" fmla="*/ 40672 w 101600"/>
                <a:gd name="connsiteY3" fmla="*/ 0 h 74263"/>
                <a:gd name="connsiteX4" fmla="*/ 60833 w 101600"/>
                <a:gd name="connsiteY4" fmla="*/ 0 h 74263"/>
                <a:gd name="connsiteX5" fmla="*/ 69564 w 101600"/>
                <a:gd name="connsiteY5" fmla="*/ 46482 h 74263"/>
                <a:gd name="connsiteX6" fmla="*/ 69787 w 101600"/>
                <a:gd name="connsiteY6" fmla="*/ 46482 h 74263"/>
                <a:gd name="connsiteX7" fmla="*/ 79026 w 101600"/>
                <a:gd name="connsiteY7" fmla="*/ 0 h 74263"/>
                <a:gd name="connsiteX8" fmla="*/ 101600 w 101600"/>
                <a:gd name="connsiteY8" fmla="*/ 0 h 74263"/>
                <a:gd name="connsiteX9" fmla="*/ 80804 w 101600"/>
                <a:gd name="connsiteY9" fmla="*/ 74263 h 74263"/>
                <a:gd name="connsiteX10" fmla="*/ 58579 w 101600"/>
                <a:gd name="connsiteY10" fmla="*/ 74263 h 74263"/>
                <a:gd name="connsiteX11" fmla="*/ 50546 w 101600"/>
                <a:gd name="connsiteY11" fmla="*/ 29019 h 74263"/>
                <a:gd name="connsiteX12" fmla="*/ 50324 w 101600"/>
                <a:gd name="connsiteY12" fmla="*/ 29019 h 74263"/>
                <a:gd name="connsiteX13" fmla="*/ 42545 w 101600"/>
                <a:gd name="connsiteY13" fmla="*/ 74263 h 74263"/>
                <a:gd name="connsiteX14" fmla="*/ 20320 w 101600"/>
                <a:gd name="connsiteY14" fmla="*/ 74263 h 74263"/>
                <a:gd name="connsiteX15" fmla="*/ 0 w 101600"/>
                <a:gd name="connsiteY15" fmla="*/ 0 h 7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00" h="74263">
                  <a:moveTo>
                    <a:pt x="22447" y="0"/>
                  </a:moveTo>
                  <a:lnTo>
                    <a:pt x="31496" y="45879"/>
                  </a:lnTo>
                  <a:lnTo>
                    <a:pt x="31718" y="45879"/>
                  </a:lnTo>
                  <a:lnTo>
                    <a:pt x="40672" y="0"/>
                  </a:lnTo>
                  <a:lnTo>
                    <a:pt x="60833" y="0"/>
                  </a:lnTo>
                  <a:lnTo>
                    <a:pt x="69564" y="46482"/>
                  </a:lnTo>
                  <a:lnTo>
                    <a:pt x="69787" y="46482"/>
                  </a:lnTo>
                  <a:lnTo>
                    <a:pt x="79026" y="0"/>
                  </a:lnTo>
                  <a:lnTo>
                    <a:pt x="101600" y="0"/>
                  </a:lnTo>
                  <a:lnTo>
                    <a:pt x="80804" y="74263"/>
                  </a:lnTo>
                  <a:lnTo>
                    <a:pt x="58579" y="74263"/>
                  </a:lnTo>
                  <a:lnTo>
                    <a:pt x="50546" y="29019"/>
                  </a:lnTo>
                  <a:lnTo>
                    <a:pt x="50324" y="29019"/>
                  </a:lnTo>
                  <a:lnTo>
                    <a:pt x="42545" y="74263"/>
                  </a:lnTo>
                  <a:lnTo>
                    <a:pt x="20320" y="74263"/>
                  </a:lnTo>
                  <a:lnTo>
                    <a:pt x="0" y="0"/>
                  </a:lnTo>
                  <a:close/>
                </a:path>
              </a:pathLst>
            </a:custGeom>
            <a:grpFill/>
            <a:ln w="3175" cap="flat">
              <a:noFill/>
              <a:prstDash val="solid"/>
              <a:miter/>
            </a:ln>
          </p:spPr>
          <p:txBody>
            <a:bodyPr rtlCol="0" anchor="ctr"/>
            <a:lstStyle/>
            <a:p>
              <a:endParaRPr lang="en-GB" sz="700" b="1" dirty="0">
                <a:solidFill>
                  <a:schemeClr val="accent1"/>
                </a:solidFill>
              </a:endParaRPr>
            </a:p>
          </p:txBody>
        </p:sp>
        <p:grpSp>
          <p:nvGrpSpPr>
            <p:cNvPr id="26" name="Graphic 53">
              <a:extLst>
                <a:ext uri="{FF2B5EF4-FFF2-40B4-BE49-F238E27FC236}">
                  <a16:creationId xmlns:a16="http://schemas.microsoft.com/office/drawing/2014/main" id="{33446776-F56C-4AC2-964F-3E5795CC642E}"/>
                </a:ext>
              </a:extLst>
            </p:cNvPr>
            <p:cNvGrpSpPr/>
            <p:nvPr/>
          </p:nvGrpSpPr>
          <p:grpSpPr>
            <a:xfrm>
              <a:off x="8446903" y="2560815"/>
              <a:ext cx="457200" cy="457200"/>
              <a:chOff x="8446903" y="2560815"/>
              <a:chExt cx="457200" cy="457200"/>
            </a:xfrm>
            <a:grpFill/>
          </p:grpSpPr>
          <p:sp>
            <p:nvSpPr>
              <p:cNvPr id="27" name="Freeform 175">
                <a:extLst>
                  <a:ext uri="{FF2B5EF4-FFF2-40B4-BE49-F238E27FC236}">
                    <a16:creationId xmlns:a16="http://schemas.microsoft.com/office/drawing/2014/main" id="{B61C7F1C-F8FA-427D-9E2E-6CCE4D872A6B}"/>
                  </a:ext>
                </a:extLst>
              </p:cNvPr>
              <p:cNvSpPr/>
              <p:nvPr/>
            </p:nvSpPr>
            <p:spPr>
              <a:xfrm>
                <a:off x="8446903" y="2560815"/>
                <a:ext cx="457200" cy="457200"/>
              </a:xfrm>
              <a:custGeom>
                <a:avLst/>
                <a:gdLst>
                  <a:gd name="connsiteX0" fmla="*/ 457200 w 457200"/>
                  <a:gd name="connsiteY0" fmla="*/ 362458 h 457200"/>
                  <a:gd name="connsiteX1" fmla="*/ 457200 w 457200"/>
                  <a:gd name="connsiteY1" fmla="*/ 0 h 457200"/>
                  <a:gd name="connsiteX2" fmla="*/ 0 w 457200"/>
                  <a:gd name="connsiteY2" fmla="*/ 0 h 457200"/>
                  <a:gd name="connsiteX3" fmla="*/ 0 w 457200"/>
                  <a:gd name="connsiteY3" fmla="*/ 362458 h 457200"/>
                  <a:gd name="connsiteX4" fmla="*/ 190691 w 457200"/>
                  <a:gd name="connsiteY4" fmla="*/ 362458 h 457200"/>
                  <a:gd name="connsiteX5" fmla="*/ 190691 w 457200"/>
                  <a:gd name="connsiteY5" fmla="*/ 399034 h 457200"/>
                  <a:gd name="connsiteX6" fmla="*/ 126619 w 457200"/>
                  <a:gd name="connsiteY6" fmla="*/ 399034 h 457200"/>
                  <a:gd name="connsiteX7" fmla="*/ 126619 w 457200"/>
                  <a:gd name="connsiteY7" fmla="*/ 457200 h 457200"/>
                  <a:gd name="connsiteX8" fmla="*/ 328930 w 457200"/>
                  <a:gd name="connsiteY8" fmla="*/ 457200 h 457200"/>
                  <a:gd name="connsiteX9" fmla="*/ 328930 w 457200"/>
                  <a:gd name="connsiteY9" fmla="*/ 399034 h 457200"/>
                  <a:gd name="connsiteX10" fmla="*/ 264890 w 457200"/>
                  <a:gd name="connsiteY10" fmla="*/ 399034 h 457200"/>
                  <a:gd name="connsiteX11" fmla="*/ 264890 w 457200"/>
                  <a:gd name="connsiteY11" fmla="*/ 362458 h 457200"/>
                  <a:gd name="connsiteX12" fmla="*/ 146050 w 457200"/>
                  <a:gd name="connsiteY12" fmla="*/ 437737 h 457200"/>
                  <a:gd name="connsiteX13" fmla="*/ 146050 w 457200"/>
                  <a:gd name="connsiteY13" fmla="*/ 418497 h 457200"/>
                  <a:gd name="connsiteX14" fmla="*/ 309467 w 457200"/>
                  <a:gd name="connsiteY14" fmla="*/ 418497 h 457200"/>
                  <a:gd name="connsiteX15" fmla="*/ 309467 w 457200"/>
                  <a:gd name="connsiteY15" fmla="*/ 437737 h 457200"/>
                  <a:gd name="connsiteX16" fmla="*/ 210090 w 457200"/>
                  <a:gd name="connsiteY16" fmla="*/ 399034 h 457200"/>
                  <a:gd name="connsiteX17" fmla="*/ 210090 w 457200"/>
                  <a:gd name="connsiteY17" fmla="*/ 362458 h 457200"/>
                  <a:gd name="connsiteX18" fmla="*/ 245332 w 457200"/>
                  <a:gd name="connsiteY18" fmla="*/ 362458 h 457200"/>
                  <a:gd name="connsiteX19" fmla="*/ 245332 w 457200"/>
                  <a:gd name="connsiteY19" fmla="*/ 399034 h 457200"/>
                  <a:gd name="connsiteX20" fmla="*/ 437579 w 457200"/>
                  <a:gd name="connsiteY20" fmla="*/ 286385 h 457200"/>
                  <a:gd name="connsiteX21" fmla="*/ 437579 w 457200"/>
                  <a:gd name="connsiteY21" fmla="*/ 341630 h 457200"/>
                  <a:gd name="connsiteX22" fmla="*/ 19336 w 457200"/>
                  <a:gd name="connsiteY22" fmla="*/ 341630 h 457200"/>
                  <a:gd name="connsiteX23" fmla="*/ 19336 w 457200"/>
                  <a:gd name="connsiteY23" fmla="*/ 286385 h 457200"/>
                  <a:gd name="connsiteX24" fmla="*/ 437579 w 457200"/>
                  <a:gd name="connsiteY24" fmla="*/ 19463 h 457200"/>
                  <a:gd name="connsiteX25" fmla="*/ 437579 w 457200"/>
                  <a:gd name="connsiteY25" fmla="*/ 265557 h 457200"/>
                  <a:gd name="connsiteX26" fmla="*/ 19336 w 457200"/>
                  <a:gd name="connsiteY26" fmla="*/ 265557 h 457200"/>
                  <a:gd name="connsiteX27" fmla="*/ 19336 w 457200"/>
                  <a:gd name="connsiteY27" fmla="*/ 19463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7200" h="457200">
                    <a:moveTo>
                      <a:pt x="457200" y="362458"/>
                    </a:moveTo>
                    <a:lnTo>
                      <a:pt x="457200" y="0"/>
                    </a:lnTo>
                    <a:lnTo>
                      <a:pt x="0" y="0"/>
                    </a:lnTo>
                    <a:lnTo>
                      <a:pt x="0" y="362458"/>
                    </a:lnTo>
                    <a:lnTo>
                      <a:pt x="190691" y="362458"/>
                    </a:lnTo>
                    <a:lnTo>
                      <a:pt x="190691" y="399034"/>
                    </a:lnTo>
                    <a:lnTo>
                      <a:pt x="126619" y="399034"/>
                    </a:lnTo>
                    <a:lnTo>
                      <a:pt x="126619" y="457200"/>
                    </a:lnTo>
                    <a:lnTo>
                      <a:pt x="328930" y="457200"/>
                    </a:lnTo>
                    <a:lnTo>
                      <a:pt x="328930" y="399034"/>
                    </a:lnTo>
                    <a:lnTo>
                      <a:pt x="264890" y="399034"/>
                    </a:lnTo>
                    <a:lnTo>
                      <a:pt x="264890" y="362458"/>
                    </a:lnTo>
                    <a:close/>
                    <a:moveTo>
                      <a:pt x="146050" y="437737"/>
                    </a:moveTo>
                    <a:lnTo>
                      <a:pt x="146050" y="418497"/>
                    </a:lnTo>
                    <a:lnTo>
                      <a:pt x="309467" y="418497"/>
                    </a:lnTo>
                    <a:lnTo>
                      <a:pt x="309467" y="437737"/>
                    </a:lnTo>
                    <a:close/>
                    <a:moveTo>
                      <a:pt x="210090" y="399034"/>
                    </a:moveTo>
                    <a:lnTo>
                      <a:pt x="210090" y="362458"/>
                    </a:lnTo>
                    <a:lnTo>
                      <a:pt x="245332" y="362458"/>
                    </a:lnTo>
                    <a:lnTo>
                      <a:pt x="245332" y="399034"/>
                    </a:lnTo>
                    <a:close/>
                    <a:moveTo>
                      <a:pt x="437579" y="286385"/>
                    </a:moveTo>
                    <a:lnTo>
                      <a:pt x="437579" y="341630"/>
                    </a:lnTo>
                    <a:lnTo>
                      <a:pt x="19336" y="341630"/>
                    </a:lnTo>
                    <a:lnTo>
                      <a:pt x="19336" y="286385"/>
                    </a:lnTo>
                    <a:close/>
                    <a:moveTo>
                      <a:pt x="437579" y="19463"/>
                    </a:moveTo>
                    <a:lnTo>
                      <a:pt x="437579" y="265557"/>
                    </a:lnTo>
                    <a:lnTo>
                      <a:pt x="19336" y="265557"/>
                    </a:lnTo>
                    <a:lnTo>
                      <a:pt x="19336" y="19463"/>
                    </a:lnTo>
                    <a:close/>
                  </a:path>
                </a:pathLst>
              </a:custGeom>
              <a:grpFill/>
              <a:ln w="3175" cap="flat">
                <a:noFill/>
                <a:prstDash val="solid"/>
                <a:miter/>
              </a:ln>
            </p:spPr>
            <p:txBody>
              <a:bodyPr rtlCol="0" anchor="ctr"/>
              <a:lstStyle/>
              <a:p>
                <a:endParaRPr lang="en-GB" sz="700" b="1" dirty="0">
                  <a:solidFill>
                    <a:schemeClr val="accent1"/>
                  </a:solidFill>
                </a:endParaRPr>
              </a:p>
            </p:txBody>
          </p:sp>
          <p:sp>
            <p:nvSpPr>
              <p:cNvPr id="28" name="Freeform 176">
                <a:extLst>
                  <a:ext uri="{FF2B5EF4-FFF2-40B4-BE49-F238E27FC236}">
                    <a16:creationId xmlns:a16="http://schemas.microsoft.com/office/drawing/2014/main" id="{DF5834A4-6EDA-45BC-8124-EC8161CC7E74}"/>
                  </a:ext>
                </a:extLst>
              </p:cNvPr>
              <p:cNvSpPr/>
              <p:nvPr/>
            </p:nvSpPr>
            <p:spPr>
              <a:xfrm>
                <a:off x="8665628" y="2865075"/>
                <a:ext cx="19462" cy="19462"/>
              </a:xfrm>
              <a:custGeom>
                <a:avLst/>
                <a:gdLst>
                  <a:gd name="connsiteX0" fmla="*/ 0 w 19462"/>
                  <a:gd name="connsiteY0" fmla="*/ 0 h 19462"/>
                  <a:gd name="connsiteX1" fmla="*/ 19463 w 19462"/>
                  <a:gd name="connsiteY1" fmla="*/ 0 h 19462"/>
                  <a:gd name="connsiteX2" fmla="*/ 19463 w 19462"/>
                  <a:gd name="connsiteY2" fmla="*/ 19463 h 19462"/>
                  <a:gd name="connsiteX3" fmla="*/ 0 w 19462"/>
                  <a:gd name="connsiteY3" fmla="*/ 19463 h 19462"/>
                </a:gdLst>
                <a:ahLst/>
                <a:cxnLst>
                  <a:cxn ang="0">
                    <a:pos x="connsiteX0" y="connsiteY0"/>
                  </a:cxn>
                  <a:cxn ang="0">
                    <a:pos x="connsiteX1" y="connsiteY1"/>
                  </a:cxn>
                  <a:cxn ang="0">
                    <a:pos x="connsiteX2" y="connsiteY2"/>
                  </a:cxn>
                  <a:cxn ang="0">
                    <a:pos x="connsiteX3" y="connsiteY3"/>
                  </a:cxn>
                </a:cxnLst>
                <a:rect l="l" t="t" r="r" b="b"/>
                <a:pathLst>
                  <a:path w="19462" h="19462">
                    <a:moveTo>
                      <a:pt x="0" y="0"/>
                    </a:moveTo>
                    <a:lnTo>
                      <a:pt x="19463" y="0"/>
                    </a:lnTo>
                    <a:lnTo>
                      <a:pt x="19463" y="19463"/>
                    </a:lnTo>
                    <a:lnTo>
                      <a:pt x="0" y="19463"/>
                    </a:lnTo>
                    <a:close/>
                  </a:path>
                </a:pathLst>
              </a:custGeom>
              <a:grpFill/>
              <a:ln w="3175" cap="flat">
                <a:noFill/>
                <a:prstDash val="solid"/>
                <a:miter/>
              </a:ln>
            </p:spPr>
            <p:txBody>
              <a:bodyPr rtlCol="0" anchor="ctr"/>
              <a:lstStyle/>
              <a:p>
                <a:endParaRPr lang="en-GB" sz="700" b="1" dirty="0">
                  <a:solidFill>
                    <a:schemeClr val="accent1"/>
                  </a:solidFill>
                </a:endParaRPr>
              </a:p>
            </p:txBody>
          </p:sp>
        </p:grpSp>
      </p:grpSp>
      <p:sp>
        <p:nvSpPr>
          <p:cNvPr id="29" name="Freeform 85">
            <a:extLst>
              <a:ext uri="{FF2B5EF4-FFF2-40B4-BE49-F238E27FC236}">
                <a16:creationId xmlns:a16="http://schemas.microsoft.com/office/drawing/2014/main" id="{AE22C0FA-FAF1-454B-A1DA-8A4502C66F2D}"/>
              </a:ext>
            </a:extLst>
          </p:cNvPr>
          <p:cNvSpPr>
            <a:spLocks noChangeAspect="1" noEditPoints="1"/>
          </p:cNvSpPr>
          <p:nvPr/>
        </p:nvSpPr>
        <p:spPr bwMode="auto">
          <a:xfrm>
            <a:off x="1356095" y="2227833"/>
            <a:ext cx="455905" cy="457200"/>
          </a:xfrm>
          <a:custGeom>
            <a:avLst/>
            <a:gdLst>
              <a:gd name="T0" fmla="*/ 430 w 704"/>
              <a:gd name="T1" fmla="*/ 178 h 706"/>
              <a:gd name="T2" fmla="*/ 131 w 704"/>
              <a:gd name="T3" fmla="*/ 178 h 706"/>
              <a:gd name="T4" fmla="*/ 131 w 704"/>
              <a:gd name="T5" fmla="*/ 148 h 706"/>
              <a:gd name="T6" fmla="*/ 430 w 704"/>
              <a:gd name="T7" fmla="*/ 148 h 706"/>
              <a:gd name="T8" fmla="*/ 430 w 704"/>
              <a:gd name="T9" fmla="*/ 178 h 706"/>
              <a:gd name="T10" fmla="*/ 131 w 704"/>
              <a:gd name="T11" fmla="*/ 305 h 706"/>
              <a:gd name="T12" fmla="*/ 571 w 704"/>
              <a:gd name="T13" fmla="*/ 305 h 706"/>
              <a:gd name="T14" fmla="*/ 571 w 704"/>
              <a:gd name="T15" fmla="*/ 275 h 706"/>
              <a:gd name="T16" fmla="*/ 131 w 704"/>
              <a:gd name="T17" fmla="*/ 275 h 706"/>
              <a:gd name="T18" fmla="*/ 131 w 704"/>
              <a:gd name="T19" fmla="*/ 305 h 706"/>
              <a:gd name="T20" fmla="*/ 131 w 704"/>
              <a:gd name="T21" fmla="*/ 431 h 706"/>
              <a:gd name="T22" fmla="*/ 571 w 704"/>
              <a:gd name="T23" fmla="*/ 431 h 706"/>
              <a:gd name="T24" fmla="*/ 571 w 704"/>
              <a:gd name="T25" fmla="*/ 402 h 706"/>
              <a:gd name="T26" fmla="*/ 131 w 704"/>
              <a:gd name="T27" fmla="*/ 402 h 706"/>
              <a:gd name="T28" fmla="*/ 131 w 704"/>
              <a:gd name="T29" fmla="*/ 431 h 706"/>
              <a:gd name="T30" fmla="*/ 131 w 704"/>
              <a:gd name="T31" fmla="*/ 559 h 706"/>
              <a:gd name="T32" fmla="*/ 571 w 704"/>
              <a:gd name="T33" fmla="*/ 559 h 706"/>
              <a:gd name="T34" fmla="*/ 571 w 704"/>
              <a:gd name="T35" fmla="*/ 528 h 706"/>
              <a:gd name="T36" fmla="*/ 131 w 704"/>
              <a:gd name="T37" fmla="*/ 528 h 706"/>
              <a:gd name="T38" fmla="*/ 131 w 704"/>
              <a:gd name="T39" fmla="*/ 559 h 706"/>
              <a:gd name="T40" fmla="*/ 704 w 704"/>
              <a:gd name="T41" fmla="*/ 150 h 706"/>
              <a:gd name="T42" fmla="*/ 704 w 704"/>
              <a:gd name="T43" fmla="*/ 706 h 706"/>
              <a:gd name="T44" fmla="*/ 0 w 704"/>
              <a:gd name="T45" fmla="*/ 706 h 706"/>
              <a:gd name="T46" fmla="*/ 0 w 704"/>
              <a:gd name="T47" fmla="*/ 0 h 706"/>
              <a:gd name="T48" fmla="*/ 555 w 704"/>
              <a:gd name="T49" fmla="*/ 0 h 706"/>
              <a:gd name="T50" fmla="*/ 704 w 704"/>
              <a:gd name="T51" fmla="*/ 150 h 706"/>
              <a:gd name="T52" fmla="*/ 564 w 704"/>
              <a:gd name="T53" fmla="*/ 146 h 706"/>
              <a:gd name="T54" fmla="*/ 658 w 704"/>
              <a:gd name="T55" fmla="*/ 146 h 706"/>
              <a:gd name="T56" fmla="*/ 564 w 704"/>
              <a:gd name="T57" fmla="*/ 52 h 706"/>
              <a:gd name="T58" fmla="*/ 564 w 704"/>
              <a:gd name="T59" fmla="*/ 146 h 706"/>
              <a:gd name="T60" fmla="*/ 675 w 704"/>
              <a:gd name="T61" fmla="*/ 675 h 706"/>
              <a:gd name="T62" fmla="*/ 675 w 704"/>
              <a:gd name="T63" fmla="*/ 177 h 706"/>
              <a:gd name="T64" fmla="*/ 533 w 704"/>
              <a:gd name="T65" fmla="*/ 177 h 706"/>
              <a:gd name="T66" fmla="*/ 533 w 704"/>
              <a:gd name="T67" fmla="*/ 31 h 706"/>
              <a:gd name="T68" fmla="*/ 31 w 704"/>
              <a:gd name="T69" fmla="*/ 31 h 706"/>
              <a:gd name="T70" fmla="*/ 31 w 704"/>
              <a:gd name="T71" fmla="*/ 675 h 706"/>
              <a:gd name="T72" fmla="*/ 675 w 704"/>
              <a:gd name="T73" fmla="*/ 675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4" h="706">
                <a:moveTo>
                  <a:pt x="430" y="178"/>
                </a:moveTo>
                <a:lnTo>
                  <a:pt x="131" y="178"/>
                </a:lnTo>
                <a:lnTo>
                  <a:pt x="131" y="148"/>
                </a:lnTo>
                <a:lnTo>
                  <a:pt x="430" y="148"/>
                </a:lnTo>
                <a:lnTo>
                  <a:pt x="430" y="178"/>
                </a:lnTo>
                <a:close/>
                <a:moveTo>
                  <a:pt x="131" y="305"/>
                </a:moveTo>
                <a:lnTo>
                  <a:pt x="571" y="305"/>
                </a:lnTo>
                <a:lnTo>
                  <a:pt x="571" y="275"/>
                </a:lnTo>
                <a:lnTo>
                  <a:pt x="131" y="275"/>
                </a:lnTo>
                <a:lnTo>
                  <a:pt x="131" y="305"/>
                </a:lnTo>
                <a:close/>
                <a:moveTo>
                  <a:pt x="131" y="431"/>
                </a:moveTo>
                <a:lnTo>
                  <a:pt x="571" y="431"/>
                </a:lnTo>
                <a:lnTo>
                  <a:pt x="571" y="402"/>
                </a:lnTo>
                <a:lnTo>
                  <a:pt x="131" y="402"/>
                </a:lnTo>
                <a:lnTo>
                  <a:pt x="131" y="431"/>
                </a:lnTo>
                <a:close/>
                <a:moveTo>
                  <a:pt x="131" y="559"/>
                </a:moveTo>
                <a:lnTo>
                  <a:pt x="571" y="559"/>
                </a:lnTo>
                <a:lnTo>
                  <a:pt x="571" y="528"/>
                </a:lnTo>
                <a:lnTo>
                  <a:pt x="131" y="528"/>
                </a:lnTo>
                <a:lnTo>
                  <a:pt x="131" y="559"/>
                </a:lnTo>
                <a:close/>
                <a:moveTo>
                  <a:pt x="704" y="150"/>
                </a:moveTo>
                <a:lnTo>
                  <a:pt x="704" y="706"/>
                </a:lnTo>
                <a:lnTo>
                  <a:pt x="0" y="706"/>
                </a:lnTo>
                <a:lnTo>
                  <a:pt x="0" y="0"/>
                </a:lnTo>
                <a:lnTo>
                  <a:pt x="555" y="0"/>
                </a:lnTo>
                <a:lnTo>
                  <a:pt x="704" y="150"/>
                </a:lnTo>
                <a:close/>
                <a:moveTo>
                  <a:pt x="564" y="146"/>
                </a:moveTo>
                <a:lnTo>
                  <a:pt x="658" y="146"/>
                </a:lnTo>
                <a:lnTo>
                  <a:pt x="564" y="52"/>
                </a:lnTo>
                <a:lnTo>
                  <a:pt x="564" y="146"/>
                </a:lnTo>
                <a:close/>
                <a:moveTo>
                  <a:pt x="675" y="675"/>
                </a:moveTo>
                <a:lnTo>
                  <a:pt x="675" y="177"/>
                </a:lnTo>
                <a:lnTo>
                  <a:pt x="533" y="177"/>
                </a:lnTo>
                <a:lnTo>
                  <a:pt x="533" y="31"/>
                </a:lnTo>
                <a:lnTo>
                  <a:pt x="31" y="31"/>
                </a:lnTo>
                <a:lnTo>
                  <a:pt x="31" y="675"/>
                </a:lnTo>
                <a:lnTo>
                  <a:pt x="675" y="675"/>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30" name="Freeform 53">
            <a:extLst>
              <a:ext uri="{FF2B5EF4-FFF2-40B4-BE49-F238E27FC236}">
                <a16:creationId xmlns:a16="http://schemas.microsoft.com/office/drawing/2014/main" id="{C0E79057-FAA4-4C3F-BF6E-C9C4C34FB98D}"/>
              </a:ext>
            </a:extLst>
          </p:cNvPr>
          <p:cNvSpPr>
            <a:spLocks noChangeAspect="1" noEditPoints="1"/>
          </p:cNvSpPr>
          <p:nvPr/>
        </p:nvSpPr>
        <p:spPr bwMode="auto">
          <a:xfrm>
            <a:off x="1366329" y="2872854"/>
            <a:ext cx="455905" cy="457200"/>
          </a:xfrm>
          <a:custGeom>
            <a:avLst/>
            <a:gdLst>
              <a:gd name="T0" fmla="*/ 108 w 576"/>
              <a:gd name="T1" fmla="*/ 220 h 576"/>
              <a:gd name="T2" fmla="*/ 329 w 576"/>
              <a:gd name="T3" fmla="*/ 220 h 576"/>
              <a:gd name="T4" fmla="*/ 231 w 576"/>
              <a:gd name="T5" fmla="*/ 223 h 576"/>
              <a:gd name="T6" fmla="*/ 305 w 576"/>
              <a:gd name="T7" fmla="*/ 220 h 576"/>
              <a:gd name="T8" fmla="*/ 193 w 576"/>
              <a:gd name="T9" fmla="*/ 303 h 576"/>
              <a:gd name="T10" fmla="*/ 159 w 576"/>
              <a:gd name="T11" fmla="*/ 158 h 576"/>
              <a:gd name="T12" fmla="*/ 207 w 576"/>
              <a:gd name="T13" fmla="*/ 194 h 576"/>
              <a:gd name="T14" fmla="*/ 204 w 576"/>
              <a:gd name="T15" fmla="*/ 223 h 576"/>
              <a:gd name="T16" fmla="*/ 140 w 576"/>
              <a:gd name="T17" fmla="*/ 184 h 576"/>
              <a:gd name="T18" fmla="*/ 204 w 576"/>
              <a:gd name="T19" fmla="*/ 223 h 576"/>
              <a:gd name="T20" fmla="*/ 576 w 576"/>
              <a:gd name="T21" fmla="*/ 0 h 576"/>
              <a:gd name="T22" fmla="*/ 0 w 576"/>
              <a:gd name="T23" fmla="*/ 80 h 576"/>
              <a:gd name="T24" fmla="*/ 32 w 576"/>
              <a:gd name="T25" fmla="*/ 466 h 576"/>
              <a:gd name="T26" fmla="*/ 0 w 576"/>
              <a:gd name="T27" fmla="*/ 546 h 576"/>
              <a:gd name="T28" fmla="*/ 303 w 576"/>
              <a:gd name="T29" fmla="*/ 576 h 576"/>
              <a:gd name="T30" fmla="*/ 576 w 576"/>
              <a:gd name="T31" fmla="*/ 546 h 576"/>
              <a:gd name="T32" fmla="*/ 544 w 576"/>
              <a:gd name="T33" fmla="*/ 466 h 576"/>
              <a:gd name="T34" fmla="*/ 576 w 576"/>
              <a:gd name="T35" fmla="*/ 80 h 576"/>
              <a:gd name="T36" fmla="*/ 303 w 576"/>
              <a:gd name="T37" fmla="*/ 552 h 576"/>
              <a:gd name="T38" fmla="*/ 316 w 576"/>
              <a:gd name="T39" fmla="*/ 546 h 576"/>
              <a:gd name="T40" fmla="*/ 552 w 576"/>
              <a:gd name="T41" fmla="*/ 522 h 576"/>
              <a:gd name="T42" fmla="*/ 24 w 576"/>
              <a:gd name="T43" fmla="*/ 491 h 576"/>
              <a:gd name="T44" fmla="*/ 57 w 576"/>
              <a:gd name="T45" fmla="*/ 466 h 576"/>
              <a:gd name="T46" fmla="*/ 519 w 576"/>
              <a:gd name="T47" fmla="*/ 80 h 576"/>
              <a:gd name="T48" fmla="*/ 57 w 576"/>
              <a:gd name="T49" fmla="*/ 466 h 576"/>
              <a:gd name="T50" fmla="*/ 552 w 576"/>
              <a:gd name="T51" fmla="*/ 56 h 576"/>
              <a:gd name="T52" fmla="*/ 24 w 576"/>
              <a:gd name="T53" fmla="*/ 25 h 576"/>
              <a:gd name="T54" fmla="*/ 330 w 576"/>
              <a:gd name="T55" fmla="*/ 382 h 576"/>
              <a:gd name="T56" fmla="*/ 355 w 576"/>
              <a:gd name="T57" fmla="*/ 420 h 576"/>
              <a:gd name="T58" fmla="*/ 330 w 576"/>
              <a:gd name="T59" fmla="*/ 382 h 576"/>
              <a:gd name="T60" fmla="*/ 395 w 576"/>
              <a:gd name="T61" fmla="*/ 364 h 576"/>
              <a:gd name="T62" fmla="*/ 370 w 576"/>
              <a:gd name="T63" fmla="*/ 420 h 576"/>
              <a:gd name="T64" fmla="*/ 410 w 576"/>
              <a:gd name="T65" fmla="*/ 306 h 576"/>
              <a:gd name="T66" fmla="*/ 434 w 576"/>
              <a:gd name="T67" fmla="*/ 420 h 576"/>
              <a:gd name="T68" fmla="*/ 410 w 576"/>
              <a:gd name="T69" fmla="*/ 306 h 576"/>
              <a:gd name="T70" fmla="*/ 474 w 576"/>
              <a:gd name="T71" fmla="*/ 337 h 576"/>
              <a:gd name="T72" fmla="*/ 450 w 576"/>
              <a:gd name="T73" fmla="*/ 420 h 576"/>
              <a:gd name="T74" fmla="*/ 463 w 576"/>
              <a:gd name="T75" fmla="*/ 148 h 576"/>
              <a:gd name="T76" fmla="*/ 367 w 576"/>
              <a:gd name="T77" fmla="*/ 124 h 576"/>
              <a:gd name="T78" fmla="*/ 463 w 576"/>
              <a:gd name="T79" fmla="*/ 148 h 576"/>
              <a:gd name="T80" fmla="*/ 367 w 576"/>
              <a:gd name="T81" fmla="*/ 193 h 576"/>
              <a:gd name="T82" fmla="*/ 463 w 576"/>
              <a:gd name="T83" fmla="*/ 168 h 576"/>
              <a:gd name="T84" fmla="*/ 119 w 576"/>
              <a:gd name="T85" fmla="*/ 364 h 576"/>
              <a:gd name="T86" fmla="*/ 215 w 576"/>
              <a:gd name="T87" fmla="*/ 388 h 576"/>
              <a:gd name="T88" fmla="*/ 119 w 576"/>
              <a:gd name="T89" fmla="*/ 364 h 576"/>
              <a:gd name="T90" fmla="*/ 215 w 576"/>
              <a:gd name="T91" fmla="*/ 408 h 576"/>
              <a:gd name="T92" fmla="*/ 119 w 576"/>
              <a:gd name="T93" fmla="*/ 43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6" h="576">
                <a:moveTo>
                  <a:pt x="219" y="110"/>
                </a:moveTo>
                <a:cubicBezTo>
                  <a:pt x="158" y="110"/>
                  <a:pt x="108" y="159"/>
                  <a:pt x="108" y="220"/>
                </a:cubicBezTo>
                <a:cubicBezTo>
                  <a:pt x="108" y="282"/>
                  <a:pt x="157" y="331"/>
                  <a:pt x="219" y="331"/>
                </a:cubicBezTo>
                <a:cubicBezTo>
                  <a:pt x="280" y="331"/>
                  <a:pt x="329" y="281"/>
                  <a:pt x="329" y="220"/>
                </a:cubicBezTo>
                <a:cubicBezTo>
                  <a:pt x="329" y="159"/>
                  <a:pt x="280" y="110"/>
                  <a:pt x="219" y="110"/>
                </a:cubicBezTo>
                <a:close/>
                <a:moveTo>
                  <a:pt x="231" y="223"/>
                </a:moveTo>
                <a:cubicBezTo>
                  <a:pt x="231" y="135"/>
                  <a:pt x="231" y="135"/>
                  <a:pt x="231" y="135"/>
                </a:cubicBezTo>
                <a:cubicBezTo>
                  <a:pt x="273" y="141"/>
                  <a:pt x="305" y="177"/>
                  <a:pt x="305" y="220"/>
                </a:cubicBezTo>
                <a:cubicBezTo>
                  <a:pt x="305" y="268"/>
                  <a:pt x="266" y="307"/>
                  <a:pt x="219" y="307"/>
                </a:cubicBezTo>
                <a:cubicBezTo>
                  <a:pt x="209" y="307"/>
                  <a:pt x="201" y="306"/>
                  <a:pt x="193" y="303"/>
                </a:cubicBezTo>
                <a:lnTo>
                  <a:pt x="231" y="223"/>
                </a:lnTo>
                <a:close/>
                <a:moveTo>
                  <a:pt x="159" y="158"/>
                </a:moveTo>
                <a:cubicBezTo>
                  <a:pt x="172" y="145"/>
                  <a:pt x="188" y="137"/>
                  <a:pt x="207" y="135"/>
                </a:cubicBezTo>
                <a:cubicBezTo>
                  <a:pt x="207" y="194"/>
                  <a:pt x="207" y="194"/>
                  <a:pt x="207" y="194"/>
                </a:cubicBezTo>
                <a:lnTo>
                  <a:pt x="159" y="158"/>
                </a:lnTo>
                <a:close/>
                <a:moveTo>
                  <a:pt x="204" y="223"/>
                </a:moveTo>
                <a:cubicBezTo>
                  <a:pt x="171" y="293"/>
                  <a:pt x="171" y="293"/>
                  <a:pt x="171" y="293"/>
                </a:cubicBezTo>
                <a:cubicBezTo>
                  <a:pt x="135" y="270"/>
                  <a:pt x="122" y="223"/>
                  <a:pt x="140" y="184"/>
                </a:cubicBezTo>
                <a:cubicBezTo>
                  <a:pt x="141" y="181"/>
                  <a:pt x="142" y="179"/>
                  <a:pt x="144" y="177"/>
                </a:cubicBezTo>
                <a:lnTo>
                  <a:pt x="204" y="223"/>
                </a:lnTo>
                <a:close/>
                <a:moveTo>
                  <a:pt x="576" y="80"/>
                </a:moveTo>
                <a:cubicBezTo>
                  <a:pt x="576" y="0"/>
                  <a:pt x="576" y="0"/>
                  <a:pt x="576" y="0"/>
                </a:cubicBezTo>
                <a:cubicBezTo>
                  <a:pt x="0" y="0"/>
                  <a:pt x="0" y="0"/>
                  <a:pt x="0" y="0"/>
                </a:cubicBezTo>
                <a:cubicBezTo>
                  <a:pt x="0" y="80"/>
                  <a:pt x="0" y="80"/>
                  <a:pt x="0" y="80"/>
                </a:cubicBezTo>
                <a:cubicBezTo>
                  <a:pt x="32" y="80"/>
                  <a:pt x="32" y="80"/>
                  <a:pt x="32" y="80"/>
                </a:cubicBezTo>
                <a:cubicBezTo>
                  <a:pt x="32" y="466"/>
                  <a:pt x="32" y="466"/>
                  <a:pt x="32" y="466"/>
                </a:cubicBezTo>
                <a:cubicBezTo>
                  <a:pt x="0" y="466"/>
                  <a:pt x="0" y="466"/>
                  <a:pt x="0" y="466"/>
                </a:cubicBezTo>
                <a:cubicBezTo>
                  <a:pt x="0" y="546"/>
                  <a:pt x="0" y="546"/>
                  <a:pt x="0" y="546"/>
                </a:cubicBezTo>
                <a:cubicBezTo>
                  <a:pt x="263" y="546"/>
                  <a:pt x="263" y="546"/>
                  <a:pt x="263" y="546"/>
                </a:cubicBezTo>
                <a:cubicBezTo>
                  <a:pt x="268" y="564"/>
                  <a:pt x="285" y="576"/>
                  <a:pt x="303" y="576"/>
                </a:cubicBezTo>
                <a:cubicBezTo>
                  <a:pt x="321" y="576"/>
                  <a:pt x="338" y="564"/>
                  <a:pt x="343" y="546"/>
                </a:cubicBezTo>
                <a:cubicBezTo>
                  <a:pt x="576" y="546"/>
                  <a:pt x="576" y="546"/>
                  <a:pt x="576" y="546"/>
                </a:cubicBezTo>
                <a:cubicBezTo>
                  <a:pt x="576" y="466"/>
                  <a:pt x="576" y="466"/>
                  <a:pt x="576" y="466"/>
                </a:cubicBezTo>
                <a:cubicBezTo>
                  <a:pt x="544" y="466"/>
                  <a:pt x="544" y="466"/>
                  <a:pt x="544" y="466"/>
                </a:cubicBezTo>
                <a:cubicBezTo>
                  <a:pt x="544" y="80"/>
                  <a:pt x="544" y="80"/>
                  <a:pt x="544" y="80"/>
                </a:cubicBezTo>
                <a:lnTo>
                  <a:pt x="576" y="80"/>
                </a:lnTo>
                <a:close/>
                <a:moveTo>
                  <a:pt x="316" y="546"/>
                </a:moveTo>
                <a:cubicBezTo>
                  <a:pt x="312" y="550"/>
                  <a:pt x="308" y="552"/>
                  <a:pt x="303" y="552"/>
                </a:cubicBezTo>
                <a:cubicBezTo>
                  <a:pt x="298" y="552"/>
                  <a:pt x="293" y="550"/>
                  <a:pt x="290" y="546"/>
                </a:cubicBezTo>
                <a:lnTo>
                  <a:pt x="316" y="546"/>
                </a:lnTo>
                <a:close/>
                <a:moveTo>
                  <a:pt x="552" y="491"/>
                </a:moveTo>
                <a:cubicBezTo>
                  <a:pt x="552" y="522"/>
                  <a:pt x="552" y="522"/>
                  <a:pt x="552" y="522"/>
                </a:cubicBezTo>
                <a:cubicBezTo>
                  <a:pt x="24" y="522"/>
                  <a:pt x="24" y="522"/>
                  <a:pt x="24" y="522"/>
                </a:cubicBezTo>
                <a:cubicBezTo>
                  <a:pt x="24" y="491"/>
                  <a:pt x="24" y="491"/>
                  <a:pt x="24" y="491"/>
                </a:cubicBezTo>
                <a:lnTo>
                  <a:pt x="552" y="491"/>
                </a:lnTo>
                <a:close/>
                <a:moveTo>
                  <a:pt x="57" y="466"/>
                </a:moveTo>
                <a:cubicBezTo>
                  <a:pt x="57" y="80"/>
                  <a:pt x="57" y="80"/>
                  <a:pt x="57" y="80"/>
                </a:cubicBezTo>
                <a:cubicBezTo>
                  <a:pt x="519" y="80"/>
                  <a:pt x="519" y="80"/>
                  <a:pt x="519" y="80"/>
                </a:cubicBezTo>
                <a:cubicBezTo>
                  <a:pt x="519" y="466"/>
                  <a:pt x="519" y="466"/>
                  <a:pt x="519" y="466"/>
                </a:cubicBezTo>
                <a:lnTo>
                  <a:pt x="57" y="466"/>
                </a:lnTo>
                <a:close/>
                <a:moveTo>
                  <a:pt x="552" y="25"/>
                </a:moveTo>
                <a:cubicBezTo>
                  <a:pt x="552" y="56"/>
                  <a:pt x="552" y="56"/>
                  <a:pt x="552" y="56"/>
                </a:cubicBezTo>
                <a:cubicBezTo>
                  <a:pt x="24" y="56"/>
                  <a:pt x="24" y="56"/>
                  <a:pt x="24" y="56"/>
                </a:cubicBezTo>
                <a:cubicBezTo>
                  <a:pt x="24" y="25"/>
                  <a:pt x="24" y="25"/>
                  <a:pt x="24" y="25"/>
                </a:cubicBezTo>
                <a:lnTo>
                  <a:pt x="552" y="25"/>
                </a:lnTo>
                <a:close/>
                <a:moveTo>
                  <a:pt x="330" y="382"/>
                </a:moveTo>
                <a:cubicBezTo>
                  <a:pt x="355" y="382"/>
                  <a:pt x="355" y="382"/>
                  <a:pt x="355" y="382"/>
                </a:cubicBezTo>
                <a:cubicBezTo>
                  <a:pt x="355" y="420"/>
                  <a:pt x="355" y="420"/>
                  <a:pt x="355" y="420"/>
                </a:cubicBezTo>
                <a:cubicBezTo>
                  <a:pt x="330" y="420"/>
                  <a:pt x="330" y="420"/>
                  <a:pt x="330" y="420"/>
                </a:cubicBezTo>
                <a:lnTo>
                  <a:pt x="330" y="382"/>
                </a:lnTo>
                <a:close/>
                <a:moveTo>
                  <a:pt x="370" y="364"/>
                </a:moveTo>
                <a:cubicBezTo>
                  <a:pt x="395" y="364"/>
                  <a:pt x="395" y="364"/>
                  <a:pt x="395" y="364"/>
                </a:cubicBezTo>
                <a:cubicBezTo>
                  <a:pt x="395" y="420"/>
                  <a:pt x="395" y="420"/>
                  <a:pt x="395" y="420"/>
                </a:cubicBezTo>
                <a:cubicBezTo>
                  <a:pt x="370" y="420"/>
                  <a:pt x="370" y="420"/>
                  <a:pt x="370" y="420"/>
                </a:cubicBezTo>
                <a:lnTo>
                  <a:pt x="370" y="364"/>
                </a:lnTo>
                <a:close/>
                <a:moveTo>
                  <a:pt x="410" y="306"/>
                </a:moveTo>
                <a:cubicBezTo>
                  <a:pt x="434" y="306"/>
                  <a:pt x="434" y="306"/>
                  <a:pt x="434" y="306"/>
                </a:cubicBezTo>
                <a:cubicBezTo>
                  <a:pt x="434" y="420"/>
                  <a:pt x="434" y="420"/>
                  <a:pt x="434" y="420"/>
                </a:cubicBezTo>
                <a:cubicBezTo>
                  <a:pt x="410" y="420"/>
                  <a:pt x="410" y="420"/>
                  <a:pt x="410" y="420"/>
                </a:cubicBezTo>
                <a:lnTo>
                  <a:pt x="410" y="306"/>
                </a:lnTo>
                <a:close/>
                <a:moveTo>
                  <a:pt x="450" y="337"/>
                </a:moveTo>
                <a:cubicBezTo>
                  <a:pt x="474" y="337"/>
                  <a:pt x="474" y="337"/>
                  <a:pt x="474" y="337"/>
                </a:cubicBezTo>
                <a:cubicBezTo>
                  <a:pt x="474" y="420"/>
                  <a:pt x="474" y="420"/>
                  <a:pt x="474" y="420"/>
                </a:cubicBezTo>
                <a:cubicBezTo>
                  <a:pt x="450" y="420"/>
                  <a:pt x="450" y="420"/>
                  <a:pt x="450" y="420"/>
                </a:cubicBezTo>
                <a:lnTo>
                  <a:pt x="450" y="337"/>
                </a:lnTo>
                <a:close/>
                <a:moveTo>
                  <a:pt x="463" y="148"/>
                </a:moveTo>
                <a:cubicBezTo>
                  <a:pt x="367" y="148"/>
                  <a:pt x="367" y="148"/>
                  <a:pt x="367" y="148"/>
                </a:cubicBezTo>
                <a:cubicBezTo>
                  <a:pt x="367" y="124"/>
                  <a:pt x="367" y="124"/>
                  <a:pt x="367" y="124"/>
                </a:cubicBezTo>
                <a:cubicBezTo>
                  <a:pt x="463" y="124"/>
                  <a:pt x="463" y="124"/>
                  <a:pt x="463" y="124"/>
                </a:cubicBezTo>
                <a:lnTo>
                  <a:pt x="463" y="148"/>
                </a:lnTo>
                <a:close/>
                <a:moveTo>
                  <a:pt x="463" y="193"/>
                </a:moveTo>
                <a:cubicBezTo>
                  <a:pt x="367" y="193"/>
                  <a:pt x="367" y="193"/>
                  <a:pt x="367" y="193"/>
                </a:cubicBezTo>
                <a:cubicBezTo>
                  <a:pt x="367" y="168"/>
                  <a:pt x="367" y="168"/>
                  <a:pt x="367" y="168"/>
                </a:cubicBezTo>
                <a:cubicBezTo>
                  <a:pt x="463" y="168"/>
                  <a:pt x="463" y="168"/>
                  <a:pt x="463" y="168"/>
                </a:cubicBezTo>
                <a:lnTo>
                  <a:pt x="463" y="193"/>
                </a:lnTo>
                <a:close/>
                <a:moveTo>
                  <a:pt x="119" y="364"/>
                </a:moveTo>
                <a:cubicBezTo>
                  <a:pt x="215" y="364"/>
                  <a:pt x="215" y="364"/>
                  <a:pt x="215" y="364"/>
                </a:cubicBezTo>
                <a:cubicBezTo>
                  <a:pt x="215" y="388"/>
                  <a:pt x="215" y="388"/>
                  <a:pt x="215" y="388"/>
                </a:cubicBezTo>
                <a:cubicBezTo>
                  <a:pt x="119" y="388"/>
                  <a:pt x="119" y="388"/>
                  <a:pt x="119" y="388"/>
                </a:cubicBezTo>
                <a:lnTo>
                  <a:pt x="119" y="364"/>
                </a:lnTo>
                <a:close/>
                <a:moveTo>
                  <a:pt x="119" y="408"/>
                </a:moveTo>
                <a:cubicBezTo>
                  <a:pt x="215" y="408"/>
                  <a:pt x="215" y="408"/>
                  <a:pt x="215" y="408"/>
                </a:cubicBezTo>
                <a:cubicBezTo>
                  <a:pt x="215" y="432"/>
                  <a:pt x="215" y="432"/>
                  <a:pt x="215" y="432"/>
                </a:cubicBezTo>
                <a:cubicBezTo>
                  <a:pt x="119" y="432"/>
                  <a:pt x="119" y="432"/>
                  <a:pt x="119" y="432"/>
                </a:cubicBezTo>
                <a:lnTo>
                  <a:pt x="119" y="408"/>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a:solidFill>
                <a:schemeClr val="accent1"/>
              </a:solidFill>
            </a:endParaRPr>
          </a:p>
        </p:txBody>
      </p:sp>
      <p:sp>
        <p:nvSpPr>
          <p:cNvPr id="31" name="Freeform 9">
            <a:extLst>
              <a:ext uri="{FF2B5EF4-FFF2-40B4-BE49-F238E27FC236}">
                <a16:creationId xmlns:a16="http://schemas.microsoft.com/office/drawing/2014/main" id="{DCBEB762-95ED-4BA0-88D0-5907F802B3C0}"/>
              </a:ext>
            </a:extLst>
          </p:cNvPr>
          <p:cNvSpPr>
            <a:spLocks noChangeAspect="1" noEditPoints="1"/>
          </p:cNvSpPr>
          <p:nvPr/>
        </p:nvSpPr>
        <p:spPr bwMode="auto">
          <a:xfrm>
            <a:off x="1366329" y="3563595"/>
            <a:ext cx="455905" cy="457200"/>
          </a:xfrm>
          <a:custGeom>
            <a:avLst/>
            <a:gdLst>
              <a:gd name="T0" fmla="*/ 477 w 576"/>
              <a:gd name="T1" fmla="*/ 552 h 576"/>
              <a:gd name="T2" fmla="*/ 412 w 576"/>
              <a:gd name="T3" fmla="*/ 404 h 576"/>
              <a:gd name="T4" fmla="*/ 312 w 576"/>
              <a:gd name="T5" fmla="*/ 385 h 576"/>
              <a:gd name="T6" fmla="*/ 288 w 576"/>
              <a:gd name="T7" fmla="*/ 399 h 576"/>
              <a:gd name="T8" fmla="*/ 265 w 576"/>
              <a:gd name="T9" fmla="*/ 385 h 576"/>
              <a:gd name="T10" fmla="*/ 209 w 576"/>
              <a:gd name="T11" fmla="*/ 389 h 576"/>
              <a:gd name="T12" fmla="*/ 203 w 576"/>
              <a:gd name="T13" fmla="*/ 341 h 576"/>
              <a:gd name="T14" fmla="*/ 123 w 576"/>
              <a:gd name="T15" fmla="*/ 289 h 576"/>
              <a:gd name="T16" fmla="*/ 99 w 576"/>
              <a:gd name="T17" fmla="*/ 297 h 576"/>
              <a:gd name="T18" fmla="*/ 83 w 576"/>
              <a:gd name="T19" fmla="*/ 297 h 576"/>
              <a:gd name="T20" fmla="*/ 59 w 576"/>
              <a:gd name="T21" fmla="*/ 289 h 576"/>
              <a:gd name="T22" fmla="*/ 24 w 576"/>
              <a:gd name="T23" fmla="*/ 23 h 576"/>
              <a:gd name="T24" fmla="*/ 244 w 576"/>
              <a:gd name="T25" fmla="*/ 0 h 576"/>
              <a:gd name="T26" fmla="*/ 0 w 576"/>
              <a:gd name="T27" fmla="*/ 576 h 576"/>
              <a:gd name="T28" fmla="*/ 135 w 576"/>
              <a:gd name="T29" fmla="*/ 465 h 576"/>
              <a:gd name="T30" fmla="*/ 246 w 576"/>
              <a:gd name="T31" fmla="*/ 401 h 576"/>
              <a:gd name="T32" fmla="*/ 247 w 576"/>
              <a:gd name="T33" fmla="*/ 401 h 576"/>
              <a:gd name="T34" fmla="*/ 288 w 576"/>
              <a:gd name="T35" fmla="*/ 423 h 576"/>
              <a:gd name="T36" fmla="*/ 329 w 576"/>
              <a:gd name="T37" fmla="*/ 402 h 576"/>
              <a:gd name="T38" fmla="*/ 330 w 576"/>
              <a:gd name="T39" fmla="*/ 401 h 576"/>
              <a:gd name="T40" fmla="*/ 441 w 576"/>
              <a:gd name="T41" fmla="*/ 463 h 576"/>
              <a:gd name="T42" fmla="*/ 576 w 576"/>
              <a:gd name="T43" fmla="*/ 576 h 576"/>
              <a:gd name="T44" fmla="*/ 553 w 576"/>
              <a:gd name="T45" fmla="*/ 266 h 576"/>
              <a:gd name="T46" fmla="*/ 100 w 576"/>
              <a:gd name="T47" fmla="*/ 552 h 576"/>
              <a:gd name="T48" fmla="*/ 24 w 576"/>
              <a:gd name="T49" fmla="*/ 326 h 576"/>
              <a:gd name="T50" fmla="*/ 66 w 576"/>
              <a:gd name="T51" fmla="*/ 314 h 576"/>
              <a:gd name="T52" fmla="*/ 116 w 576"/>
              <a:gd name="T53" fmla="*/ 314 h 576"/>
              <a:gd name="T54" fmla="*/ 160 w 576"/>
              <a:gd name="T55" fmla="*/ 326 h 576"/>
              <a:gd name="T56" fmla="*/ 186 w 576"/>
              <a:gd name="T57" fmla="*/ 396 h 576"/>
              <a:gd name="T58" fmla="*/ 112 w 576"/>
              <a:gd name="T59" fmla="*/ 460 h 576"/>
              <a:gd name="T60" fmla="*/ 289 w 576"/>
              <a:gd name="T61" fmla="*/ 186 h 576"/>
              <a:gd name="T62" fmla="*/ 244 w 576"/>
              <a:gd name="T63" fmla="*/ 345 h 576"/>
              <a:gd name="T64" fmla="*/ 334 w 576"/>
              <a:gd name="T65" fmla="*/ 345 h 576"/>
              <a:gd name="T66" fmla="*/ 289 w 576"/>
              <a:gd name="T67" fmla="*/ 186 h 576"/>
              <a:gd name="T68" fmla="*/ 262 w 576"/>
              <a:gd name="T69" fmla="*/ 330 h 576"/>
              <a:gd name="T70" fmla="*/ 289 w 576"/>
              <a:gd name="T71" fmla="*/ 210 h 576"/>
              <a:gd name="T72" fmla="*/ 317 w 576"/>
              <a:gd name="T73" fmla="*/ 330 h 576"/>
              <a:gd name="T74" fmla="*/ 46 w 576"/>
              <a:gd name="T75" fmla="*/ 206 h 576"/>
              <a:gd name="T76" fmla="*/ 92 w 576"/>
              <a:gd name="T77" fmla="*/ 279 h 576"/>
              <a:gd name="T78" fmla="*/ 138 w 576"/>
              <a:gd name="T79" fmla="*/ 206 h 576"/>
              <a:gd name="T80" fmla="*/ 46 w 576"/>
              <a:gd name="T81" fmla="*/ 206 h 576"/>
              <a:gd name="T82" fmla="*/ 79 w 576"/>
              <a:gd name="T83" fmla="*/ 246 h 576"/>
              <a:gd name="T84" fmla="*/ 92 w 576"/>
              <a:gd name="T85" fmla="*/ 180 h 576"/>
              <a:gd name="T86" fmla="*/ 106 w 576"/>
              <a:gd name="T87" fmla="*/ 246 h 576"/>
              <a:gd name="T88" fmla="*/ 576 w 576"/>
              <a:gd name="T89" fmla="*/ 0 h 576"/>
              <a:gd name="T90" fmla="*/ 522 w 576"/>
              <a:gd name="T91" fmla="*/ 237 h 576"/>
              <a:gd name="T92" fmla="*/ 423 w 576"/>
              <a:gd name="T93" fmla="*/ 237 h 576"/>
              <a:gd name="T94" fmla="*/ 381 w 576"/>
              <a:gd name="T95" fmla="*/ 214 h 576"/>
              <a:gd name="T96" fmla="*/ 446 w 576"/>
              <a:gd name="T97" fmla="*/ 282 h 576"/>
              <a:gd name="T98" fmla="*/ 554 w 576"/>
              <a:gd name="T99" fmla="*/ 214 h 576"/>
              <a:gd name="T100" fmla="*/ 300 w 576"/>
              <a:gd name="T101" fmla="*/ 22 h 576"/>
              <a:gd name="T102" fmla="*/ 279 w 576"/>
              <a:gd name="T103" fmla="*/ 161 h 576"/>
              <a:gd name="T104" fmla="*/ 576 w 576"/>
              <a:gd name="T105" fmla="*/ 0 h 576"/>
              <a:gd name="T106" fmla="*/ 356 w 576"/>
              <a:gd name="T107" fmla="*/ 104 h 576"/>
              <a:gd name="T108" fmla="*/ 498 w 576"/>
              <a:gd name="T109" fmla="*/ 82 h 576"/>
              <a:gd name="T110" fmla="*/ 356 w 576"/>
              <a:gd name="T111" fmla="*/ 132 h 576"/>
              <a:gd name="T112" fmla="*/ 498 w 576"/>
              <a:gd name="T113" fmla="*/ 153 h 576"/>
              <a:gd name="T114" fmla="*/ 356 w 576"/>
              <a:gd name="T115" fmla="*/ 13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553" y="552"/>
                </a:moveTo>
                <a:cubicBezTo>
                  <a:pt x="477" y="552"/>
                  <a:pt x="477" y="552"/>
                  <a:pt x="477" y="552"/>
                </a:cubicBezTo>
                <a:cubicBezTo>
                  <a:pt x="464" y="458"/>
                  <a:pt x="464" y="458"/>
                  <a:pt x="464" y="458"/>
                </a:cubicBezTo>
                <a:cubicBezTo>
                  <a:pt x="456" y="433"/>
                  <a:pt x="437" y="412"/>
                  <a:pt x="412" y="404"/>
                </a:cubicBezTo>
                <a:cubicBezTo>
                  <a:pt x="338" y="379"/>
                  <a:pt x="338" y="379"/>
                  <a:pt x="338" y="379"/>
                </a:cubicBezTo>
                <a:cubicBezTo>
                  <a:pt x="329" y="376"/>
                  <a:pt x="319" y="378"/>
                  <a:pt x="312" y="385"/>
                </a:cubicBezTo>
                <a:cubicBezTo>
                  <a:pt x="307" y="391"/>
                  <a:pt x="307" y="391"/>
                  <a:pt x="307" y="391"/>
                </a:cubicBezTo>
                <a:cubicBezTo>
                  <a:pt x="302" y="396"/>
                  <a:pt x="295" y="399"/>
                  <a:pt x="288" y="399"/>
                </a:cubicBezTo>
                <a:cubicBezTo>
                  <a:pt x="282" y="399"/>
                  <a:pt x="276" y="396"/>
                  <a:pt x="270" y="391"/>
                </a:cubicBezTo>
                <a:cubicBezTo>
                  <a:pt x="265" y="385"/>
                  <a:pt x="265" y="385"/>
                  <a:pt x="265" y="385"/>
                </a:cubicBezTo>
                <a:cubicBezTo>
                  <a:pt x="258" y="378"/>
                  <a:pt x="248" y="376"/>
                  <a:pt x="238" y="379"/>
                </a:cubicBezTo>
                <a:cubicBezTo>
                  <a:pt x="209" y="389"/>
                  <a:pt x="209" y="389"/>
                  <a:pt x="209" y="389"/>
                </a:cubicBezTo>
                <a:cubicBezTo>
                  <a:pt x="204" y="342"/>
                  <a:pt x="204" y="342"/>
                  <a:pt x="204" y="342"/>
                </a:cubicBezTo>
                <a:cubicBezTo>
                  <a:pt x="203" y="341"/>
                  <a:pt x="203" y="341"/>
                  <a:pt x="203" y="341"/>
                </a:cubicBezTo>
                <a:cubicBezTo>
                  <a:pt x="198" y="324"/>
                  <a:pt x="185" y="310"/>
                  <a:pt x="168" y="304"/>
                </a:cubicBezTo>
                <a:cubicBezTo>
                  <a:pt x="123" y="289"/>
                  <a:pt x="123" y="289"/>
                  <a:pt x="123" y="289"/>
                </a:cubicBezTo>
                <a:cubicBezTo>
                  <a:pt x="116" y="287"/>
                  <a:pt x="108" y="289"/>
                  <a:pt x="103" y="294"/>
                </a:cubicBezTo>
                <a:cubicBezTo>
                  <a:pt x="99" y="297"/>
                  <a:pt x="99" y="297"/>
                  <a:pt x="99" y="297"/>
                </a:cubicBezTo>
                <a:cubicBezTo>
                  <a:pt x="97" y="300"/>
                  <a:pt x="94" y="301"/>
                  <a:pt x="91" y="301"/>
                </a:cubicBezTo>
                <a:cubicBezTo>
                  <a:pt x="88" y="301"/>
                  <a:pt x="85" y="300"/>
                  <a:pt x="83" y="297"/>
                </a:cubicBezTo>
                <a:cubicBezTo>
                  <a:pt x="79" y="294"/>
                  <a:pt x="79" y="294"/>
                  <a:pt x="79" y="294"/>
                </a:cubicBezTo>
                <a:cubicBezTo>
                  <a:pt x="74" y="289"/>
                  <a:pt x="66" y="287"/>
                  <a:pt x="59" y="289"/>
                </a:cubicBezTo>
                <a:cubicBezTo>
                  <a:pt x="24" y="301"/>
                  <a:pt x="24" y="301"/>
                  <a:pt x="24" y="301"/>
                </a:cubicBezTo>
                <a:cubicBezTo>
                  <a:pt x="24" y="23"/>
                  <a:pt x="24" y="23"/>
                  <a:pt x="24" y="23"/>
                </a:cubicBezTo>
                <a:cubicBezTo>
                  <a:pt x="244" y="23"/>
                  <a:pt x="244" y="23"/>
                  <a:pt x="244" y="23"/>
                </a:cubicBezTo>
                <a:cubicBezTo>
                  <a:pt x="244" y="0"/>
                  <a:pt x="244" y="0"/>
                  <a:pt x="244" y="0"/>
                </a:cubicBezTo>
                <a:cubicBezTo>
                  <a:pt x="0" y="0"/>
                  <a:pt x="0" y="0"/>
                  <a:pt x="0" y="0"/>
                </a:cubicBezTo>
                <a:cubicBezTo>
                  <a:pt x="0" y="576"/>
                  <a:pt x="0" y="576"/>
                  <a:pt x="0" y="576"/>
                </a:cubicBezTo>
                <a:cubicBezTo>
                  <a:pt x="121" y="576"/>
                  <a:pt x="121" y="576"/>
                  <a:pt x="121" y="576"/>
                </a:cubicBezTo>
                <a:cubicBezTo>
                  <a:pt x="135" y="465"/>
                  <a:pt x="135" y="465"/>
                  <a:pt x="135" y="465"/>
                </a:cubicBezTo>
                <a:cubicBezTo>
                  <a:pt x="140" y="447"/>
                  <a:pt x="155" y="432"/>
                  <a:pt x="173" y="426"/>
                </a:cubicBezTo>
                <a:cubicBezTo>
                  <a:pt x="246" y="401"/>
                  <a:pt x="246" y="401"/>
                  <a:pt x="246" y="401"/>
                </a:cubicBezTo>
                <a:cubicBezTo>
                  <a:pt x="247" y="401"/>
                  <a:pt x="247" y="401"/>
                  <a:pt x="247" y="401"/>
                </a:cubicBezTo>
                <a:cubicBezTo>
                  <a:pt x="247" y="401"/>
                  <a:pt x="247" y="401"/>
                  <a:pt x="247" y="401"/>
                </a:cubicBezTo>
                <a:cubicBezTo>
                  <a:pt x="253" y="408"/>
                  <a:pt x="253" y="408"/>
                  <a:pt x="253" y="408"/>
                </a:cubicBezTo>
                <a:cubicBezTo>
                  <a:pt x="263" y="417"/>
                  <a:pt x="276" y="423"/>
                  <a:pt x="288" y="423"/>
                </a:cubicBezTo>
                <a:cubicBezTo>
                  <a:pt x="301" y="423"/>
                  <a:pt x="314" y="417"/>
                  <a:pt x="324" y="408"/>
                </a:cubicBezTo>
                <a:cubicBezTo>
                  <a:pt x="329" y="402"/>
                  <a:pt x="329" y="402"/>
                  <a:pt x="329" y="402"/>
                </a:cubicBezTo>
                <a:cubicBezTo>
                  <a:pt x="329" y="401"/>
                  <a:pt x="329" y="401"/>
                  <a:pt x="330" y="401"/>
                </a:cubicBezTo>
                <a:cubicBezTo>
                  <a:pt x="330" y="401"/>
                  <a:pt x="330" y="401"/>
                  <a:pt x="330" y="401"/>
                </a:cubicBezTo>
                <a:cubicBezTo>
                  <a:pt x="404" y="426"/>
                  <a:pt x="404" y="426"/>
                  <a:pt x="404" y="426"/>
                </a:cubicBezTo>
                <a:cubicBezTo>
                  <a:pt x="422" y="432"/>
                  <a:pt x="436" y="447"/>
                  <a:pt x="441" y="463"/>
                </a:cubicBezTo>
                <a:cubicBezTo>
                  <a:pt x="456" y="576"/>
                  <a:pt x="456" y="576"/>
                  <a:pt x="456" y="576"/>
                </a:cubicBezTo>
                <a:cubicBezTo>
                  <a:pt x="576" y="576"/>
                  <a:pt x="576" y="576"/>
                  <a:pt x="576" y="576"/>
                </a:cubicBezTo>
                <a:cubicBezTo>
                  <a:pt x="576" y="266"/>
                  <a:pt x="576" y="266"/>
                  <a:pt x="576" y="266"/>
                </a:cubicBezTo>
                <a:cubicBezTo>
                  <a:pt x="553" y="266"/>
                  <a:pt x="553" y="266"/>
                  <a:pt x="553" y="266"/>
                </a:cubicBezTo>
                <a:lnTo>
                  <a:pt x="553" y="552"/>
                </a:lnTo>
                <a:close/>
                <a:moveTo>
                  <a:pt x="100" y="552"/>
                </a:moveTo>
                <a:cubicBezTo>
                  <a:pt x="24" y="552"/>
                  <a:pt x="24" y="552"/>
                  <a:pt x="24" y="552"/>
                </a:cubicBezTo>
                <a:cubicBezTo>
                  <a:pt x="24" y="326"/>
                  <a:pt x="24" y="326"/>
                  <a:pt x="24" y="326"/>
                </a:cubicBezTo>
                <a:cubicBezTo>
                  <a:pt x="64" y="313"/>
                  <a:pt x="64" y="313"/>
                  <a:pt x="64" y="313"/>
                </a:cubicBezTo>
                <a:cubicBezTo>
                  <a:pt x="66" y="314"/>
                  <a:pt x="66" y="314"/>
                  <a:pt x="66" y="314"/>
                </a:cubicBezTo>
                <a:cubicBezTo>
                  <a:pt x="72" y="321"/>
                  <a:pt x="82" y="324"/>
                  <a:pt x="91" y="324"/>
                </a:cubicBezTo>
                <a:cubicBezTo>
                  <a:pt x="101" y="324"/>
                  <a:pt x="109" y="321"/>
                  <a:pt x="116" y="314"/>
                </a:cubicBezTo>
                <a:cubicBezTo>
                  <a:pt x="118" y="313"/>
                  <a:pt x="118" y="313"/>
                  <a:pt x="118" y="313"/>
                </a:cubicBezTo>
                <a:cubicBezTo>
                  <a:pt x="160" y="326"/>
                  <a:pt x="160" y="326"/>
                  <a:pt x="160" y="326"/>
                </a:cubicBezTo>
                <a:cubicBezTo>
                  <a:pt x="169" y="330"/>
                  <a:pt x="177" y="338"/>
                  <a:pt x="180" y="347"/>
                </a:cubicBezTo>
                <a:cubicBezTo>
                  <a:pt x="186" y="396"/>
                  <a:pt x="186" y="396"/>
                  <a:pt x="186" y="396"/>
                </a:cubicBezTo>
                <a:cubicBezTo>
                  <a:pt x="165" y="404"/>
                  <a:pt x="165" y="404"/>
                  <a:pt x="165" y="404"/>
                </a:cubicBezTo>
                <a:cubicBezTo>
                  <a:pt x="139" y="413"/>
                  <a:pt x="120" y="433"/>
                  <a:pt x="112" y="460"/>
                </a:cubicBezTo>
                <a:lnTo>
                  <a:pt x="100" y="552"/>
                </a:lnTo>
                <a:close/>
                <a:moveTo>
                  <a:pt x="289" y="186"/>
                </a:moveTo>
                <a:cubicBezTo>
                  <a:pt x="252" y="186"/>
                  <a:pt x="222" y="219"/>
                  <a:pt x="222" y="260"/>
                </a:cubicBezTo>
                <a:cubicBezTo>
                  <a:pt x="222" y="301"/>
                  <a:pt x="229" y="329"/>
                  <a:pt x="244" y="345"/>
                </a:cubicBezTo>
                <a:cubicBezTo>
                  <a:pt x="257" y="360"/>
                  <a:pt x="268" y="371"/>
                  <a:pt x="289" y="371"/>
                </a:cubicBezTo>
                <a:cubicBezTo>
                  <a:pt x="311" y="371"/>
                  <a:pt x="323" y="358"/>
                  <a:pt x="334" y="345"/>
                </a:cubicBezTo>
                <a:cubicBezTo>
                  <a:pt x="349" y="329"/>
                  <a:pt x="357" y="300"/>
                  <a:pt x="357" y="260"/>
                </a:cubicBezTo>
                <a:cubicBezTo>
                  <a:pt x="357" y="219"/>
                  <a:pt x="326" y="186"/>
                  <a:pt x="289" y="186"/>
                </a:cubicBezTo>
                <a:close/>
                <a:moveTo>
                  <a:pt x="289" y="347"/>
                </a:moveTo>
                <a:cubicBezTo>
                  <a:pt x="280" y="347"/>
                  <a:pt x="274" y="343"/>
                  <a:pt x="262" y="330"/>
                </a:cubicBezTo>
                <a:cubicBezTo>
                  <a:pt x="251" y="318"/>
                  <a:pt x="246" y="294"/>
                  <a:pt x="246" y="260"/>
                </a:cubicBezTo>
                <a:cubicBezTo>
                  <a:pt x="246" y="232"/>
                  <a:pt x="265" y="210"/>
                  <a:pt x="289" y="210"/>
                </a:cubicBezTo>
                <a:cubicBezTo>
                  <a:pt x="313" y="210"/>
                  <a:pt x="333" y="232"/>
                  <a:pt x="333" y="260"/>
                </a:cubicBezTo>
                <a:cubicBezTo>
                  <a:pt x="333" y="292"/>
                  <a:pt x="327" y="317"/>
                  <a:pt x="317" y="330"/>
                </a:cubicBezTo>
                <a:cubicBezTo>
                  <a:pt x="304" y="343"/>
                  <a:pt x="299" y="347"/>
                  <a:pt x="289" y="347"/>
                </a:cubicBezTo>
                <a:close/>
                <a:moveTo>
                  <a:pt x="46" y="206"/>
                </a:moveTo>
                <a:cubicBezTo>
                  <a:pt x="46" y="232"/>
                  <a:pt x="51" y="251"/>
                  <a:pt x="61" y="261"/>
                </a:cubicBezTo>
                <a:cubicBezTo>
                  <a:pt x="69" y="271"/>
                  <a:pt x="77" y="279"/>
                  <a:pt x="92" y="279"/>
                </a:cubicBezTo>
                <a:cubicBezTo>
                  <a:pt x="107" y="279"/>
                  <a:pt x="116" y="270"/>
                  <a:pt x="123" y="261"/>
                </a:cubicBezTo>
                <a:cubicBezTo>
                  <a:pt x="133" y="251"/>
                  <a:pt x="138" y="232"/>
                  <a:pt x="138" y="206"/>
                </a:cubicBezTo>
                <a:cubicBezTo>
                  <a:pt x="138" y="178"/>
                  <a:pt x="118" y="156"/>
                  <a:pt x="92" y="156"/>
                </a:cubicBezTo>
                <a:cubicBezTo>
                  <a:pt x="66" y="156"/>
                  <a:pt x="46" y="178"/>
                  <a:pt x="46" y="206"/>
                </a:cubicBezTo>
                <a:close/>
                <a:moveTo>
                  <a:pt x="92" y="255"/>
                </a:moveTo>
                <a:cubicBezTo>
                  <a:pt x="88" y="255"/>
                  <a:pt x="86" y="254"/>
                  <a:pt x="79" y="246"/>
                </a:cubicBezTo>
                <a:cubicBezTo>
                  <a:pt x="73" y="239"/>
                  <a:pt x="70" y="226"/>
                  <a:pt x="70" y="206"/>
                </a:cubicBezTo>
                <a:cubicBezTo>
                  <a:pt x="70" y="191"/>
                  <a:pt x="79" y="180"/>
                  <a:pt x="92" y="180"/>
                </a:cubicBezTo>
                <a:cubicBezTo>
                  <a:pt x="104" y="180"/>
                  <a:pt x="114" y="192"/>
                  <a:pt x="114" y="206"/>
                </a:cubicBezTo>
                <a:cubicBezTo>
                  <a:pt x="114" y="224"/>
                  <a:pt x="111" y="239"/>
                  <a:pt x="106" y="246"/>
                </a:cubicBezTo>
                <a:cubicBezTo>
                  <a:pt x="98" y="254"/>
                  <a:pt x="95" y="255"/>
                  <a:pt x="92" y="255"/>
                </a:cubicBezTo>
                <a:close/>
                <a:moveTo>
                  <a:pt x="576" y="0"/>
                </a:moveTo>
                <a:cubicBezTo>
                  <a:pt x="576" y="237"/>
                  <a:pt x="576" y="237"/>
                  <a:pt x="576" y="237"/>
                </a:cubicBezTo>
                <a:cubicBezTo>
                  <a:pt x="522" y="237"/>
                  <a:pt x="522" y="237"/>
                  <a:pt x="522" y="237"/>
                </a:cubicBezTo>
                <a:cubicBezTo>
                  <a:pt x="423" y="334"/>
                  <a:pt x="423" y="334"/>
                  <a:pt x="423" y="334"/>
                </a:cubicBezTo>
                <a:cubicBezTo>
                  <a:pt x="423" y="237"/>
                  <a:pt x="423" y="237"/>
                  <a:pt x="423" y="237"/>
                </a:cubicBezTo>
                <a:cubicBezTo>
                  <a:pt x="381" y="237"/>
                  <a:pt x="381" y="237"/>
                  <a:pt x="381" y="237"/>
                </a:cubicBezTo>
                <a:cubicBezTo>
                  <a:pt x="381" y="214"/>
                  <a:pt x="381" y="214"/>
                  <a:pt x="381" y="214"/>
                </a:cubicBezTo>
                <a:cubicBezTo>
                  <a:pt x="446" y="214"/>
                  <a:pt x="446" y="214"/>
                  <a:pt x="446" y="214"/>
                </a:cubicBezTo>
                <a:cubicBezTo>
                  <a:pt x="446" y="282"/>
                  <a:pt x="446" y="282"/>
                  <a:pt x="446" y="282"/>
                </a:cubicBezTo>
                <a:cubicBezTo>
                  <a:pt x="513" y="214"/>
                  <a:pt x="513" y="214"/>
                  <a:pt x="513" y="214"/>
                </a:cubicBezTo>
                <a:cubicBezTo>
                  <a:pt x="554" y="214"/>
                  <a:pt x="554" y="214"/>
                  <a:pt x="554" y="214"/>
                </a:cubicBezTo>
                <a:cubicBezTo>
                  <a:pt x="554" y="22"/>
                  <a:pt x="554" y="22"/>
                  <a:pt x="554" y="22"/>
                </a:cubicBezTo>
                <a:cubicBezTo>
                  <a:pt x="300" y="22"/>
                  <a:pt x="300" y="22"/>
                  <a:pt x="300" y="22"/>
                </a:cubicBezTo>
                <a:cubicBezTo>
                  <a:pt x="300" y="161"/>
                  <a:pt x="300" y="161"/>
                  <a:pt x="300" y="161"/>
                </a:cubicBezTo>
                <a:cubicBezTo>
                  <a:pt x="279" y="161"/>
                  <a:pt x="279" y="161"/>
                  <a:pt x="279" y="161"/>
                </a:cubicBezTo>
                <a:cubicBezTo>
                  <a:pt x="279" y="0"/>
                  <a:pt x="279" y="0"/>
                  <a:pt x="279" y="0"/>
                </a:cubicBezTo>
                <a:lnTo>
                  <a:pt x="576" y="0"/>
                </a:lnTo>
                <a:close/>
                <a:moveTo>
                  <a:pt x="498" y="104"/>
                </a:moveTo>
                <a:cubicBezTo>
                  <a:pt x="356" y="104"/>
                  <a:pt x="356" y="104"/>
                  <a:pt x="356" y="104"/>
                </a:cubicBezTo>
                <a:cubicBezTo>
                  <a:pt x="356" y="82"/>
                  <a:pt x="356" y="82"/>
                  <a:pt x="356" y="82"/>
                </a:cubicBezTo>
                <a:cubicBezTo>
                  <a:pt x="498" y="82"/>
                  <a:pt x="498" y="82"/>
                  <a:pt x="498" y="82"/>
                </a:cubicBezTo>
                <a:lnTo>
                  <a:pt x="498" y="104"/>
                </a:lnTo>
                <a:close/>
                <a:moveTo>
                  <a:pt x="356" y="132"/>
                </a:moveTo>
                <a:cubicBezTo>
                  <a:pt x="498" y="132"/>
                  <a:pt x="498" y="132"/>
                  <a:pt x="498" y="132"/>
                </a:cubicBezTo>
                <a:cubicBezTo>
                  <a:pt x="498" y="153"/>
                  <a:pt x="498" y="153"/>
                  <a:pt x="498" y="153"/>
                </a:cubicBezTo>
                <a:cubicBezTo>
                  <a:pt x="356" y="153"/>
                  <a:pt x="356" y="153"/>
                  <a:pt x="356" y="153"/>
                </a:cubicBezTo>
                <a:lnTo>
                  <a:pt x="356" y="132"/>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a:solidFill>
                <a:schemeClr val="accent1"/>
              </a:solidFill>
            </a:endParaRPr>
          </a:p>
        </p:txBody>
      </p:sp>
      <p:sp>
        <p:nvSpPr>
          <p:cNvPr id="32" name="Freeform 25">
            <a:extLst>
              <a:ext uri="{FF2B5EF4-FFF2-40B4-BE49-F238E27FC236}">
                <a16:creationId xmlns:a16="http://schemas.microsoft.com/office/drawing/2014/main" id="{9C76B2D8-BB4E-4332-B2FC-10507D10B1A3}"/>
              </a:ext>
            </a:extLst>
          </p:cNvPr>
          <p:cNvSpPr>
            <a:spLocks noChangeAspect="1" noEditPoints="1"/>
          </p:cNvSpPr>
          <p:nvPr/>
        </p:nvSpPr>
        <p:spPr bwMode="auto">
          <a:xfrm>
            <a:off x="1356095" y="4348427"/>
            <a:ext cx="455905" cy="457200"/>
          </a:xfrm>
          <a:custGeom>
            <a:avLst/>
            <a:gdLst>
              <a:gd name="T0" fmla="*/ 351 w 576"/>
              <a:gd name="T1" fmla="*/ 112 h 576"/>
              <a:gd name="T2" fmla="*/ 338 w 576"/>
              <a:gd name="T3" fmla="*/ 73 h 576"/>
              <a:gd name="T4" fmla="*/ 209 w 576"/>
              <a:gd name="T5" fmla="*/ 86 h 576"/>
              <a:gd name="T6" fmla="*/ 146 w 576"/>
              <a:gd name="T7" fmla="*/ 112 h 576"/>
              <a:gd name="T8" fmla="*/ 414 w 576"/>
              <a:gd name="T9" fmla="*/ 300 h 576"/>
              <a:gd name="T10" fmla="*/ 234 w 576"/>
              <a:gd name="T11" fmla="*/ 98 h 576"/>
              <a:gd name="T12" fmla="*/ 326 w 576"/>
              <a:gd name="T13" fmla="*/ 112 h 576"/>
              <a:gd name="T14" fmla="*/ 234 w 576"/>
              <a:gd name="T15" fmla="*/ 98 h 576"/>
              <a:gd name="T16" fmla="*/ 338 w 576"/>
              <a:gd name="T17" fmla="*/ 136 h 576"/>
              <a:gd name="T18" fmla="*/ 389 w 576"/>
              <a:gd name="T19" fmla="*/ 165 h 576"/>
              <a:gd name="T20" fmla="*/ 171 w 576"/>
              <a:gd name="T21" fmla="*/ 165 h 576"/>
              <a:gd name="T22" fmla="*/ 221 w 576"/>
              <a:gd name="T23" fmla="*/ 136 h 576"/>
              <a:gd name="T24" fmla="*/ 171 w 576"/>
              <a:gd name="T25" fmla="*/ 191 h 576"/>
              <a:gd name="T26" fmla="*/ 389 w 576"/>
              <a:gd name="T27" fmla="*/ 191 h 576"/>
              <a:gd name="T28" fmla="*/ 171 w 576"/>
              <a:gd name="T29" fmla="*/ 275 h 576"/>
              <a:gd name="T30" fmla="*/ 0 w 576"/>
              <a:gd name="T31" fmla="*/ 0 h 576"/>
              <a:gd name="T32" fmla="*/ 159 w 576"/>
              <a:gd name="T33" fmla="*/ 576 h 576"/>
              <a:gd name="T34" fmla="*/ 160 w 576"/>
              <a:gd name="T35" fmla="*/ 576 h 576"/>
              <a:gd name="T36" fmla="*/ 576 w 576"/>
              <a:gd name="T37" fmla="*/ 0 h 576"/>
              <a:gd name="T38" fmla="*/ 179 w 576"/>
              <a:gd name="T39" fmla="*/ 394 h 576"/>
              <a:gd name="T40" fmla="*/ 199 w 576"/>
              <a:gd name="T41" fmla="*/ 379 h 576"/>
              <a:gd name="T42" fmla="*/ 323 w 576"/>
              <a:gd name="T43" fmla="*/ 379 h 576"/>
              <a:gd name="T44" fmla="*/ 344 w 576"/>
              <a:gd name="T45" fmla="*/ 406 h 576"/>
              <a:gd name="T46" fmla="*/ 325 w 576"/>
              <a:gd name="T47" fmla="*/ 411 h 576"/>
              <a:gd name="T48" fmla="*/ 211 w 576"/>
              <a:gd name="T49" fmla="*/ 410 h 576"/>
              <a:gd name="T50" fmla="*/ 320 w 576"/>
              <a:gd name="T51" fmla="*/ 435 h 576"/>
              <a:gd name="T52" fmla="*/ 337 w 576"/>
              <a:gd name="T53" fmla="*/ 435 h 576"/>
              <a:gd name="T54" fmla="*/ 399 w 576"/>
              <a:gd name="T55" fmla="*/ 396 h 576"/>
              <a:gd name="T56" fmla="*/ 485 w 576"/>
              <a:gd name="T57" fmla="*/ 310 h 576"/>
              <a:gd name="T58" fmla="*/ 508 w 576"/>
              <a:gd name="T59" fmla="*/ 309 h 576"/>
              <a:gd name="T60" fmla="*/ 464 w 576"/>
              <a:gd name="T61" fmla="*/ 373 h 576"/>
              <a:gd name="T62" fmla="*/ 376 w 576"/>
              <a:gd name="T63" fmla="*/ 459 h 576"/>
              <a:gd name="T64" fmla="*/ 226 w 576"/>
              <a:gd name="T65" fmla="*/ 477 h 576"/>
              <a:gd name="T66" fmla="*/ 25 w 576"/>
              <a:gd name="T67" fmla="*/ 552 h 576"/>
              <a:gd name="T68" fmla="*/ 551 w 576"/>
              <a:gd name="T69" fmla="*/ 552 h 576"/>
              <a:gd name="T70" fmla="*/ 236 w 576"/>
              <a:gd name="T71" fmla="*/ 502 h 576"/>
              <a:gd name="T72" fmla="*/ 394 w 576"/>
              <a:gd name="T73" fmla="*/ 476 h 576"/>
              <a:gd name="T74" fmla="*/ 482 w 576"/>
              <a:gd name="T75" fmla="*/ 391 h 576"/>
              <a:gd name="T76" fmla="*/ 528 w 576"/>
              <a:gd name="T77" fmla="*/ 293 h 576"/>
              <a:gd name="T78" fmla="*/ 468 w 576"/>
              <a:gd name="T79" fmla="*/ 292 h 576"/>
              <a:gd name="T80" fmla="*/ 381 w 576"/>
              <a:gd name="T81" fmla="*/ 379 h 576"/>
              <a:gd name="T82" fmla="*/ 367 w 576"/>
              <a:gd name="T83" fmla="*/ 374 h 576"/>
              <a:gd name="T84" fmla="*/ 199 w 576"/>
              <a:gd name="T85" fmla="*/ 355 h 576"/>
              <a:gd name="T86" fmla="*/ 161 w 576"/>
              <a:gd name="T87" fmla="*/ 377 h 576"/>
              <a:gd name="T88" fmla="*/ 25 w 576"/>
              <a:gd name="T89" fmla="*/ 25 h 576"/>
              <a:gd name="T90" fmla="*/ 551 w 576"/>
              <a:gd name="T91"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6" h="576">
                <a:moveTo>
                  <a:pt x="414" y="112"/>
                </a:moveTo>
                <a:cubicBezTo>
                  <a:pt x="351" y="112"/>
                  <a:pt x="351" y="112"/>
                  <a:pt x="351" y="112"/>
                </a:cubicBezTo>
                <a:cubicBezTo>
                  <a:pt x="351" y="86"/>
                  <a:pt x="351" y="86"/>
                  <a:pt x="351" y="86"/>
                </a:cubicBezTo>
                <a:cubicBezTo>
                  <a:pt x="351" y="79"/>
                  <a:pt x="345" y="73"/>
                  <a:pt x="338" y="73"/>
                </a:cubicBezTo>
                <a:cubicBezTo>
                  <a:pt x="221" y="73"/>
                  <a:pt x="221" y="73"/>
                  <a:pt x="221" y="73"/>
                </a:cubicBezTo>
                <a:cubicBezTo>
                  <a:pt x="215" y="73"/>
                  <a:pt x="209" y="79"/>
                  <a:pt x="209" y="86"/>
                </a:cubicBezTo>
                <a:cubicBezTo>
                  <a:pt x="209" y="112"/>
                  <a:pt x="209" y="112"/>
                  <a:pt x="209" y="112"/>
                </a:cubicBezTo>
                <a:cubicBezTo>
                  <a:pt x="146" y="112"/>
                  <a:pt x="146" y="112"/>
                  <a:pt x="146" y="112"/>
                </a:cubicBezTo>
                <a:cubicBezTo>
                  <a:pt x="146" y="300"/>
                  <a:pt x="146" y="300"/>
                  <a:pt x="146" y="300"/>
                </a:cubicBezTo>
                <a:cubicBezTo>
                  <a:pt x="414" y="300"/>
                  <a:pt x="414" y="300"/>
                  <a:pt x="414" y="300"/>
                </a:cubicBezTo>
                <a:lnTo>
                  <a:pt x="414" y="112"/>
                </a:lnTo>
                <a:close/>
                <a:moveTo>
                  <a:pt x="234" y="98"/>
                </a:moveTo>
                <a:cubicBezTo>
                  <a:pt x="326" y="98"/>
                  <a:pt x="326" y="98"/>
                  <a:pt x="326" y="98"/>
                </a:cubicBezTo>
                <a:cubicBezTo>
                  <a:pt x="326" y="112"/>
                  <a:pt x="326" y="112"/>
                  <a:pt x="326" y="112"/>
                </a:cubicBezTo>
                <a:cubicBezTo>
                  <a:pt x="234" y="112"/>
                  <a:pt x="234" y="112"/>
                  <a:pt x="234" y="112"/>
                </a:cubicBezTo>
                <a:lnTo>
                  <a:pt x="234" y="98"/>
                </a:lnTo>
                <a:close/>
                <a:moveTo>
                  <a:pt x="221" y="136"/>
                </a:moveTo>
                <a:cubicBezTo>
                  <a:pt x="338" y="136"/>
                  <a:pt x="338" y="136"/>
                  <a:pt x="338" y="136"/>
                </a:cubicBezTo>
                <a:cubicBezTo>
                  <a:pt x="389" y="136"/>
                  <a:pt x="389" y="136"/>
                  <a:pt x="389" y="136"/>
                </a:cubicBezTo>
                <a:cubicBezTo>
                  <a:pt x="389" y="165"/>
                  <a:pt x="389" y="165"/>
                  <a:pt x="389" y="165"/>
                </a:cubicBezTo>
                <a:cubicBezTo>
                  <a:pt x="280" y="197"/>
                  <a:pt x="280" y="197"/>
                  <a:pt x="280" y="197"/>
                </a:cubicBezTo>
                <a:cubicBezTo>
                  <a:pt x="171" y="165"/>
                  <a:pt x="171" y="165"/>
                  <a:pt x="171" y="165"/>
                </a:cubicBezTo>
                <a:cubicBezTo>
                  <a:pt x="171" y="136"/>
                  <a:pt x="171" y="136"/>
                  <a:pt x="171" y="136"/>
                </a:cubicBezTo>
                <a:lnTo>
                  <a:pt x="221" y="136"/>
                </a:lnTo>
                <a:close/>
                <a:moveTo>
                  <a:pt x="171" y="275"/>
                </a:moveTo>
                <a:cubicBezTo>
                  <a:pt x="171" y="191"/>
                  <a:pt x="171" y="191"/>
                  <a:pt x="171" y="191"/>
                </a:cubicBezTo>
                <a:cubicBezTo>
                  <a:pt x="280" y="222"/>
                  <a:pt x="280" y="222"/>
                  <a:pt x="280" y="222"/>
                </a:cubicBezTo>
                <a:cubicBezTo>
                  <a:pt x="389" y="191"/>
                  <a:pt x="389" y="191"/>
                  <a:pt x="389" y="191"/>
                </a:cubicBezTo>
                <a:cubicBezTo>
                  <a:pt x="389" y="275"/>
                  <a:pt x="389" y="275"/>
                  <a:pt x="389" y="275"/>
                </a:cubicBezTo>
                <a:lnTo>
                  <a:pt x="171" y="275"/>
                </a:lnTo>
                <a:close/>
                <a:moveTo>
                  <a:pt x="576" y="0"/>
                </a:moveTo>
                <a:cubicBezTo>
                  <a:pt x="0" y="0"/>
                  <a:pt x="0" y="0"/>
                  <a:pt x="0" y="0"/>
                </a:cubicBezTo>
                <a:cubicBezTo>
                  <a:pt x="0" y="576"/>
                  <a:pt x="0" y="576"/>
                  <a:pt x="0" y="576"/>
                </a:cubicBezTo>
                <a:cubicBezTo>
                  <a:pt x="159" y="576"/>
                  <a:pt x="159" y="576"/>
                  <a:pt x="159" y="576"/>
                </a:cubicBezTo>
                <a:cubicBezTo>
                  <a:pt x="160" y="576"/>
                  <a:pt x="160" y="576"/>
                  <a:pt x="160" y="576"/>
                </a:cubicBezTo>
                <a:cubicBezTo>
                  <a:pt x="160" y="576"/>
                  <a:pt x="160" y="576"/>
                  <a:pt x="160" y="576"/>
                </a:cubicBezTo>
                <a:cubicBezTo>
                  <a:pt x="576" y="576"/>
                  <a:pt x="576" y="576"/>
                  <a:pt x="576" y="576"/>
                </a:cubicBezTo>
                <a:lnTo>
                  <a:pt x="576" y="0"/>
                </a:lnTo>
                <a:close/>
                <a:moveTo>
                  <a:pt x="25" y="547"/>
                </a:moveTo>
                <a:cubicBezTo>
                  <a:pt x="44" y="527"/>
                  <a:pt x="167" y="406"/>
                  <a:pt x="179" y="394"/>
                </a:cubicBezTo>
                <a:cubicBezTo>
                  <a:pt x="181" y="392"/>
                  <a:pt x="184" y="389"/>
                  <a:pt x="186" y="387"/>
                </a:cubicBezTo>
                <a:cubicBezTo>
                  <a:pt x="192" y="380"/>
                  <a:pt x="193" y="379"/>
                  <a:pt x="199" y="379"/>
                </a:cubicBezTo>
                <a:cubicBezTo>
                  <a:pt x="322" y="379"/>
                  <a:pt x="322" y="379"/>
                  <a:pt x="322" y="379"/>
                </a:cubicBezTo>
                <a:cubicBezTo>
                  <a:pt x="323" y="379"/>
                  <a:pt x="323" y="379"/>
                  <a:pt x="323" y="379"/>
                </a:cubicBezTo>
                <a:cubicBezTo>
                  <a:pt x="324" y="379"/>
                  <a:pt x="340" y="377"/>
                  <a:pt x="345" y="386"/>
                </a:cubicBezTo>
                <a:cubicBezTo>
                  <a:pt x="348" y="391"/>
                  <a:pt x="347" y="400"/>
                  <a:pt x="344" y="406"/>
                </a:cubicBezTo>
                <a:cubicBezTo>
                  <a:pt x="343" y="407"/>
                  <a:pt x="342" y="408"/>
                  <a:pt x="340" y="409"/>
                </a:cubicBezTo>
                <a:cubicBezTo>
                  <a:pt x="334" y="411"/>
                  <a:pt x="329" y="411"/>
                  <a:pt x="325" y="411"/>
                </a:cubicBezTo>
                <a:cubicBezTo>
                  <a:pt x="323" y="410"/>
                  <a:pt x="321" y="410"/>
                  <a:pt x="320" y="410"/>
                </a:cubicBezTo>
                <a:cubicBezTo>
                  <a:pt x="211" y="410"/>
                  <a:pt x="211" y="410"/>
                  <a:pt x="211" y="410"/>
                </a:cubicBezTo>
                <a:cubicBezTo>
                  <a:pt x="211" y="435"/>
                  <a:pt x="211" y="435"/>
                  <a:pt x="211" y="435"/>
                </a:cubicBezTo>
                <a:cubicBezTo>
                  <a:pt x="320" y="435"/>
                  <a:pt x="320" y="435"/>
                  <a:pt x="320" y="435"/>
                </a:cubicBezTo>
                <a:cubicBezTo>
                  <a:pt x="321" y="435"/>
                  <a:pt x="322" y="435"/>
                  <a:pt x="324" y="435"/>
                </a:cubicBezTo>
                <a:cubicBezTo>
                  <a:pt x="328" y="435"/>
                  <a:pt x="333" y="435"/>
                  <a:pt x="337" y="435"/>
                </a:cubicBezTo>
                <a:cubicBezTo>
                  <a:pt x="342" y="435"/>
                  <a:pt x="346" y="434"/>
                  <a:pt x="350" y="432"/>
                </a:cubicBezTo>
                <a:cubicBezTo>
                  <a:pt x="363" y="428"/>
                  <a:pt x="379" y="418"/>
                  <a:pt x="399" y="396"/>
                </a:cubicBezTo>
                <a:cubicBezTo>
                  <a:pt x="432" y="359"/>
                  <a:pt x="468" y="326"/>
                  <a:pt x="482" y="313"/>
                </a:cubicBezTo>
                <a:cubicBezTo>
                  <a:pt x="485" y="310"/>
                  <a:pt x="485" y="310"/>
                  <a:pt x="485" y="310"/>
                </a:cubicBezTo>
                <a:cubicBezTo>
                  <a:pt x="488" y="307"/>
                  <a:pt x="495" y="304"/>
                  <a:pt x="500" y="304"/>
                </a:cubicBezTo>
                <a:cubicBezTo>
                  <a:pt x="504" y="305"/>
                  <a:pt x="506" y="306"/>
                  <a:pt x="508" y="309"/>
                </a:cubicBezTo>
                <a:cubicBezTo>
                  <a:pt x="516" y="318"/>
                  <a:pt x="508" y="330"/>
                  <a:pt x="507" y="332"/>
                </a:cubicBezTo>
                <a:cubicBezTo>
                  <a:pt x="503" y="335"/>
                  <a:pt x="485" y="353"/>
                  <a:pt x="464" y="373"/>
                </a:cubicBezTo>
                <a:cubicBezTo>
                  <a:pt x="429" y="407"/>
                  <a:pt x="385" y="450"/>
                  <a:pt x="377" y="459"/>
                </a:cubicBezTo>
                <a:cubicBezTo>
                  <a:pt x="376" y="459"/>
                  <a:pt x="376" y="459"/>
                  <a:pt x="376" y="459"/>
                </a:cubicBezTo>
                <a:cubicBezTo>
                  <a:pt x="370" y="466"/>
                  <a:pt x="360" y="477"/>
                  <a:pt x="339" y="477"/>
                </a:cubicBezTo>
                <a:cubicBezTo>
                  <a:pt x="226" y="477"/>
                  <a:pt x="226" y="477"/>
                  <a:pt x="226" y="477"/>
                </a:cubicBezTo>
                <a:cubicBezTo>
                  <a:pt x="150" y="552"/>
                  <a:pt x="150" y="552"/>
                  <a:pt x="150" y="552"/>
                </a:cubicBezTo>
                <a:cubicBezTo>
                  <a:pt x="25" y="552"/>
                  <a:pt x="25" y="552"/>
                  <a:pt x="25" y="552"/>
                </a:cubicBezTo>
                <a:lnTo>
                  <a:pt x="25" y="547"/>
                </a:lnTo>
                <a:close/>
                <a:moveTo>
                  <a:pt x="551" y="552"/>
                </a:moveTo>
                <a:cubicBezTo>
                  <a:pt x="185" y="552"/>
                  <a:pt x="185" y="552"/>
                  <a:pt x="185" y="552"/>
                </a:cubicBezTo>
                <a:cubicBezTo>
                  <a:pt x="236" y="502"/>
                  <a:pt x="236" y="502"/>
                  <a:pt x="236" y="502"/>
                </a:cubicBezTo>
                <a:cubicBezTo>
                  <a:pt x="339" y="502"/>
                  <a:pt x="339" y="502"/>
                  <a:pt x="339" y="502"/>
                </a:cubicBezTo>
                <a:cubicBezTo>
                  <a:pt x="370" y="502"/>
                  <a:pt x="386" y="484"/>
                  <a:pt x="394" y="476"/>
                </a:cubicBezTo>
                <a:cubicBezTo>
                  <a:pt x="395" y="476"/>
                  <a:pt x="395" y="476"/>
                  <a:pt x="395" y="476"/>
                </a:cubicBezTo>
                <a:cubicBezTo>
                  <a:pt x="402" y="468"/>
                  <a:pt x="448" y="423"/>
                  <a:pt x="482" y="391"/>
                </a:cubicBezTo>
                <a:cubicBezTo>
                  <a:pt x="503" y="369"/>
                  <a:pt x="521" y="352"/>
                  <a:pt x="524" y="349"/>
                </a:cubicBezTo>
                <a:cubicBezTo>
                  <a:pt x="535" y="338"/>
                  <a:pt x="544" y="313"/>
                  <a:pt x="528" y="293"/>
                </a:cubicBezTo>
                <a:cubicBezTo>
                  <a:pt x="521" y="285"/>
                  <a:pt x="512" y="281"/>
                  <a:pt x="502" y="280"/>
                </a:cubicBezTo>
                <a:cubicBezTo>
                  <a:pt x="488" y="279"/>
                  <a:pt x="475" y="286"/>
                  <a:pt x="468" y="292"/>
                </a:cubicBezTo>
                <a:cubicBezTo>
                  <a:pt x="465" y="295"/>
                  <a:pt x="465" y="295"/>
                  <a:pt x="465" y="295"/>
                </a:cubicBezTo>
                <a:cubicBezTo>
                  <a:pt x="451" y="308"/>
                  <a:pt x="414" y="342"/>
                  <a:pt x="381" y="379"/>
                </a:cubicBezTo>
                <a:cubicBezTo>
                  <a:pt x="377" y="383"/>
                  <a:pt x="374" y="386"/>
                  <a:pt x="371" y="389"/>
                </a:cubicBezTo>
                <a:cubicBezTo>
                  <a:pt x="370" y="384"/>
                  <a:pt x="369" y="379"/>
                  <a:pt x="367" y="374"/>
                </a:cubicBezTo>
                <a:cubicBezTo>
                  <a:pt x="357" y="356"/>
                  <a:pt x="334" y="353"/>
                  <a:pt x="321" y="355"/>
                </a:cubicBezTo>
                <a:cubicBezTo>
                  <a:pt x="199" y="355"/>
                  <a:pt x="199" y="355"/>
                  <a:pt x="199" y="355"/>
                </a:cubicBezTo>
                <a:cubicBezTo>
                  <a:pt x="182" y="355"/>
                  <a:pt x="175" y="362"/>
                  <a:pt x="168" y="370"/>
                </a:cubicBezTo>
                <a:cubicBezTo>
                  <a:pt x="166" y="372"/>
                  <a:pt x="164" y="374"/>
                  <a:pt x="161" y="377"/>
                </a:cubicBezTo>
                <a:cubicBezTo>
                  <a:pt x="152" y="386"/>
                  <a:pt x="65" y="473"/>
                  <a:pt x="25" y="513"/>
                </a:cubicBezTo>
                <a:cubicBezTo>
                  <a:pt x="25" y="25"/>
                  <a:pt x="25" y="25"/>
                  <a:pt x="25" y="25"/>
                </a:cubicBezTo>
                <a:cubicBezTo>
                  <a:pt x="551" y="25"/>
                  <a:pt x="551" y="25"/>
                  <a:pt x="551" y="25"/>
                </a:cubicBezTo>
                <a:lnTo>
                  <a:pt x="551" y="552"/>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33" name="TextBox 3">
            <a:extLst>
              <a:ext uri="{FF2B5EF4-FFF2-40B4-BE49-F238E27FC236}">
                <a16:creationId xmlns:a16="http://schemas.microsoft.com/office/drawing/2014/main" id="{535C71E8-ECFC-46DC-AA72-5B5974C344B7}"/>
              </a:ext>
            </a:extLst>
          </p:cNvPr>
          <p:cNvSpPr txBox="1"/>
          <p:nvPr/>
        </p:nvSpPr>
        <p:spPr>
          <a:xfrm>
            <a:off x="1999969" y="2269265"/>
            <a:ext cx="9591577" cy="310983"/>
          </a:xfrm>
          <a:prstGeom prst="rect">
            <a:avLst/>
          </a:prstGeom>
        </p:spPr>
        <p:txBody>
          <a:bodyPr lIns="0" tIns="0" rIns="0" bIns="0" rtlCol="0" anchor="t">
            <a:spAutoFit/>
          </a:bodyPr>
          <a:lstStyle/>
          <a:p>
            <a:pPr>
              <a:lnSpc>
                <a:spcPts val="2640"/>
              </a:lnSpc>
              <a:spcBef>
                <a:spcPct val="0"/>
              </a:spcBef>
            </a:pPr>
            <a:r>
              <a:rPr lang="en-US" dirty="0" err="1"/>
              <a:t>Eξ</a:t>
            </a:r>
            <a:r>
              <a:rPr lang="en-US" dirty="0"/>
              <a:t>αμηνιαί</a:t>
            </a:r>
            <a:r>
              <a:rPr lang="el-GR" dirty="0" err="1"/>
              <a:t>ες</a:t>
            </a:r>
            <a:r>
              <a:rPr lang="en-US" dirty="0"/>
              <a:t> </a:t>
            </a:r>
            <a:r>
              <a:rPr lang="el-GR" dirty="0"/>
              <a:t>αναφορές προόδου </a:t>
            </a:r>
            <a:r>
              <a:rPr lang="en-US" dirty="0" err="1"/>
              <a:t>με</a:t>
            </a:r>
            <a:r>
              <a:rPr lang="en-US" dirty="0"/>
              <a:t> </a:t>
            </a:r>
            <a:r>
              <a:rPr lang="en-US" dirty="0" err="1"/>
              <a:t>δείκτες</a:t>
            </a:r>
            <a:r>
              <a:rPr lang="en-US" dirty="0"/>
              <a:t> </a:t>
            </a:r>
            <a:r>
              <a:rPr lang="en-US" dirty="0" err="1"/>
              <a:t>υλο</a:t>
            </a:r>
            <a:r>
              <a:rPr lang="en-US" dirty="0"/>
              <a:t>ποίησης</a:t>
            </a:r>
            <a:endParaRPr lang="el-GR" dirty="0"/>
          </a:p>
        </p:txBody>
      </p:sp>
      <p:sp>
        <p:nvSpPr>
          <p:cNvPr id="34" name="Graphic 32">
            <a:extLst>
              <a:ext uri="{FF2B5EF4-FFF2-40B4-BE49-F238E27FC236}">
                <a16:creationId xmlns:a16="http://schemas.microsoft.com/office/drawing/2014/main" id="{12A0E66C-80DB-489B-98F8-9977375EEFEE}"/>
              </a:ext>
            </a:extLst>
          </p:cNvPr>
          <p:cNvSpPr/>
          <p:nvPr/>
        </p:nvSpPr>
        <p:spPr>
          <a:xfrm>
            <a:off x="1366329" y="5130734"/>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 name="connsiteX8" fmla="*/ 35116 w 457200"/>
              <a:gd name="connsiteY8" fmla="*/ 200438 h 457200"/>
              <a:gd name="connsiteX9" fmla="*/ 109379 w 457200"/>
              <a:gd name="connsiteY9" fmla="*/ 125127 h 457200"/>
              <a:gd name="connsiteX10" fmla="*/ 251709 w 457200"/>
              <a:gd name="connsiteY10" fmla="*/ 65939 h 457200"/>
              <a:gd name="connsiteX11" fmla="*/ 302768 w 457200"/>
              <a:gd name="connsiteY11" fmla="*/ 109252 h 457200"/>
              <a:gd name="connsiteX12" fmla="*/ 368560 w 457200"/>
              <a:gd name="connsiteY12" fmla="*/ 121640 h 457200"/>
              <a:gd name="connsiteX13" fmla="*/ 376809 w 457200"/>
              <a:gd name="connsiteY13" fmla="*/ 148368 h 457200"/>
              <a:gd name="connsiteX14" fmla="*/ 376301 w 457200"/>
              <a:gd name="connsiteY14" fmla="*/ 155448 h 457200"/>
              <a:gd name="connsiteX15" fmla="*/ 420246 w 457200"/>
              <a:gd name="connsiteY15" fmla="*/ 229929 h 457200"/>
              <a:gd name="connsiteX16" fmla="*/ 360902 w 457200"/>
              <a:gd name="connsiteY16" fmla="*/ 275812 h 457200"/>
              <a:gd name="connsiteX17" fmla="*/ 293370 w 457200"/>
              <a:gd name="connsiteY17" fmla="*/ 275812 h 457200"/>
              <a:gd name="connsiteX18" fmla="*/ 293370 w 457200"/>
              <a:gd name="connsiteY18" fmla="*/ 256318 h 457200"/>
              <a:gd name="connsiteX19" fmla="*/ 360902 w 457200"/>
              <a:gd name="connsiteY19" fmla="*/ 256318 h 457200"/>
              <a:gd name="connsiteX20" fmla="*/ 402742 w 457200"/>
              <a:gd name="connsiteY20" fmla="*/ 214847 h 457200"/>
              <a:gd name="connsiteX21" fmla="*/ 363379 w 457200"/>
              <a:gd name="connsiteY21" fmla="*/ 173069 h 457200"/>
              <a:gd name="connsiteX22" fmla="*/ 349441 w 457200"/>
              <a:gd name="connsiteY22" fmla="*/ 172244 h 457200"/>
              <a:gd name="connsiteX23" fmla="*/ 355029 w 457200"/>
              <a:gd name="connsiteY23" fmla="*/ 159544 h 457200"/>
              <a:gd name="connsiteX24" fmla="*/ 340833 w 457200"/>
              <a:gd name="connsiteY24" fmla="*/ 122813 h 457200"/>
              <a:gd name="connsiteX25" fmla="*/ 307753 w 457200"/>
              <a:gd name="connsiteY25" fmla="*/ 130969 h 457200"/>
              <a:gd name="connsiteX26" fmla="*/ 297942 w 457200"/>
              <a:gd name="connsiteY26" fmla="*/ 143161 h 457200"/>
              <a:gd name="connsiteX27" fmla="*/ 291338 w 457200"/>
              <a:gd name="connsiteY27" fmla="*/ 128969 h 457200"/>
              <a:gd name="connsiteX28" fmla="*/ 172330 w 457200"/>
              <a:gd name="connsiteY28" fmla="*/ 85723 h 457200"/>
              <a:gd name="connsiteX29" fmla="*/ 125286 w 457200"/>
              <a:gd name="connsiteY29" fmla="*/ 138494 h 457200"/>
              <a:gd name="connsiteX30" fmla="*/ 122841 w 457200"/>
              <a:gd name="connsiteY30" fmla="*/ 145764 h 457200"/>
              <a:gd name="connsiteX31" fmla="*/ 115221 w 457200"/>
              <a:gd name="connsiteY31" fmla="*/ 145098 h 457200"/>
              <a:gd name="connsiteX32" fmla="*/ 110395 w 457200"/>
              <a:gd name="connsiteY32" fmla="*/ 144844 h 457200"/>
              <a:gd name="connsiteX33" fmla="*/ 54578 w 457200"/>
              <a:gd name="connsiteY33" fmla="*/ 200660 h 457200"/>
              <a:gd name="connsiteX34" fmla="*/ 110395 w 457200"/>
              <a:gd name="connsiteY34" fmla="*/ 256477 h 457200"/>
              <a:gd name="connsiteX35" fmla="*/ 171450 w 457200"/>
              <a:gd name="connsiteY35" fmla="*/ 256477 h 457200"/>
              <a:gd name="connsiteX36" fmla="*/ 171450 w 457200"/>
              <a:gd name="connsiteY36" fmla="*/ 275971 h 457200"/>
              <a:gd name="connsiteX37" fmla="*/ 110871 w 457200"/>
              <a:gd name="connsiteY37" fmla="*/ 275971 h 457200"/>
              <a:gd name="connsiteX38" fmla="*/ 35116 w 457200"/>
              <a:gd name="connsiteY38" fmla="*/ 200724 h 457200"/>
              <a:gd name="connsiteX39" fmla="*/ 35116 w 457200"/>
              <a:gd name="connsiteY39" fmla="*/ 200724 h 457200"/>
              <a:gd name="connsiteX40" fmla="*/ 228600 w 457200"/>
              <a:gd name="connsiteY40" fmla="*/ 170275 h 457200"/>
              <a:gd name="connsiteX41" fmla="*/ 286131 w 457200"/>
              <a:gd name="connsiteY41" fmla="*/ 227806 h 457200"/>
              <a:gd name="connsiteX42" fmla="*/ 272352 w 457200"/>
              <a:gd name="connsiteY42" fmla="*/ 241713 h 457200"/>
              <a:gd name="connsiteX43" fmla="*/ 238347 w 457200"/>
              <a:gd name="connsiteY43" fmla="*/ 207581 h 457200"/>
              <a:gd name="connsiteX44" fmla="*/ 238347 w 457200"/>
              <a:gd name="connsiteY44" fmla="*/ 318707 h 457200"/>
              <a:gd name="connsiteX45" fmla="*/ 218853 w 457200"/>
              <a:gd name="connsiteY45" fmla="*/ 318707 h 457200"/>
              <a:gd name="connsiteX46" fmla="*/ 218853 w 457200"/>
              <a:gd name="connsiteY46" fmla="*/ 207581 h 457200"/>
              <a:gd name="connsiteX47" fmla="*/ 184849 w 457200"/>
              <a:gd name="connsiteY47" fmla="*/ 241713 h 457200"/>
              <a:gd name="connsiteX48" fmla="*/ 171069 w 457200"/>
              <a:gd name="connsiteY48" fmla="*/ 227933 h 457200"/>
              <a:gd name="connsiteX49" fmla="*/ 293148 w 457200"/>
              <a:gd name="connsiteY49" fmla="*/ 411893 h 457200"/>
              <a:gd name="connsiteX50" fmla="*/ 171069 w 457200"/>
              <a:gd name="connsiteY50" fmla="*/ 411893 h 457200"/>
              <a:gd name="connsiteX51" fmla="*/ 171069 w 457200"/>
              <a:gd name="connsiteY51" fmla="*/ 392398 h 457200"/>
              <a:gd name="connsiteX52" fmla="*/ 293148 w 457200"/>
              <a:gd name="connsiteY52" fmla="*/ 392398 h 457200"/>
              <a:gd name="connsiteX53" fmla="*/ 293148 w 457200"/>
              <a:gd name="connsiteY53" fmla="*/ 352044 h 457200"/>
              <a:gd name="connsiteX54" fmla="*/ 171069 w 457200"/>
              <a:gd name="connsiteY54" fmla="*/ 352044 h 457200"/>
              <a:gd name="connsiteX55" fmla="*/ 171069 w 457200"/>
              <a:gd name="connsiteY55" fmla="*/ 332550 h 457200"/>
              <a:gd name="connsiteX56" fmla="*/ 293148 w 457200"/>
              <a:gd name="connsiteY56" fmla="*/ 332550 h 457200"/>
              <a:gd name="connsiteX57" fmla="*/ 293148 w 457200"/>
              <a:gd name="connsiteY57" fmla="*/ 381953 h 457200"/>
              <a:gd name="connsiteX58" fmla="*/ 171069 w 457200"/>
              <a:gd name="connsiteY58" fmla="*/ 381953 h 457200"/>
              <a:gd name="connsiteX59" fmla="*/ 171069 w 457200"/>
              <a:gd name="connsiteY59" fmla="*/ 362458 h 457200"/>
              <a:gd name="connsiteX60" fmla="*/ 293148 w 457200"/>
              <a:gd name="connsiteY60" fmla="*/ 362458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moveTo>
                  <a:pt x="35116" y="200438"/>
                </a:moveTo>
                <a:cubicBezTo>
                  <a:pt x="35129" y="159257"/>
                  <a:pt x="68202" y="125717"/>
                  <a:pt x="109379" y="125127"/>
                </a:cubicBezTo>
                <a:cubicBezTo>
                  <a:pt x="132338" y="69479"/>
                  <a:pt x="196061" y="42980"/>
                  <a:pt x="251709" y="65939"/>
                </a:cubicBezTo>
                <a:cubicBezTo>
                  <a:pt x="272851" y="74662"/>
                  <a:pt x="290714" y="89815"/>
                  <a:pt x="302768" y="109252"/>
                </a:cubicBezTo>
                <a:cubicBezTo>
                  <a:pt x="324358" y="94505"/>
                  <a:pt x="353812" y="100051"/>
                  <a:pt x="368560" y="121640"/>
                </a:cubicBezTo>
                <a:cubicBezTo>
                  <a:pt x="373939" y="129515"/>
                  <a:pt x="376815" y="138831"/>
                  <a:pt x="376809" y="148368"/>
                </a:cubicBezTo>
                <a:cubicBezTo>
                  <a:pt x="376815" y="150737"/>
                  <a:pt x="376644" y="153104"/>
                  <a:pt x="376301" y="155448"/>
                </a:cubicBezTo>
                <a:cubicBezTo>
                  <a:pt x="409004" y="163880"/>
                  <a:pt x="428679" y="197227"/>
                  <a:pt x="420246" y="229929"/>
                </a:cubicBezTo>
                <a:cubicBezTo>
                  <a:pt x="413271" y="256986"/>
                  <a:pt x="388842" y="275872"/>
                  <a:pt x="360902" y="275812"/>
                </a:cubicBezTo>
                <a:lnTo>
                  <a:pt x="293370" y="275812"/>
                </a:lnTo>
                <a:lnTo>
                  <a:pt x="293370" y="256318"/>
                </a:lnTo>
                <a:lnTo>
                  <a:pt x="360902" y="256318"/>
                </a:lnTo>
                <a:cubicBezTo>
                  <a:pt x="383908" y="256420"/>
                  <a:pt x="402641" y="237853"/>
                  <a:pt x="402742" y="214847"/>
                </a:cubicBezTo>
                <a:cubicBezTo>
                  <a:pt x="402841" y="192660"/>
                  <a:pt x="385531" y="174290"/>
                  <a:pt x="363379" y="173069"/>
                </a:cubicBezTo>
                <a:lnTo>
                  <a:pt x="349441" y="172244"/>
                </a:lnTo>
                <a:lnTo>
                  <a:pt x="355029" y="159544"/>
                </a:lnTo>
                <a:cubicBezTo>
                  <a:pt x="361252" y="145481"/>
                  <a:pt x="354895" y="129036"/>
                  <a:pt x="340833" y="122813"/>
                </a:cubicBezTo>
                <a:cubicBezTo>
                  <a:pt x="329235" y="117680"/>
                  <a:pt x="315636" y="121034"/>
                  <a:pt x="307753" y="130969"/>
                </a:cubicBezTo>
                <a:lnTo>
                  <a:pt x="297942" y="143161"/>
                </a:lnTo>
                <a:lnTo>
                  <a:pt x="291338" y="128969"/>
                </a:lnTo>
                <a:cubicBezTo>
                  <a:pt x="270417" y="84164"/>
                  <a:pt x="217135" y="64802"/>
                  <a:pt x="172330" y="85723"/>
                </a:cubicBezTo>
                <a:cubicBezTo>
                  <a:pt x="150074" y="96116"/>
                  <a:pt x="133065" y="115195"/>
                  <a:pt x="125286" y="138494"/>
                </a:cubicBezTo>
                <a:lnTo>
                  <a:pt x="122841" y="145764"/>
                </a:lnTo>
                <a:lnTo>
                  <a:pt x="115221" y="145098"/>
                </a:lnTo>
                <a:cubicBezTo>
                  <a:pt x="113633" y="145098"/>
                  <a:pt x="112046" y="144844"/>
                  <a:pt x="110395" y="144844"/>
                </a:cubicBezTo>
                <a:cubicBezTo>
                  <a:pt x="79568" y="144844"/>
                  <a:pt x="54578" y="169833"/>
                  <a:pt x="54578" y="200660"/>
                </a:cubicBezTo>
                <a:cubicBezTo>
                  <a:pt x="54578" y="231487"/>
                  <a:pt x="79568" y="256477"/>
                  <a:pt x="110395" y="256477"/>
                </a:cubicBezTo>
                <a:lnTo>
                  <a:pt x="171450" y="256477"/>
                </a:lnTo>
                <a:lnTo>
                  <a:pt x="171450" y="275971"/>
                </a:lnTo>
                <a:lnTo>
                  <a:pt x="110871" y="275971"/>
                </a:lnTo>
                <a:cubicBezTo>
                  <a:pt x="69173" y="276112"/>
                  <a:pt x="35256" y="242422"/>
                  <a:pt x="35116" y="200724"/>
                </a:cubicBezTo>
                <a:cubicBezTo>
                  <a:pt x="35116" y="200724"/>
                  <a:pt x="35116" y="200724"/>
                  <a:pt x="35116" y="200724"/>
                </a:cubicBezTo>
                <a:close/>
                <a:moveTo>
                  <a:pt x="228600" y="170275"/>
                </a:moveTo>
                <a:lnTo>
                  <a:pt x="286131" y="227806"/>
                </a:lnTo>
                <a:lnTo>
                  <a:pt x="272352" y="241713"/>
                </a:lnTo>
                <a:lnTo>
                  <a:pt x="238347" y="207581"/>
                </a:lnTo>
                <a:lnTo>
                  <a:pt x="238347" y="318707"/>
                </a:lnTo>
                <a:lnTo>
                  <a:pt x="218853" y="318707"/>
                </a:lnTo>
                <a:lnTo>
                  <a:pt x="218853" y="207581"/>
                </a:lnTo>
                <a:lnTo>
                  <a:pt x="184849" y="241713"/>
                </a:lnTo>
                <a:lnTo>
                  <a:pt x="171069" y="227933"/>
                </a:lnTo>
                <a:close/>
                <a:moveTo>
                  <a:pt x="293148" y="411893"/>
                </a:moveTo>
                <a:lnTo>
                  <a:pt x="171069" y="411893"/>
                </a:lnTo>
                <a:lnTo>
                  <a:pt x="171069" y="392398"/>
                </a:lnTo>
                <a:lnTo>
                  <a:pt x="293148" y="392398"/>
                </a:lnTo>
                <a:close/>
                <a:moveTo>
                  <a:pt x="293148" y="352044"/>
                </a:moveTo>
                <a:lnTo>
                  <a:pt x="171069" y="352044"/>
                </a:lnTo>
                <a:lnTo>
                  <a:pt x="171069" y="332550"/>
                </a:lnTo>
                <a:lnTo>
                  <a:pt x="293148" y="332550"/>
                </a:lnTo>
                <a:close/>
                <a:moveTo>
                  <a:pt x="293148" y="381953"/>
                </a:moveTo>
                <a:lnTo>
                  <a:pt x="171069" y="381953"/>
                </a:lnTo>
                <a:lnTo>
                  <a:pt x="171069" y="362458"/>
                </a:lnTo>
                <a:lnTo>
                  <a:pt x="293148" y="362458"/>
                </a:lnTo>
                <a:close/>
              </a:path>
            </a:pathLst>
          </a:custGeom>
          <a:solidFill>
            <a:srgbClr val="013476"/>
          </a:solidFill>
          <a:ln w="3175" cap="flat">
            <a:noFill/>
            <a:prstDash val="solid"/>
            <a:miter/>
          </a:ln>
        </p:spPr>
        <p:txBody>
          <a:bodyPr rtlCol="0" anchor="ctr"/>
          <a:lstStyle/>
          <a:p>
            <a:endParaRPr lang="en-GB" sz="700" dirty="0">
              <a:solidFill>
                <a:schemeClr val="accent1"/>
              </a:solidFill>
            </a:endParaRPr>
          </a:p>
        </p:txBody>
      </p:sp>
      <p:sp>
        <p:nvSpPr>
          <p:cNvPr id="35" name="TextBox 14">
            <a:extLst>
              <a:ext uri="{FF2B5EF4-FFF2-40B4-BE49-F238E27FC236}">
                <a16:creationId xmlns:a16="http://schemas.microsoft.com/office/drawing/2014/main" id="{51CE97A4-8A49-4E4E-8537-AEEFCAB7FB02}"/>
              </a:ext>
            </a:extLst>
          </p:cNvPr>
          <p:cNvSpPr txBox="1"/>
          <p:nvPr/>
        </p:nvSpPr>
        <p:spPr>
          <a:xfrm>
            <a:off x="2007015" y="5870163"/>
            <a:ext cx="9365629" cy="310983"/>
          </a:xfrm>
          <a:prstGeom prst="rect">
            <a:avLst/>
          </a:prstGeom>
        </p:spPr>
        <p:txBody>
          <a:bodyPr lIns="0" tIns="0" rIns="0" bIns="0" rtlCol="0" anchor="t">
            <a:spAutoFit/>
          </a:bodyPr>
          <a:lstStyle/>
          <a:p>
            <a:pPr>
              <a:lnSpc>
                <a:spcPts val="2640"/>
              </a:lnSpc>
            </a:pPr>
            <a:r>
              <a:rPr lang="en-US" dirty="0"/>
              <a:t>Επ</a:t>
            </a:r>
            <a:r>
              <a:rPr lang="en-US" dirty="0" err="1"/>
              <a:t>ιμόρφωση</a:t>
            </a:r>
            <a:r>
              <a:rPr lang="el-GR" dirty="0"/>
              <a:t> - </a:t>
            </a:r>
            <a:r>
              <a:rPr lang="en-US" dirty="0" err="1"/>
              <a:t>Στοχευμέν</a:t>
            </a:r>
            <a:r>
              <a:rPr lang="en-US" dirty="0"/>
              <a:t>α προγράμματα για τον Στρατηγικό και Επιχειρησιακό Σχεδιασμό </a:t>
            </a:r>
          </a:p>
        </p:txBody>
      </p:sp>
      <p:sp>
        <p:nvSpPr>
          <p:cNvPr id="36" name="Freeform 73">
            <a:extLst>
              <a:ext uri="{FF2B5EF4-FFF2-40B4-BE49-F238E27FC236}">
                <a16:creationId xmlns:a16="http://schemas.microsoft.com/office/drawing/2014/main" id="{04AD2911-C970-41B3-B5B4-203C83016188}"/>
              </a:ext>
            </a:extLst>
          </p:cNvPr>
          <p:cNvSpPr>
            <a:spLocks noChangeAspect="1" noEditPoints="1"/>
          </p:cNvSpPr>
          <p:nvPr/>
        </p:nvSpPr>
        <p:spPr bwMode="auto">
          <a:xfrm>
            <a:off x="1338899" y="5790034"/>
            <a:ext cx="538470" cy="5400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4 h 576"/>
              <a:gd name="T16" fmla="*/ 551 w 576"/>
              <a:gd name="T17" fmla="*/ 24 h 576"/>
              <a:gd name="T18" fmla="*/ 551 w 576"/>
              <a:gd name="T19" fmla="*/ 551 h 576"/>
              <a:gd name="T20" fmla="*/ 60 w 576"/>
              <a:gd name="T21" fmla="*/ 238 h 576"/>
              <a:gd name="T22" fmla="*/ 135 w 576"/>
              <a:gd name="T23" fmla="*/ 260 h 576"/>
              <a:gd name="T24" fmla="*/ 135 w 576"/>
              <a:gd name="T25" fmla="*/ 352 h 576"/>
              <a:gd name="T26" fmla="*/ 140 w 576"/>
              <a:gd name="T27" fmla="*/ 355 h 576"/>
              <a:gd name="T28" fmla="*/ 289 w 576"/>
              <a:gd name="T29" fmla="*/ 407 h 576"/>
              <a:gd name="T30" fmla="*/ 416 w 576"/>
              <a:gd name="T31" fmla="*/ 369 h 576"/>
              <a:gd name="T32" fmla="*/ 416 w 576"/>
              <a:gd name="T33" fmla="*/ 406 h 576"/>
              <a:gd name="T34" fmla="*/ 390 w 576"/>
              <a:gd name="T35" fmla="*/ 451 h 576"/>
              <a:gd name="T36" fmla="*/ 411 w 576"/>
              <a:gd name="T37" fmla="*/ 463 h 576"/>
              <a:gd name="T38" fmla="*/ 428 w 576"/>
              <a:gd name="T39" fmla="*/ 434 h 576"/>
              <a:gd name="T40" fmla="*/ 446 w 576"/>
              <a:gd name="T41" fmla="*/ 463 h 576"/>
              <a:gd name="T42" fmla="*/ 467 w 576"/>
              <a:gd name="T43" fmla="*/ 451 h 576"/>
              <a:gd name="T44" fmla="*/ 441 w 576"/>
              <a:gd name="T45" fmla="*/ 406 h 576"/>
              <a:gd name="T46" fmla="*/ 441 w 576"/>
              <a:gd name="T47" fmla="*/ 352 h 576"/>
              <a:gd name="T48" fmla="*/ 441 w 576"/>
              <a:gd name="T49" fmla="*/ 258 h 576"/>
              <a:gd name="T50" fmla="*/ 516 w 576"/>
              <a:gd name="T51" fmla="*/ 236 h 576"/>
              <a:gd name="T52" fmla="*/ 525 w 576"/>
              <a:gd name="T53" fmla="*/ 224 h 576"/>
              <a:gd name="T54" fmla="*/ 516 w 576"/>
              <a:gd name="T55" fmla="*/ 212 h 576"/>
              <a:gd name="T56" fmla="*/ 287 w 576"/>
              <a:gd name="T57" fmla="*/ 151 h 576"/>
              <a:gd name="T58" fmla="*/ 60 w 576"/>
              <a:gd name="T59" fmla="*/ 215 h 576"/>
              <a:gd name="T60" fmla="*/ 51 w 576"/>
              <a:gd name="T61" fmla="*/ 227 h 576"/>
              <a:gd name="T62" fmla="*/ 60 w 576"/>
              <a:gd name="T63" fmla="*/ 238 h 576"/>
              <a:gd name="T64" fmla="*/ 289 w 576"/>
              <a:gd name="T65" fmla="*/ 383 h 576"/>
              <a:gd name="T66" fmla="*/ 160 w 576"/>
              <a:gd name="T67" fmla="*/ 340 h 576"/>
              <a:gd name="T68" fmla="*/ 160 w 576"/>
              <a:gd name="T69" fmla="*/ 267 h 576"/>
              <a:gd name="T70" fmla="*/ 283 w 576"/>
              <a:gd name="T71" fmla="*/ 302 h 576"/>
              <a:gd name="T72" fmla="*/ 283 w 576"/>
              <a:gd name="T73" fmla="*/ 302 h 576"/>
              <a:gd name="T74" fmla="*/ 287 w 576"/>
              <a:gd name="T75" fmla="*/ 302 h 576"/>
              <a:gd name="T76" fmla="*/ 416 w 576"/>
              <a:gd name="T77" fmla="*/ 267 h 576"/>
              <a:gd name="T78" fmla="*/ 416 w 576"/>
              <a:gd name="T79" fmla="*/ 340 h 576"/>
              <a:gd name="T80" fmla="*/ 289 w 576"/>
              <a:gd name="T81" fmla="*/ 383 h 576"/>
              <a:gd name="T82" fmla="*/ 287 w 576"/>
              <a:gd name="T83" fmla="*/ 176 h 576"/>
              <a:gd name="T84" fmla="*/ 467 w 576"/>
              <a:gd name="T85" fmla="*/ 225 h 576"/>
              <a:gd name="T86" fmla="*/ 424 w 576"/>
              <a:gd name="T87" fmla="*/ 237 h 576"/>
              <a:gd name="T88" fmla="*/ 291 w 576"/>
              <a:gd name="T89" fmla="*/ 209 h 576"/>
              <a:gd name="T90" fmla="*/ 276 w 576"/>
              <a:gd name="T91" fmla="*/ 218 h 576"/>
              <a:gd name="T92" fmla="*/ 285 w 576"/>
              <a:gd name="T93" fmla="*/ 233 h 576"/>
              <a:gd name="T94" fmla="*/ 374 w 576"/>
              <a:gd name="T95" fmla="*/ 251 h 576"/>
              <a:gd name="T96" fmla="*/ 287 w 576"/>
              <a:gd name="T97" fmla="*/ 277 h 576"/>
              <a:gd name="T98" fmla="*/ 135 w 576"/>
              <a:gd name="T99" fmla="*/ 234 h 576"/>
              <a:gd name="T100" fmla="*/ 135 w 576"/>
              <a:gd name="T101" fmla="*/ 234 h 576"/>
              <a:gd name="T102" fmla="*/ 108 w 576"/>
              <a:gd name="T103" fmla="*/ 227 h 576"/>
              <a:gd name="T104" fmla="*/ 287 w 576"/>
              <a:gd name="T105" fmla="*/ 1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60" y="238"/>
                </a:moveTo>
                <a:cubicBezTo>
                  <a:pt x="135" y="260"/>
                  <a:pt x="135" y="260"/>
                  <a:pt x="135" y="260"/>
                </a:cubicBezTo>
                <a:cubicBezTo>
                  <a:pt x="135" y="352"/>
                  <a:pt x="135" y="352"/>
                  <a:pt x="135" y="352"/>
                </a:cubicBezTo>
                <a:cubicBezTo>
                  <a:pt x="140" y="355"/>
                  <a:pt x="140" y="355"/>
                  <a:pt x="140" y="355"/>
                </a:cubicBezTo>
                <a:cubicBezTo>
                  <a:pt x="182" y="389"/>
                  <a:pt x="235" y="407"/>
                  <a:pt x="289" y="407"/>
                </a:cubicBezTo>
                <a:cubicBezTo>
                  <a:pt x="333" y="407"/>
                  <a:pt x="378" y="394"/>
                  <a:pt x="416" y="369"/>
                </a:cubicBezTo>
                <a:cubicBezTo>
                  <a:pt x="416" y="406"/>
                  <a:pt x="416" y="406"/>
                  <a:pt x="416" y="406"/>
                </a:cubicBezTo>
                <a:cubicBezTo>
                  <a:pt x="390" y="451"/>
                  <a:pt x="390" y="451"/>
                  <a:pt x="390" y="451"/>
                </a:cubicBezTo>
                <a:cubicBezTo>
                  <a:pt x="411" y="463"/>
                  <a:pt x="411" y="463"/>
                  <a:pt x="411" y="463"/>
                </a:cubicBezTo>
                <a:cubicBezTo>
                  <a:pt x="428" y="434"/>
                  <a:pt x="428" y="434"/>
                  <a:pt x="428" y="434"/>
                </a:cubicBezTo>
                <a:cubicBezTo>
                  <a:pt x="446" y="463"/>
                  <a:pt x="446" y="463"/>
                  <a:pt x="446" y="463"/>
                </a:cubicBezTo>
                <a:cubicBezTo>
                  <a:pt x="467" y="451"/>
                  <a:pt x="467" y="451"/>
                  <a:pt x="467" y="451"/>
                </a:cubicBezTo>
                <a:cubicBezTo>
                  <a:pt x="441" y="406"/>
                  <a:pt x="441" y="406"/>
                  <a:pt x="441" y="406"/>
                </a:cubicBezTo>
                <a:cubicBezTo>
                  <a:pt x="441" y="352"/>
                  <a:pt x="441" y="352"/>
                  <a:pt x="441" y="352"/>
                </a:cubicBezTo>
                <a:cubicBezTo>
                  <a:pt x="441" y="258"/>
                  <a:pt x="441" y="258"/>
                  <a:pt x="441" y="258"/>
                </a:cubicBezTo>
                <a:cubicBezTo>
                  <a:pt x="516" y="236"/>
                  <a:pt x="516" y="236"/>
                  <a:pt x="516" y="236"/>
                </a:cubicBezTo>
                <a:cubicBezTo>
                  <a:pt x="522" y="234"/>
                  <a:pt x="525" y="229"/>
                  <a:pt x="525" y="224"/>
                </a:cubicBezTo>
                <a:cubicBezTo>
                  <a:pt x="525" y="218"/>
                  <a:pt x="521" y="214"/>
                  <a:pt x="516" y="212"/>
                </a:cubicBezTo>
                <a:cubicBezTo>
                  <a:pt x="287" y="151"/>
                  <a:pt x="287" y="151"/>
                  <a:pt x="287" y="151"/>
                </a:cubicBezTo>
                <a:cubicBezTo>
                  <a:pt x="60" y="215"/>
                  <a:pt x="60" y="215"/>
                  <a:pt x="60" y="215"/>
                </a:cubicBezTo>
                <a:cubicBezTo>
                  <a:pt x="54" y="216"/>
                  <a:pt x="51" y="221"/>
                  <a:pt x="51" y="227"/>
                </a:cubicBezTo>
                <a:cubicBezTo>
                  <a:pt x="51" y="232"/>
                  <a:pt x="54" y="237"/>
                  <a:pt x="60" y="238"/>
                </a:cubicBezTo>
                <a:close/>
                <a:moveTo>
                  <a:pt x="289" y="383"/>
                </a:moveTo>
                <a:cubicBezTo>
                  <a:pt x="241" y="383"/>
                  <a:pt x="197" y="368"/>
                  <a:pt x="160" y="340"/>
                </a:cubicBezTo>
                <a:cubicBezTo>
                  <a:pt x="160" y="267"/>
                  <a:pt x="160" y="267"/>
                  <a:pt x="160" y="267"/>
                </a:cubicBezTo>
                <a:cubicBezTo>
                  <a:pt x="283" y="302"/>
                  <a:pt x="283" y="302"/>
                  <a:pt x="283" y="302"/>
                </a:cubicBezTo>
                <a:cubicBezTo>
                  <a:pt x="283" y="302"/>
                  <a:pt x="283" y="302"/>
                  <a:pt x="283" y="302"/>
                </a:cubicBezTo>
                <a:cubicBezTo>
                  <a:pt x="287" y="302"/>
                  <a:pt x="287" y="302"/>
                  <a:pt x="287" y="302"/>
                </a:cubicBezTo>
                <a:cubicBezTo>
                  <a:pt x="416" y="267"/>
                  <a:pt x="416" y="267"/>
                  <a:pt x="416" y="267"/>
                </a:cubicBezTo>
                <a:cubicBezTo>
                  <a:pt x="416" y="340"/>
                  <a:pt x="416" y="340"/>
                  <a:pt x="416" y="340"/>
                </a:cubicBezTo>
                <a:cubicBezTo>
                  <a:pt x="378" y="368"/>
                  <a:pt x="334" y="383"/>
                  <a:pt x="289" y="383"/>
                </a:cubicBezTo>
                <a:close/>
                <a:moveTo>
                  <a:pt x="287" y="176"/>
                </a:moveTo>
                <a:cubicBezTo>
                  <a:pt x="467" y="225"/>
                  <a:pt x="467" y="225"/>
                  <a:pt x="467" y="225"/>
                </a:cubicBezTo>
                <a:cubicBezTo>
                  <a:pt x="424" y="237"/>
                  <a:pt x="424" y="237"/>
                  <a:pt x="424" y="237"/>
                </a:cubicBezTo>
                <a:cubicBezTo>
                  <a:pt x="291" y="209"/>
                  <a:pt x="291" y="209"/>
                  <a:pt x="291" y="209"/>
                </a:cubicBezTo>
                <a:cubicBezTo>
                  <a:pt x="284" y="207"/>
                  <a:pt x="277" y="211"/>
                  <a:pt x="276" y="218"/>
                </a:cubicBezTo>
                <a:cubicBezTo>
                  <a:pt x="275" y="225"/>
                  <a:pt x="279" y="231"/>
                  <a:pt x="285" y="233"/>
                </a:cubicBezTo>
                <a:cubicBezTo>
                  <a:pt x="374" y="251"/>
                  <a:pt x="374" y="251"/>
                  <a:pt x="374" y="251"/>
                </a:cubicBezTo>
                <a:cubicBezTo>
                  <a:pt x="287" y="277"/>
                  <a:pt x="287" y="277"/>
                  <a:pt x="287" y="277"/>
                </a:cubicBezTo>
                <a:cubicBezTo>
                  <a:pt x="135" y="234"/>
                  <a:pt x="135" y="234"/>
                  <a:pt x="135" y="234"/>
                </a:cubicBezTo>
                <a:cubicBezTo>
                  <a:pt x="135" y="234"/>
                  <a:pt x="135" y="234"/>
                  <a:pt x="135" y="234"/>
                </a:cubicBezTo>
                <a:cubicBezTo>
                  <a:pt x="108" y="227"/>
                  <a:pt x="108" y="227"/>
                  <a:pt x="108" y="227"/>
                </a:cubicBezTo>
                <a:lnTo>
                  <a:pt x="287" y="176"/>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a:solidFill>
                <a:schemeClr val="accent1"/>
              </a:solidFill>
            </a:endParaRPr>
          </a:p>
        </p:txBody>
      </p:sp>
    </p:spTree>
    <p:extLst>
      <p:ext uri="{BB962C8B-B14F-4D97-AF65-F5344CB8AC3E}">
        <p14:creationId xmlns:p14="http://schemas.microsoft.com/office/powerpoint/2010/main" val="17670085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17" r="17"/>
          <a:stretch>
            <a:fillRect/>
          </a:stretch>
        </p:blipFill>
        <p:spPr>
          <a:xfrm>
            <a:off x="0" y="0"/>
            <a:ext cx="12192000" cy="6858000"/>
          </a:xfrm>
          <a:prstGeom prst="rect">
            <a:avLst/>
          </a:prstGeom>
        </p:spPr>
      </p:pic>
      <p:sp>
        <p:nvSpPr>
          <p:cNvPr id="3" name="TextBox 3"/>
          <p:cNvSpPr txBox="1"/>
          <p:nvPr/>
        </p:nvSpPr>
        <p:spPr>
          <a:xfrm>
            <a:off x="868104" y="1961141"/>
            <a:ext cx="5227896" cy="410369"/>
          </a:xfrm>
          <a:prstGeom prst="rect">
            <a:avLst/>
          </a:prstGeom>
        </p:spPr>
        <p:txBody>
          <a:bodyPr lIns="0" tIns="0" rIns="0" bIns="0" rtlCol="0" anchor="t">
            <a:spAutoFit/>
          </a:bodyPr>
          <a:lstStyle/>
          <a:p>
            <a:pPr>
              <a:lnSpc>
                <a:spcPts val="3230"/>
              </a:lnSpc>
            </a:pPr>
            <a:r>
              <a:rPr lang="en-US" sz="3400" spc="-170" dirty="0" err="1">
                <a:solidFill>
                  <a:srgbClr val="A6A6A6"/>
                </a:solidFill>
                <a:latin typeface="Fira Sans Light"/>
              </a:rPr>
              <a:t>Ομάδ</a:t>
            </a:r>
            <a:r>
              <a:rPr lang="en-US" sz="3400" spc="-170" dirty="0">
                <a:solidFill>
                  <a:srgbClr val="A6A6A6"/>
                </a:solidFill>
                <a:latin typeface="Fira Sans Light"/>
              </a:rPr>
              <a:t>α</a:t>
            </a:r>
          </a:p>
        </p:txBody>
      </p:sp>
      <p:sp>
        <p:nvSpPr>
          <p:cNvPr id="4" name="TextBox 4"/>
          <p:cNvSpPr txBox="1"/>
          <p:nvPr/>
        </p:nvSpPr>
        <p:spPr>
          <a:xfrm>
            <a:off x="367747" y="2654691"/>
            <a:ext cx="5227896" cy="410369"/>
          </a:xfrm>
          <a:prstGeom prst="rect">
            <a:avLst/>
          </a:prstGeom>
        </p:spPr>
        <p:txBody>
          <a:bodyPr lIns="0" tIns="0" rIns="0" bIns="0" rtlCol="0" anchor="t">
            <a:spAutoFit/>
          </a:bodyPr>
          <a:lstStyle/>
          <a:p>
            <a:pPr>
              <a:lnSpc>
                <a:spcPts val="3230"/>
              </a:lnSpc>
            </a:pPr>
            <a:r>
              <a:rPr lang="en-US" sz="3400" spc="-170" dirty="0" err="1">
                <a:solidFill>
                  <a:srgbClr val="A6A6A6"/>
                </a:solidFill>
                <a:latin typeface="Fira Sans Light"/>
              </a:rPr>
              <a:t>Συντονισμός</a:t>
            </a:r>
            <a:endParaRPr lang="en-US" sz="3400" spc="-170" dirty="0">
              <a:solidFill>
                <a:srgbClr val="A6A6A6"/>
              </a:solidFill>
              <a:latin typeface="Fira Sans Light"/>
            </a:endParaRPr>
          </a:p>
        </p:txBody>
      </p:sp>
      <p:sp>
        <p:nvSpPr>
          <p:cNvPr id="5" name="TextBox 5"/>
          <p:cNvSpPr txBox="1"/>
          <p:nvPr/>
        </p:nvSpPr>
        <p:spPr>
          <a:xfrm>
            <a:off x="1785231" y="3336967"/>
            <a:ext cx="5227896" cy="410369"/>
          </a:xfrm>
          <a:prstGeom prst="rect">
            <a:avLst/>
          </a:prstGeom>
        </p:spPr>
        <p:txBody>
          <a:bodyPr lIns="0" tIns="0" rIns="0" bIns="0" rtlCol="0" anchor="t">
            <a:spAutoFit/>
          </a:bodyPr>
          <a:lstStyle/>
          <a:p>
            <a:pPr>
              <a:lnSpc>
                <a:spcPts val="3230"/>
              </a:lnSpc>
            </a:pPr>
            <a:r>
              <a:rPr lang="en-US" sz="3400" spc="-170" dirty="0" err="1">
                <a:solidFill>
                  <a:srgbClr val="A6A6A6"/>
                </a:solidFill>
                <a:latin typeface="Fira Sans Light"/>
              </a:rPr>
              <a:t>Τεχνική</a:t>
            </a:r>
            <a:endParaRPr lang="en-US" sz="3400" spc="-170" dirty="0">
              <a:solidFill>
                <a:srgbClr val="A6A6A6"/>
              </a:solidFill>
              <a:latin typeface="Fira Sans Light"/>
            </a:endParaRPr>
          </a:p>
        </p:txBody>
      </p:sp>
      <p:sp>
        <p:nvSpPr>
          <p:cNvPr id="6" name="TextBox 6"/>
          <p:cNvSpPr txBox="1"/>
          <p:nvPr/>
        </p:nvSpPr>
        <p:spPr>
          <a:xfrm>
            <a:off x="467996" y="3818665"/>
            <a:ext cx="5227896" cy="410369"/>
          </a:xfrm>
          <a:prstGeom prst="rect">
            <a:avLst/>
          </a:prstGeom>
        </p:spPr>
        <p:txBody>
          <a:bodyPr lIns="0" tIns="0" rIns="0" bIns="0" rtlCol="0" anchor="t">
            <a:spAutoFit/>
          </a:bodyPr>
          <a:lstStyle/>
          <a:p>
            <a:pPr>
              <a:lnSpc>
                <a:spcPts val="3230"/>
              </a:lnSpc>
            </a:pPr>
            <a:r>
              <a:rPr lang="en-US" sz="3400" spc="-170" dirty="0" err="1">
                <a:solidFill>
                  <a:srgbClr val="A6A6A6"/>
                </a:solidFill>
                <a:latin typeface="Fira Sans Light"/>
              </a:rPr>
              <a:t>Αντοχή</a:t>
            </a:r>
            <a:endParaRPr lang="en-US" sz="3400" spc="-170" dirty="0">
              <a:solidFill>
                <a:srgbClr val="A6A6A6"/>
              </a:solidFill>
              <a:latin typeface="Fira Sans Light"/>
            </a:endParaRPr>
          </a:p>
        </p:txBody>
      </p:sp>
      <p:sp>
        <p:nvSpPr>
          <p:cNvPr id="7" name="TextBox 7"/>
          <p:cNvSpPr txBox="1"/>
          <p:nvPr/>
        </p:nvSpPr>
        <p:spPr>
          <a:xfrm>
            <a:off x="2118226" y="4204386"/>
            <a:ext cx="5227896" cy="410369"/>
          </a:xfrm>
          <a:prstGeom prst="rect">
            <a:avLst/>
          </a:prstGeom>
        </p:spPr>
        <p:txBody>
          <a:bodyPr lIns="0" tIns="0" rIns="0" bIns="0" rtlCol="0" anchor="t">
            <a:spAutoFit/>
          </a:bodyPr>
          <a:lstStyle/>
          <a:p>
            <a:pPr>
              <a:lnSpc>
                <a:spcPts val="3230"/>
              </a:lnSpc>
            </a:pPr>
            <a:r>
              <a:rPr lang="en-US" sz="3400" spc="-170" dirty="0">
                <a:solidFill>
                  <a:srgbClr val="A6A6A6"/>
                </a:solidFill>
                <a:latin typeface="Fira Sans Light"/>
              </a:rPr>
              <a:t>Τα</a:t>
            </a:r>
            <a:r>
              <a:rPr lang="en-US" sz="3400" spc="-170" dirty="0" err="1">
                <a:solidFill>
                  <a:srgbClr val="A6A6A6"/>
                </a:solidFill>
                <a:latin typeface="Fira Sans Light"/>
              </a:rPr>
              <a:t>χύτητ</a:t>
            </a:r>
            <a:r>
              <a:rPr lang="en-US" sz="3400" spc="-170" dirty="0">
                <a:solidFill>
                  <a:srgbClr val="A6A6A6"/>
                </a:solidFill>
                <a:latin typeface="Fira Sans Light"/>
              </a:rPr>
              <a:t>α</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building, stone, government building, colonnade&#10;&#10;Description automatically generated">
            <a:extLst>
              <a:ext uri="{FF2B5EF4-FFF2-40B4-BE49-F238E27FC236}">
                <a16:creationId xmlns:a16="http://schemas.microsoft.com/office/drawing/2014/main" id="{19538348-D829-4641-9124-1886074832D3}"/>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0" y="-380"/>
            <a:ext cx="12192676" cy="6858380"/>
          </a:xfrm>
          <a:prstGeom prst="rect">
            <a:avLst/>
          </a:prstGeom>
        </p:spPr>
      </p:pic>
      <p:graphicFrame>
        <p:nvGraphicFramePr>
          <p:cNvPr id="7" name="Object 6" hidden="1">
            <a:extLst>
              <a:ext uri="{FF2B5EF4-FFF2-40B4-BE49-F238E27FC236}">
                <a16:creationId xmlns:a16="http://schemas.microsoft.com/office/drawing/2014/main" id="{8A2B45E6-C490-4119-B0D0-475C31EE97BB}"/>
              </a:ext>
            </a:extLst>
          </p:cNvPr>
          <p:cNvGraphicFramePr>
            <a:graphicFrameLocks noChangeAspect="1"/>
          </p:cNvGraphicFramePr>
          <p:nvPr>
            <p:custDataLst>
              <p:tags r:id="rId2"/>
            </p:custDataLst>
            <p:extLst>
              <p:ext uri="{D42A27DB-BD31-4B8C-83A1-F6EECF244321}">
                <p14:modId xmlns:p14="http://schemas.microsoft.com/office/powerpoint/2010/main" val="3881903970"/>
              </p:ext>
            </p:extLst>
          </p:nvPr>
        </p:nvGraphicFramePr>
        <p:xfrm>
          <a:off x="1593" y="1591"/>
          <a:ext cx="1588" cy="1588"/>
        </p:xfrm>
        <a:graphic>
          <a:graphicData uri="http://schemas.openxmlformats.org/presentationml/2006/ole">
            <mc:AlternateContent xmlns:mc="http://schemas.openxmlformats.org/markup-compatibility/2006">
              <mc:Choice xmlns:v="urn:schemas-microsoft-com:vml" Requires="v">
                <p:oleObj spid="_x0000_s38084" name="think-cell Slide" r:id="rId7" imgW="360" imgH="360" progId="TCLayout.ActiveDocument.1">
                  <p:embed/>
                </p:oleObj>
              </mc:Choice>
              <mc:Fallback>
                <p:oleObj name="think-cell Slide" r:id="rId7" imgW="360" imgH="360" progId="TCLayout.ActiveDocument.1">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C38DB20-36FD-4622-BED2-2D5B9F9A9840}"/>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33" eaLnBrk="1" fontAlgn="auto" hangingPunct="1">
              <a:spcBef>
                <a:spcPts val="0"/>
              </a:spcBef>
              <a:spcAft>
                <a:spcPts val="0"/>
              </a:spcAft>
              <a:defRPr/>
            </a:pPr>
            <a:endParaRPr lang="en-GB" sz="11000" err="1">
              <a:solidFill>
                <a:prstClr val="white"/>
              </a:solidFill>
              <a:latin typeface="KPMG Extralight" panose="020B0303030202040204" pitchFamily="34" charset="0"/>
              <a:sym typeface="KPMG Extralight" panose="020B0303030202040204" pitchFamily="34" charset="0"/>
            </a:endParaRPr>
          </a:p>
        </p:txBody>
      </p:sp>
      <p:sp>
        <p:nvSpPr>
          <p:cNvPr id="28" name="Title 1">
            <a:extLst>
              <a:ext uri="{FF2B5EF4-FFF2-40B4-BE49-F238E27FC236}">
                <a16:creationId xmlns:a16="http://schemas.microsoft.com/office/drawing/2014/main" id="{23662372-4A27-4372-9561-FAF19776ECAE}"/>
              </a:ext>
            </a:extLst>
          </p:cNvPr>
          <p:cNvSpPr txBox="1">
            <a:spLocks/>
          </p:cNvSpPr>
          <p:nvPr/>
        </p:nvSpPr>
        <p:spPr>
          <a:xfrm>
            <a:off x="3242930" y="1782697"/>
            <a:ext cx="8686800" cy="1844737"/>
          </a:xfrm>
          <a:prstGeom prst="rect">
            <a:avLst/>
          </a:prstGeom>
          <a:noFill/>
        </p:spPr>
        <p:txBody>
          <a:bodyPr vert="horz" lIns="0" tIns="0" rIns="0" bIns="0" rtlCol="0" anchor="t" anchorCtr="0">
            <a:noAutofit/>
          </a:bodyPr>
          <a:lstStyle>
            <a:lvl1pPr algn="l" defTabSz="914400" rtl="0" eaLnBrk="1" latinLnBrk="0" hangingPunct="1">
              <a:lnSpc>
                <a:spcPct val="70000"/>
              </a:lnSpc>
              <a:spcBef>
                <a:spcPct val="0"/>
              </a:spcBef>
              <a:buNone/>
              <a:defRPr sz="11000" kern="1200" baseline="0">
                <a:solidFill>
                  <a:srgbClr val="00338D"/>
                </a:solidFill>
                <a:latin typeface="+mj-lt"/>
                <a:ea typeface="+mj-ea"/>
                <a:cs typeface="+mj-cs"/>
              </a:defRPr>
            </a:lvl1pPr>
          </a:lstStyle>
          <a:p>
            <a:pPr>
              <a:lnSpc>
                <a:spcPct val="100000"/>
              </a:lnSpc>
            </a:pPr>
            <a: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Διάρθρωση Στρατηγικού &amp; Επιχειρησιακού Σχεδίου</a:t>
            </a:r>
            <a:b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br>
            <a:endParaRPr lang="en-US"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11" name="Text Placeholder 2">
            <a:extLst>
              <a:ext uri="{FF2B5EF4-FFF2-40B4-BE49-F238E27FC236}">
                <a16:creationId xmlns:a16="http://schemas.microsoft.com/office/drawing/2014/main" id="{93DDD6AE-3D8F-40AD-BDDF-8344A497E04A}"/>
              </a:ext>
            </a:extLst>
          </p:cNvPr>
          <p:cNvSpPr txBox="1">
            <a:spLocks/>
          </p:cNvSpPr>
          <p:nvPr/>
        </p:nvSpPr>
        <p:spPr>
          <a:xfrm>
            <a:off x="442912" y="0"/>
            <a:ext cx="4344987" cy="6858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34800" dirty="0">
                <a:solidFill>
                  <a:srgbClr val="013476"/>
                </a:solidFill>
                <a:latin typeface="Georgia" panose="02040502050405020303" pitchFamily="18" charset="0"/>
              </a:rPr>
              <a:t>1</a:t>
            </a:r>
          </a:p>
        </p:txBody>
      </p:sp>
    </p:spTree>
    <p:extLst>
      <p:ext uri="{BB962C8B-B14F-4D97-AF65-F5344CB8AC3E}">
        <p14:creationId xmlns:p14="http://schemas.microsoft.com/office/powerpoint/2010/main" val="1232637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13476"/>
        </a:solidFill>
        <a:effectLst/>
      </p:bgPr>
    </p:bg>
    <p:spTree>
      <p:nvGrpSpPr>
        <p:cNvPr id="1" name="Shape 607"/>
        <p:cNvGrpSpPr/>
        <p:nvPr/>
      </p:nvGrpSpPr>
      <p:grpSpPr>
        <a:xfrm>
          <a:off x="0" y="0"/>
          <a:ext cx="0" cy="0"/>
          <a:chOff x="0" y="0"/>
          <a:chExt cx="0" cy="0"/>
        </a:xfrm>
      </p:grpSpPr>
      <p:sp>
        <p:nvSpPr>
          <p:cNvPr id="608" name="Google Shape;608;p24"/>
          <p:cNvSpPr txBox="1"/>
          <p:nvPr/>
        </p:nvSpPr>
        <p:spPr>
          <a:xfrm>
            <a:off x="622301" y="1691904"/>
            <a:ext cx="5473699" cy="2428874"/>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4000"/>
              <a:buFont typeface="Arial"/>
              <a:buNone/>
            </a:pPr>
            <a:r>
              <a:rPr lang="el-GR" sz="4000" b="0" i="0" u="none" strike="noStrike" cap="none" dirty="0">
                <a:solidFill>
                  <a:srgbClr val="FFFFFF"/>
                </a:solidFill>
                <a:latin typeface="Georgia"/>
                <a:ea typeface="Georgia"/>
                <a:cs typeface="Georgia"/>
                <a:sym typeface="Georgia"/>
              </a:rPr>
              <a:t>Ευχαριστούμε</a:t>
            </a:r>
            <a:endParaRPr sz="4000" b="0" i="0" u="none" strike="noStrike" cap="none" dirty="0">
              <a:solidFill>
                <a:srgbClr val="FFFFFF"/>
              </a:solidFill>
              <a:latin typeface="Georgia"/>
              <a:ea typeface="Georgia"/>
              <a:cs typeface="Georgia"/>
              <a:sym typeface="Georgia"/>
            </a:endParaRPr>
          </a:p>
        </p:txBody>
      </p:sp>
      <p:pic>
        <p:nvPicPr>
          <p:cNvPr id="3" name="Picture 2">
            <a:extLst>
              <a:ext uri="{FF2B5EF4-FFF2-40B4-BE49-F238E27FC236}">
                <a16:creationId xmlns:a16="http://schemas.microsoft.com/office/drawing/2014/main" id="{D62C5273-F329-423E-A5B5-12713B41AFA6}"/>
              </a:ext>
            </a:extLst>
          </p:cNvPr>
          <p:cNvPicPr>
            <a:picLocks noChangeAspect="1"/>
          </p:cNvPicPr>
          <p:nvPr/>
        </p:nvPicPr>
        <p:blipFill rotWithShape="1">
          <a:blip r:embed="rId3"/>
          <a:srcRect l="2105" t="1118" r="1365" b="650"/>
          <a:stretch/>
        </p:blipFill>
        <p:spPr>
          <a:xfrm>
            <a:off x="7924800" y="-14342"/>
            <a:ext cx="4267200" cy="687554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7697E45-931D-4904-B5AE-2B94599A7B25}"/>
              </a:ext>
            </a:extLst>
          </p:cNvPr>
          <p:cNvGraphicFramePr>
            <a:graphicFrameLocks noChangeAspect="1"/>
          </p:cNvGraphicFramePr>
          <p:nvPr>
            <p:custDataLst>
              <p:tags r:id="rId2"/>
            </p:custDataLst>
            <p:extLst>
              <p:ext uri="{D42A27DB-BD31-4B8C-83A1-F6EECF244321}">
                <p14:modId xmlns:p14="http://schemas.microsoft.com/office/powerpoint/2010/main" val="724123575"/>
              </p:ext>
            </p:extLst>
          </p:nvPr>
        </p:nvGraphicFramePr>
        <p:xfrm>
          <a:off x="1593" y="1591"/>
          <a:ext cx="1588" cy="1588"/>
        </p:xfrm>
        <a:graphic>
          <a:graphicData uri="http://schemas.openxmlformats.org/presentationml/2006/ole">
            <mc:AlternateContent xmlns:mc="http://schemas.openxmlformats.org/markup-compatibility/2006">
              <mc:Choice xmlns:v="urn:schemas-microsoft-com:vml" Requires="v">
                <p:oleObj spid="_x0000_s48289" name="think-cell Slide" r:id="rId5" imgW="360" imgH="360" progId="TCLayout.ActiveDocument.1">
                  <p:embed/>
                </p:oleObj>
              </mc:Choice>
              <mc:Fallback>
                <p:oleObj name="think-cell Slide" r:id="rId5" imgW="360" imgH="360" progId="TCLayout.ActiveDocument.1">
                  <p:embed/>
                  <p:pic>
                    <p:nvPicPr>
                      <p:cNvPr id="15" name="Object 14" hidden="1">
                        <a:extLst>
                          <a:ext uri="{FF2B5EF4-FFF2-40B4-BE49-F238E27FC236}">
                            <a16:creationId xmlns:a16="http://schemas.microsoft.com/office/drawing/2014/main" id="{27697E45-931D-4904-B5AE-2B94599A7B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3"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 name="Straight Connector 11">
            <a:extLst>
              <a:ext uri="{FF2B5EF4-FFF2-40B4-BE49-F238E27FC236}">
                <a16:creationId xmlns:a16="http://schemas.microsoft.com/office/drawing/2014/main" id="{2A8754A7-1B0F-45DC-BDDB-6F87A508237E}"/>
              </a:ext>
            </a:extLst>
          </p:cNvPr>
          <p:cNvCxnSpPr>
            <a:cxnSpLocks/>
          </p:cNvCxnSpPr>
          <p:nvPr/>
        </p:nvCxnSpPr>
        <p:spPr>
          <a:xfrm>
            <a:off x="8452955" y="1168875"/>
            <a:ext cx="0" cy="543600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9" name="Content Placeholder 16">
            <a:extLst>
              <a:ext uri="{FF2B5EF4-FFF2-40B4-BE49-F238E27FC236}">
                <a16:creationId xmlns:a16="http://schemas.microsoft.com/office/drawing/2014/main" id="{54A23190-07CE-4D98-B7C7-15FB5A908CBF}"/>
              </a:ext>
            </a:extLst>
          </p:cNvPr>
          <p:cNvSpPr txBox="1">
            <a:spLocks/>
          </p:cNvSpPr>
          <p:nvPr/>
        </p:nvSpPr>
        <p:spPr bwMode="auto">
          <a:xfrm>
            <a:off x="5540172" y="3354544"/>
            <a:ext cx="4362405" cy="1012524"/>
          </a:xfrm>
          <a:prstGeom prst="rect">
            <a:avLst/>
          </a:prstGeom>
          <a:solidFill>
            <a:schemeClr val="accent1">
              <a:lumMod val="20000"/>
              <a:lumOff val="80000"/>
            </a:schemeClr>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60" name="Content Placeholder 16">
            <a:extLst>
              <a:ext uri="{FF2B5EF4-FFF2-40B4-BE49-F238E27FC236}">
                <a16:creationId xmlns:a16="http://schemas.microsoft.com/office/drawing/2014/main" id="{9A172985-468F-4284-841E-06384C1F51B0}"/>
              </a:ext>
            </a:extLst>
          </p:cNvPr>
          <p:cNvSpPr txBox="1">
            <a:spLocks/>
          </p:cNvSpPr>
          <p:nvPr/>
        </p:nvSpPr>
        <p:spPr bwMode="auto">
          <a:xfrm>
            <a:off x="5540172" y="2278310"/>
            <a:ext cx="4362406" cy="1028585"/>
          </a:xfrm>
          <a:prstGeom prst="rect">
            <a:avLst/>
          </a:prstGeom>
          <a:solidFill>
            <a:schemeClr val="accent3">
              <a:lumMod val="20000"/>
              <a:lumOff val="80000"/>
            </a:schemeClr>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66" name="Content Placeholder 16">
            <a:extLst>
              <a:ext uri="{FF2B5EF4-FFF2-40B4-BE49-F238E27FC236}">
                <a16:creationId xmlns:a16="http://schemas.microsoft.com/office/drawing/2014/main" id="{FDB77C99-3C19-43C6-9164-94D739518682}"/>
              </a:ext>
            </a:extLst>
          </p:cNvPr>
          <p:cNvSpPr txBox="1">
            <a:spLocks/>
          </p:cNvSpPr>
          <p:nvPr/>
        </p:nvSpPr>
        <p:spPr bwMode="auto">
          <a:xfrm>
            <a:off x="5509460" y="5495779"/>
            <a:ext cx="4393119" cy="1091865"/>
          </a:xfrm>
          <a:prstGeom prst="rect">
            <a:avLst/>
          </a:prstGeom>
          <a:solidFill>
            <a:schemeClr val="accent5">
              <a:lumMod val="40000"/>
              <a:lumOff val="60000"/>
            </a:schemeClr>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65" name="Content Placeholder 16">
            <a:extLst>
              <a:ext uri="{FF2B5EF4-FFF2-40B4-BE49-F238E27FC236}">
                <a16:creationId xmlns:a16="http://schemas.microsoft.com/office/drawing/2014/main" id="{23EBCEB1-8F28-4795-AE63-E3A62DF46858}"/>
              </a:ext>
            </a:extLst>
          </p:cNvPr>
          <p:cNvSpPr txBox="1">
            <a:spLocks/>
          </p:cNvSpPr>
          <p:nvPr/>
        </p:nvSpPr>
        <p:spPr bwMode="auto">
          <a:xfrm>
            <a:off x="5501288" y="4431197"/>
            <a:ext cx="4401290" cy="1012524"/>
          </a:xfrm>
          <a:prstGeom prst="rect">
            <a:avLst/>
          </a:prstGeom>
          <a:solidFill>
            <a:schemeClr val="accent5">
              <a:lumMod val="20000"/>
              <a:lumOff val="80000"/>
            </a:schemeClr>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69" name="Content Placeholder 16">
            <a:extLst>
              <a:ext uri="{FF2B5EF4-FFF2-40B4-BE49-F238E27FC236}">
                <a16:creationId xmlns:a16="http://schemas.microsoft.com/office/drawing/2014/main" id="{1B81C5B0-CC73-4121-9361-D04B2AB421F8}"/>
              </a:ext>
            </a:extLst>
          </p:cNvPr>
          <p:cNvSpPr txBox="1">
            <a:spLocks/>
          </p:cNvSpPr>
          <p:nvPr/>
        </p:nvSpPr>
        <p:spPr bwMode="auto">
          <a:xfrm>
            <a:off x="5027731" y="1391571"/>
            <a:ext cx="4874848" cy="842282"/>
          </a:xfrm>
          <a:prstGeom prst="rect">
            <a:avLst/>
          </a:prstGeom>
          <a:solidFill>
            <a:schemeClr val="accent2">
              <a:lumMod val="20000"/>
              <a:lumOff val="80000"/>
            </a:schemeClr>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grpSp>
        <p:nvGrpSpPr>
          <p:cNvPr id="45" name="Group 22">
            <a:extLst>
              <a:ext uri="{FF2B5EF4-FFF2-40B4-BE49-F238E27FC236}">
                <a16:creationId xmlns:a16="http://schemas.microsoft.com/office/drawing/2014/main" id="{767A961D-54BE-4650-9A3A-31395B5655A0}"/>
              </a:ext>
            </a:extLst>
          </p:cNvPr>
          <p:cNvGrpSpPr>
            <a:grpSpLocks/>
          </p:cNvGrpSpPr>
          <p:nvPr/>
        </p:nvGrpSpPr>
        <p:grpSpPr bwMode="auto">
          <a:xfrm>
            <a:off x="2073132" y="1357765"/>
            <a:ext cx="5907175" cy="5272092"/>
            <a:chOff x="295" y="1146"/>
            <a:chExt cx="1072" cy="843"/>
          </a:xfrm>
        </p:grpSpPr>
        <p:sp>
          <p:nvSpPr>
            <p:cNvPr id="46" name="AutoShape 23">
              <a:extLst>
                <a:ext uri="{FF2B5EF4-FFF2-40B4-BE49-F238E27FC236}">
                  <a16:creationId xmlns:a16="http://schemas.microsoft.com/office/drawing/2014/main" id="{A95B4E25-2462-46A6-AAFD-3AEF4484970A}"/>
                </a:ext>
              </a:extLst>
            </p:cNvPr>
            <p:cNvSpPr>
              <a:spLocks noChangeArrowheads="1"/>
            </p:cNvSpPr>
            <p:nvPr/>
          </p:nvSpPr>
          <p:spPr bwMode="auto">
            <a:xfrm flipV="1">
              <a:off x="295" y="1803"/>
              <a:ext cx="1072" cy="18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002 w 21600"/>
                <a:gd name="T13" fmla="*/ 3019 h 21600"/>
                <a:gd name="T14" fmla="*/ 18598 w 21600"/>
                <a:gd name="T15" fmla="*/ 18581 h 21600"/>
              </a:gdLst>
              <a:ahLst/>
              <a:cxnLst>
                <a:cxn ang="T8">
                  <a:pos x="T0" y="T1"/>
                </a:cxn>
                <a:cxn ang="T9">
                  <a:pos x="T2" y="T3"/>
                </a:cxn>
                <a:cxn ang="T10">
                  <a:pos x="T4" y="T5"/>
                </a:cxn>
                <a:cxn ang="T11">
                  <a:pos x="T6" y="T7"/>
                </a:cxn>
              </a:cxnLst>
              <a:rect l="T12" t="T13" r="T14" b="T15"/>
              <a:pathLst>
                <a:path w="21600" h="21600">
                  <a:moveTo>
                    <a:pt x="0" y="0"/>
                  </a:moveTo>
                  <a:lnTo>
                    <a:pt x="2391" y="21600"/>
                  </a:lnTo>
                  <a:lnTo>
                    <a:pt x="19209" y="21600"/>
                  </a:lnTo>
                  <a:lnTo>
                    <a:pt x="21600" y="0"/>
                  </a:lnTo>
                  <a:close/>
                </a:path>
              </a:pathLst>
            </a:custGeom>
            <a:solidFill>
              <a:schemeClr val="accent5">
                <a:lumMod val="75000"/>
              </a:schemeClr>
            </a:solidFill>
            <a:ln w="12699">
              <a:solidFill>
                <a:srgbClr val="FFFFFF"/>
              </a:solidFill>
              <a:miter lim="800000"/>
              <a:headEnd type="none" w="sm" len="sm"/>
              <a:tailEnd type="none" w="sm" len="sm"/>
            </a:ln>
          </p:spPr>
          <p:txBody>
            <a:bodyPr wrap="none" anchor="ctr"/>
            <a:lstStyle/>
            <a:p>
              <a:pPr algn="ctr" defTabSz="781835">
                <a:defRPr/>
              </a:pPr>
              <a:endParaRPr lang="en-GB" sz="1000" kern="0" dirty="0">
                <a:solidFill>
                  <a:schemeClr val="bg1"/>
                </a:solidFill>
              </a:endParaRPr>
            </a:p>
          </p:txBody>
        </p:sp>
        <p:grpSp>
          <p:nvGrpSpPr>
            <p:cNvPr id="47" name="Group 24">
              <a:extLst>
                <a:ext uri="{FF2B5EF4-FFF2-40B4-BE49-F238E27FC236}">
                  <a16:creationId xmlns:a16="http://schemas.microsoft.com/office/drawing/2014/main" id="{D021C313-5E5F-48C9-95A2-BA850C04234A}"/>
                </a:ext>
              </a:extLst>
            </p:cNvPr>
            <p:cNvGrpSpPr>
              <a:grpSpLocks/>
            </p:cNvGrpSpPr>
            <p:nvPr/>
          </p:nvGrpSpPr>
          <p:grpSpPr bwMode="auto">
            <a:xfrm>
              <a:off x="414" y="1146"/>
              <a:ext cx="835" cy="658"/>
              <a:chOff x="593" y="988"/>
              <a:chExt cx="1266" cy="1724"/>
            </a:xfrm>
          </p:grpSpPr>
          <p:sp>
            <p:nvSpPr>
              <p:cNvPr id="49" name="Pyr1">
                <a:extLst>
                  <a:ext uri="{FF2B5EF4-FFF2-40B4-BE49-F238E27FC236}">
                    <a16:creationId xmlns:a16="http://schemas.microsoft.com/office/drawing/2014/main" id="{5E6931B6-D07E-468E-80BA-E5866A474065}"/>
                  </a:ext>
                </a:extLst>
              </p:cNvPr>
              <p:cNvSpPr>
                <a:spLocks noEditPoints="1" noChangeArrowheads="1"/>
              </p:cNvSpPr>
              <p:nvPr/>
            </p:nvSpPr>
            <p:spPr bwMode="auto">
              <a:xfrm>
                <a:off x="1085" y="988"/>
                <a:ext cx="284" cy="38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5400 w 21600"/>
                  <a:gd name="T10" fmla="*/ 11818 h 21600"/>
                  <a:gd name="T11" fmla="*/ 16200 w 21600"/>
                  <a:gd name="T12" fmla="*/ 20582 h 21600"/>
                </a:gdLst>
                <a:ahLst/>
                <a:cxnLst>
                  <a:cxn ang="T6">
                    <a:pos x="T0" y="T1"/>
                  </a:cxn>
                  <a:cxn ang="T7">
                    <a:pos x="T2" y="T3"/>
                  </a:cxn>
                  <a:cxn ang="T8">
                    <a:pos x="T4" y="T5"/>
                  </a:cxn>
                </a:cxnLst>
                <a:rect l="T9" t="T10" r="T11" b="T12"/>
                <a:pathLst>
                  <a:path w="21600" h="21600">
                    <a:moveTo>
                      <a:pt x="10800" y="0"/>
                    </a:moveTo>
                    <a:lnTo>
                      <a:pt x="21600" y="21600"/>
                    </a:lnTo>
                    <a:lnTo>
                      <a:pt x="0" y="21600"/>
                    </a:lnTo>
                    <a:lnTo>
                      <a:pt x="10800" y="0"/>
                    </a:lnTo>
                    <a:close/>
                  </a:path>
                </a:pathLst>
              </a:custGeom>
              <a:solidFill>
                <a:schemeClr val="accent2"/>
              </a:solidFill>
              <a:ln w="9525">
                <a:solidFill>
                  <a:srgbClr val="FFFFFF"/>
                </a:solidFill>
                <a:miter lim="800000"/>
                <a:headEnd/>
                <a:tailEnd/>
              </a:ln>
            </p:spPr>
            <p:txBody>
              <a:bodyPr/>
              <a:lstStyle/>
              <a:p>
                <a:pPr defTabSz="781835">
                  <a:defRPr/>
                </a:pPr>
                <a:r>
                  <a:rPr lang="el-GR" sz="1200" b="1" kern="0" dirty="0">
                    <a:solidFill>
                      <a:schemeClr val="bg1"/>
                    </a:solidFill>
                  </a:rPr>
                  <a:t>Αξίες</a:t>
                </a:r>
                <a:endParaRPr lang="en-GB" sz="1200" b="1" kern="0" dirty="0">
                  <a:solidFill>
                    <a:schemeClr val="bg1"/>
                  </a:solidFill>
                </a:endParaRPr>
              </a:p>
            </p:txBody>
          </p:sp>
          <p:sp>
            <p:nvSpPr>
              <p:cNvPr id="50" name="Pyr2">
                <a:extLst>
                  <a:ext uri="{FF2B5EF4-FFF2-40B4-BE49-F238E27FC236}">
                    <a16:creationId xmlns:a16="http://schemas.microsoft.com/office/drawing/2014/main" id="{D3756836-61F9-4441-93AC-1E442E9D0147}"/>
                  </a:ext>
                </a:extLst>
              </p:cNvPr>
              <p:cNvSpPr>
                <a:spLocks noEditPoints="1" noChangeArrowheads="1"/>
              </p:cNvSpPr>
              <p:nvPr/>
            </p:nvSpPr>
            <p:spPr bwMode="auto">
              <a:xfrm>
                <a:off x="921" y="1370"/>
                <a:ext cx="610" cy="4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772 w 21600"/>
                  <a:gd name="T13" fmla="*/ 482 h 21600"/>
                  <a:gd name="T14" fmla="*/ 15828 w 21600"/>
                  <a:gd name="T15" fmla="*/ 21118 h 21600"/>
                </a:gdLst>
                <a:ahLst/>
                <a:cxnLst>
                  <a:cxn ang="T8">
                    <a:pos x="T0" y="T1"/>
                  </a:cxn>
                  <a:cxn ang="T9">
                    <a:pos x="T2" y="T3"/>
                  </a:cxn>
                  <a:cxn ang="T10">
                    <a:pos x="T4" y="T5"/>
                  </a:cxn>
                  <a:cxn ang="T11">
                    <a:pos x="T6" y="T7"/>
                  </a:cxn>
                </a:cxnLst>
                <a:rect l="T12" t="T13" r="T14" b="T15"/>
                <a:pathLst>
                  <a:path w="21600" h="21600">
                    <a:moveTo>
                      <a:pt x="5787" y="0"/>
                    </a:moveTo>
                    <a:lnTo>
                      <a:pt x="15812" y="0"/>
                    </a:lnTo>
                    <a:lnTo>
                      <a:pt x="21600" y="21600"/>
                    </a:lnTo>
                    <a:lnTo>
                      <a:pt x="0" y="21600"/>
                    </a:lnTo>
                    <a:lnTo>
                      <a:pt x="5787" y="0"/>
                    </a:lnTo>
                    <a:close/>
                  </a:path>
                </a:pathLst>
              </a:custGeom>
              <a:solidFill>
                <a:schemeClr val="accent3"/>
              </a:solidFill>
              <a:ln w="9525">
                <a:solidFill>
                  <a:srgbClr val="FFFFFF"/>
                </a:solidFill>
                <a:miter lim="800000"/>
                <a:headEnd/>
                <a:tailEnd/>
              </a:ln>
            </p:spPr>
            <p:txBody>
              <a:bodyPr anchor="ctr"/>
              <a:lstStyle/>
              <a:p>
                <a:pPr algn="ctr" eaLnBrk="1" fontAlgn="auto" hangingPunct="1">
                  <a:spcBef>
                    <a:spcPts val="0"/>
                  </a:spcBef>
                  <a:spcAft>
                    <a:spcPts val="0"/>
                  </a:spcAft>
                  <a:defRPr/>
                </a:pPr>
                <a:endParaRPr lang="el-GR" sz="1400" b="1" kern="0" dirty="0">
                  <a:solidFill>
                    <a:schemeClr val="bg1"/>
                  </a:solidFill>
                </a:endParaRPr>
              </a:p>
              <a:p>
                <a:pPr algn="ctr" eaLnBrk="1" fontAlgn="auto" hangingPunct="1">
                  <a:spcBef>
                    <a:spcPts val="0"/>
                  </a:spcBef>
                  <a:spcAft>
                    <a:spcPts val="0"/>
                  </a:spcAft>
                  <a:defRPr/>
                </a:pPr>
                <a:r>
                  <a:rPr lang="el-GR" sz="1400" b="1" kern="0" dirty="0">
                    <a:solidFill>
                      <a:schemeClr val="bg1"/>
                    </a:solidFill>
                  </a:rPr>
                  <a:t>Αποστολή &amp;</a:t>
                </a:r>
              </a:p>
              <a:p>
                <a:pPr algn="ctr" eaLnBrk="1" fontAlgn="auto" hangingPunct="1">
                  <a:spcBef>
                    <a:spcPts val="0"/>
                  </a:spcBef>
                  <a:spcAft>
                    <a:spcPts val="0"/>
                  </a:spcAft>
                  <a:defRPr/>
                </a:pPr>
                <a:r>
                  <a:rPr lang="el-GR" sz="1400" b="1" kern="0" dirty="0">
                    <a:solidFill>
                      <a:schemeClr val="bg1"/>
                    </a:solidFill>
                  </a:rPr>
                  <a:t>Όραμα </a:t>
                </a:r>
                <a:endParaRPr lang="en-GB" sz="1400" b="1" kern="0" dirty="0">
                  <a:solidFill>
                    <a:schemeClr val="bg1"/>
                  </a:solidFill>
                </a:endParaRPr>
              </a:p>
            </p:txBody>
          </p:sp>
          <p:sp>
            <p:nvSpPr>
              <p:cNvPr id="51" name="Pyr3">
                <a:extLst>
                  <a:ext uri="{FF2B5EF4-FFF2-40B4-BE49-F238E27FC236}">
                    <a16:creationId xmlns:a16="http://schemas.microsoft.com/office/drawing/2014/main" id="{DA68233D-878A-4E1E-9B7E-8E4B15515C27}"/>
                  </a:ext>
                </a:extLst>
              </p:cNvPr>
              <p:cNvSpPr>
                <a:spLocks noEditPoints="1" noChangeArrowheads="1"/>
              </p:cNvSpPr>
              <p:nvPr/>
            </p:nvSpPr>
            <p:spPr bwMode="auto">
              <a:xfrm>
                <a:off x="758" y="1818"/>
                <a:ext cx="936" cy="4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285 w 21600"/>
                  <a:gd name="T13" fmla="*/ 482 h 21600"/>
                  <a:gd name="T14" fmla="*/ 16315 w 21600"/>
                  <a:gd name="T15" fmla="*/ 21118 h 21600"/>
                </a:gdLst>
                <a:ahLst/>
                <a:cxnLst>
                  <a:cxn ang="T8">
                    <a:pos x="T0" y="T1"/>
                  </a:cxn>
                  <a:cxn ang="T9">
                    <a:pos x="T2" y="T3"/>
                  </a:cxn>
                  <a:cxn ang="T10">
                    <a:pos x="T4" y="T5"/>
                  </a:cxn>
                  <a:cxn ang="T11">
                    <a:pos x="T6" y="T7"/>
                  </a:cxn>
                </a:cxnLst>
                <a:rect l="T12" t="T13" r="T14" b="T15"/>
                <a:pathLst>
                  <a:path w="21600" h="21600">
                    <a:moveTo>
                      <a:pt x="3768" y="0"/>
                    </a:moveTo>
                    <a:lnTo>
                      <a:pt x="17831" y="0"/>
                    </a:lnTo>
                    <a:lnTo>
                      <a:pt x="21600" y="21600"/>
                    </a:lnTo>
                    <a:lnTo>
                      <a:pt x="0" y="21600"/>
                    </a:lnTo>
                    <a:lnTo>
                      <a:pt x="3768" y="0"/>
                    </a:lnTo>
                    <a:close/>
                  </a:path>
                </a:pathLst>
              </a:custGeom>
              <a:solidFill>
                <a:schemeClr val="accent1"/>
              </a:solidFill>
              <a:ln w="9525">
                <a:solidFill>
                  <a:srgbClr val="FFFFFF"/>
                </a:solidFill>
                <a:miter lim="800000"/>
                <a:headEnd/>
                <a:tailEnd/>
              </a:ln>
            </p:spPr>
            <p:txBody>
              <a:bodyPr anchor="ctr"/>
              <a:lstStyle/>
              <a:p>
                <a:pPr algn="ctr" eaLnBrk="1" fontAlgn="auto" hangingPunct="1">
                  <a:spcBef>
                    <a:spcPts val="0"/>
                  </a:spcBef>
                  <a:spcAft>
                    <a:spcPts val="0"/>
                  </a:spcAft>
                  <a:defRPr/>
                </a:pPr>
                <a:r>
                  <a:rPr lang="el-GR" sz="1400" b="1" kern="0" dirty="0">
                    <a:solidFill>
                      <a:schemeClr val="bg1"/>
                    </a:solidFill>
                  </a:rPr>
                  <a:t>Στρατηγικοί </a:t>
                </a:r>
                <a:endParaRPr lang="en-US" sz="1400" b="1" kern="0" dirty="0">
                  <a:solidFill>
                    <a:schemeClr val="bg1"/>
                  </a:solidFill>
                </a:endParaRPr>
              </a:p>
              <a:p>
                <a:pPr algn="ctr" eaLnBrk="1" fontAlgn="auto" hangingPunct="1">
                  <a:spcBef>
                    <a:spcPts val="0"/>
                  </a:spcBef>
                  <a:spcAft>
                    <a:spcPts val="0"/>
                  </a:spcAft>
                  <a:defRPr/>
                </a:pPr>
                <a:r>
                  <a:rPr lang="el-GR" sz="1400" b="1" kern="0" dirty="0">
                    <a:solidFill>
                      <a:schemeClr val="bg1"/>
                    </a:solidFill>
                  </a:rPr>
                  <a:t>Άξονες</a:t>
                </a:r>
                <a:endParaRPr lang="en-GB" sz="1400" kern="0" dirty="0">
                  <a:solidFill>
                    <a:schemeClr val="bg1"/>
                  </a:solidFill>
                </a:endParaRPr>
              </a:p>
            </p:txBody>
          </p:sp>
          <p:sp>
            <p:nvSpPr>
              <p:cNvPr id="52" name="Pyr4">
                <a:extLst>
                  <a:ext uri="{FF2B5EF4-FFF2-40B4-BE49-F238E27FC236}">
                    <a16:creationId xmlns:a16="http://schemas.microsoft.com/office/drawing/2014/main" id="{6AAC9CDF-FC48-47D7-B45E-849BE66B1531}"/>
                  </a:ext>
                </a:extLst>
              </p:cNvPr>
              <p:cNvSpPr>
                <a:spLocks noEditPoints="1" noChangeArrowheads="1"/>
              </p:cNvSpPr>
              <p:nvPr/>
            </p:nvSpPr>
            <p:spPr bwMode="auto">
              <a:xfrm>
                <a:off x="593" y="2264"/>
                <a:ext cx="1266" cy="4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293 w 21600"/>
                  <a:gd name="T13" fmla="*/ 482 h 21600"/>
                  <a:gd name="T14" fmla="*/ 17318 w 21600"/>
                  <a:gd name="T15" fmla="*/ 21118 h 21600"/>
                </a:gdLst>
                <a:ahLst/>
                <a:cxnLst>
                  <a:cxn ang="T8">
                    <a:pos x="T0" y="T1"/>
                  </a:cxn>
                  <a:cxn ang="T9">
                    <a:pos x="T2" y="T3"/>
                  </a:cxn>
                  <a:cxn ang="T10">
                    <a:pos x="T4" y="T5"/>
                  </a:cxn>
                  <a:cxn ang="T11">
                    <a:pos x="T6" y="T7"/>
                  </a:cxn>
                </a:cxnLst>
                <a:rect l="T12" t="T13" r="T14" b="T15"/>
                <a:pathLst>
                  <a:path w="21600" h="21600">
                    <a:moveTo>
                      <a:pt x="2793" y="0"/>
                    </a:moveTo>
                    <a:lnTo>
                      <a:pt x="18806" y="0"/>
                    </a:lnTo>
                    <a:lnTo>
                      <a:pt x="21600" y="21600"/>
                    </a:lnTo>
                    <a:lnTo>
                      <a:pt x="0" y="21600"/>
                    </a:lnTo>
                    <a:lnTo>
                      <a:pt x="2793" y="0"/>
                    </a:lnTo>
                    <a:close/>
                  </a:path>
                </a:pathLst>
              </a:custGeom>
              <a:solidFill>
                <a:schemeClr val="accent5"/>
              </a:solidFill>
              <a:ln w="9525">
                <a:solidFill>
                  <a:srgbClr val="FFFFFF"/>
                </a:solidFill>
                <a:miter lim="800000"/>
                <a:headEnd/>
                <a:tailEnd/>
              </a:ln>
            </p:spPr>
            <p:txBody>
              <a:bodyPr anchor="ctr"/>
              <a:lstStyle/>
              <a:p>
                <a:pPr algn="ctr" defTabSz="781835">
                  <a:defRPr/>
                </a:pPr>
                <a:r>
                  <a:rPr lang="el-GR" sz="1400" b="1" kern="0" dirty="0">
                    <a:solidFill>
                      <a:schemeClr val="bg1"/>
                    </a:solidFill>
                  </a:rPr>
                  <a:t>      </a:t>
                </a:r>
              </a:p>
            </p:txBody>
          </p:sp>
        </p:grpSp>
      </p:grpSp>
      <p:sp>
        <p:nvSpPr>
          <p:cNvPr id="55" name="Rectangle 185">
            <a:extLst>
              <a:ext uri="{FF2B5EF4-FFF2-40B4-BE49-F238E27FC236}">
                <a16:creationId xmlns:a16="http://schemas.microsoft.com/office/drawing/2014/main" id="{B51DD05C-E4BE-4B2F-A26C-6CF87B43497A}"/>
              </a:ext>
            </a:extLst>
          </p:cNvPr>
          <p:cNvSpPr/>
          <p:nvPr/>
        </p:nvSpPr>
        <p:spPr bwMode="auto">
          <a:xfrm>
            <a:off x="4059012" y="5817586"/>
            <a:ext cx="1908298" cy="523220"/>
          </a:xfrm>
          <a:prstGeom prst="rect">
            <a:avLst/>
          </a:prstGeom>
        </p:spPr>
        <p:txBody>
          <a:bodyPr wrap="square">
            <a:spAutoFit/>
          </a:bodyPr>
          <a:lstStyle/>
          <a:p>
            <a:pPr algn="ctr" eaLnBrk="1" fontAlgn="auto" hangingPunct="1">
              <a:spcBef>
                <a:spcPts val="0"/>
              </a:spcBef>
              <a:spcAft>
                <a:spcPts val="0"/>
              </a:spcAft>
              <a:defRPr/>
            </a:pPr>
            <a:r>
              <a:rPr lang="el-GR" sz="1400" b="1" kern="0" dirty="0">
                <a:solidFill>
                  <a:schemeClr val="bg1"/>
                </a:solidFill>
              </a:rPr>
              <a:t>Δράσεις ανά Στόχο &amp;</a:t>
            </a:r>
            <a:endParaRPr lang="en-US" sz="1400" b="1" kern="0" dirty="0">
              <a:solidFill>
                <a:schemeClr val="bg1"/>
              </a:solidFill>
            </a:endParaRPr>
          </a:p>
          <a:p>
            <a:pPr algn="ctr" eaLnBrk="1" fontAlgn="auto" hangingPunct="1">
              <a:spcBef>
                <a:spcPts val="0"/>
              </a:spcBef>
              <a:spcAft>
                <a:spcPts val="0"/>
              </a:spcAft>
              <a:defRPr/>
            </a:pPr>
            <a:r>
              <a:rPr lang="el-GR" sz="1400" b="1" kern="0" dirty="0">
                <a:solidFill>
                  <a:schemeClr val="bg1"/>
                </a:solidFill>
              </a:rPr>
              <a:t>Δείκτες Υλοποίησης</a:t>
            </a:r>
            <a:endParaRPr lang="en-GB" sz="1400" b="1" kern="0" dirty="0">
              <a:solidFill>
                <a:schemeClr val="bg1"/>
              </a:solidFill>
            </a:endParaRPr>
          </a:p>
        </p:txBody>
      </p:sp>
      <p:sp>
        <p:nvSpPr>
          <p:cNvPr id="17" name="TextBox 16">
            <a:extLst>
              <a:ext uri="{FF2B5EF4-FFF2-40B4-BE49-F238E27FC236}">
                <a16:creationId xmlns:a16="http://schemas.microsoft.com/office/drawing/2014/main" id="{697B8D57-6614-4308-ACF7-13178FFF33AB}"/>
              </a:ext>
            </a:extLst>
          </p:cNvPr>
          <p:cNvSpPr txBox="1"/>
          <p:nvPr/>
        </p:nvSpPr>
        <p:spPr>
          <a:xfrm>
            <a:off x="8179910" y="1547280"/>
            <a:ext cx="1649279" cy="523220"/>
          </a:xfrm>
          <a:prstGeom prst="rect">
            <a:avLst/>
          </a:prstGeom>
          <a:noFill/>
        </p:spPr>
        <p:txBody>
          <a:bodyPr wrap="square" rtlCol="0">
            <a:spAutoFit/>
          </a:bodyPr>
          <a:lstStyle/>
          <a:p>
            <a:pPr algn="ctr"/>
            <a:r>
              <a:rPr lang="el-GR" sz="1400" b="1" kern="0" dirty="0">
                <a:solidFill>
                  <a:srgbClr val="00338D"/>
                </a:solidFill>
              </a:rPr>
              <a:t>Υπουργείο εξωτερικών</a:t>
            </a:r>
          </a:p>
        </p:txBody>
      </p:sp>
      <p:sp>
        <p:nvSpPr>
          <p:cNvPr id="70" name="TextBox 69">
            <a:extLst>
              <a:ext uri="{FF2B5EF4-FFF2-40B4-BE49-F238E27FC236}">
                <a16:creationId xmlns:a16="http://schemas.microsoft.com/office/drawing/2014/main" id="{D519A563-BA8C-4EEF-9FF7-5E8E2BC287DC}"/>
              </a:ext>
            </a:extLst>
          </p:cNvPr>
          <p:cNvSpPr txBox="1"/>
          <p:nvPr/>
        </p:nvSpPr>
        <p:spPr>
          <a:xfrm>
            <a:off x="8179910" y="2642984"/>
            <a:ext cx="1649279" cy="307777"/>
          </a:xfrm>
          <a:prstGeom prst="rect">
            <a:avLst/>
          </a:prstGeom>
          <a:noFill/>
        </p:spPr>
        <p:txBody>
          <a:bodyPr wrap="square" rtlCol="0">
            <a:spAutoFit/>
          </a:bodyPr>
          <a:lstStyle/>
          <a:p>
            <a:pPr algn="ctr"/>
            <a:r>
              <a:rPr lang="el-GR" sz="1400" b="1" kern="0" dirty="0">
                <a:solidFill>
                  <a:srgbClr val="00338D"/>
                </a:solidFill>
              </a:rPr>
              <a:t>Πολιτική Ηγεσία</a:t>
            </a:r>
          </a:p>
        </p:txBody>
      </p:sp>
      <p:sp>
        <p:nvSpPr>
          <p:cNvPr id="71" name="TextBox 70">
            <a:extLst>
              <a:ext uri="{FF2B5EF4-FFF2-40B4-BE49-F238E27FC236}">
                <a16:creationId xmlns:a16="http://schemas.microsoft.com/office/drawing/2014/main" id="{525F8669-324A-443C-81FF-40C3906F13FA}"/>
              </a:ext>
            </a:extLst>
          </p:cNvPr>
          <p:cNvSpPr txBox="1"/>
          <p:nvPr/>
        </p:nvSpPr>
        <p:spPr>
          <a:xfrm>
            <a:off x="8179910" y="3721460"/>
            <a:ext cx="1649279" cy="307777"/>
          </a:xfrm>
          <a:prstGeom prst="rect">
            <a:avLst/>
          </a:prstGeom>
          <a:noFill/>
        </p:spPr>
        <p:txBody>
          <a:bodyPr wrap="square" rtlCol="0">
            <a:spAutoFit/>
          </a:bodyPr>
          <a:lstStyle/>
          <a:p>
            <a:pPr algn="ctr"/>
            <a:r>
              <a:rPr lang="el-GR" sz="1400" b="1" kern="0" dirty="0">
                <a:solidFill>
                  <a:srgbClr val="00338D"/>
                </a:solidFill>
              </a:rPr>
              <a:t>Πολιτική Ηγεσία</a:t>
            </a:r>
          </a:p>
        </p:txBody>
      </p:sp>
      <p:sp>
        <p:nvSpPr>
          <p:cNvPr id="72" name="TextBox 71">
            <a:extLst>
              <a:ext uri="{FF2B5EF4-FFF2-40B4-BE49-F238E27FC236}">
                <a16:creationId xmlns:a16="http://schemas.microsoft.com/office/drawing/2014/main" id="{8EB6F776-C015-4B6A-9E25-EC8803F87AA2}"/>
              </a:ext>
            </a:extLst>
          </p:cNvPr>
          <p:cNvSpPr txBox="1"/>
          <p:nvPr/>
        </p:nvSpPr>
        <p:spPr>
          <a:xfrm>
            <a:off x="8179910" y="4616007"/>
            <a:ext cx="1649279" cy="738664"/>
          </a:xfrm>
          <a:prstGeom prst="rect">
            <a:avLst/>
          </a:prstGeom>
          <a:noFill/>
        </p:spPr>
        <p:txBody>
          <a:bodyPr wrap="square" rtlCol="0">
            <a:spAutoFit/>
          </a:bodyPr>
          <a:lstStyle/>
          <a:p>
            <a:pPr algn="ctr"/>
            <a:r>
              <a:rPr lang="el-GR" sz="1400" b="1" kern="0" dirty="0">
                <a:solidFill>
                  <a:srgbClr val="00338D"/>
                </a:solidFill>
              </a:rPr>
              <a:t>Πολιτική &amp; Υπηρεσιακή Ηγεσία</a:t>
            </a:r>
          </a:p>
        </p:txBody>
      </p:sp>
      <p:sp>
        <p:nvSpPr>
          <p:cNvPr id="73" name="TextBox 72">
            <a:extLst>
              <a:ext uri="{FF2B5EF4-FFF2-40B4-BE49-F238E27FC236}">
                <a16:creationId xmlns:a16="http://schemas.microsoft.com/office/drawing/2014/main" id="{3ACA2A07-094A-43E9-A14B-E27016D756D1}"/>
              </a:ext>
            </a:extLst>
          </p:cNvPr>
          <p:cNvSpPr txBox="1"/>
          <p:nvPr/>
        </p:nvSpPr>
        <p:spPr>
          <a:xfrm>
            <a:off x="8179910" y="5727531"/>
            <a:ext cx="1649279" cy="738664"/>
          </a:xfrm>
          <a:prstGeom prst="rect">
            <a:avLst/>
          </a:prstGeom>
          <a:noFill/>
        </p:spPr>
        <p:txBody>
          <a:bodyPr wrap="square" rtlCol="0">
            <a:spAutoFit/>
          </a:bodyPr>
          <a:lstStyle/>
          <a:p>
            <a:pPr algn="ctr"/>
            <a:r>
              <a:rPr lang="el-GR" sz="1400" b="1" kern="0" dirty="0">
                <a:solidFill>
                  <a:srgbClr val="00338D"/>
                </a:solidFill>
              </a:rPr>
              <a:t>Γενικοί Γραμματείς &amp; </a:t>
            </a:r>
          </a:p>
          <a:p>
            <a:pPr algn="ctr"/>
            <a:r>
              <a:rPr lang="el-GR" sz="1400" b="1" kern="0" dirty="0">
                <a:solidFill>
                  <a:srgbClr val="00338D"/>
                </a:solidFill>
              </a:rPr>
              <a:t>Γενικοί Διευθυντές</a:t>
            </a:r>
          </a:p>
        </p:txBody>
      </p:sp>
      <p:sp>
        <p:nvSpPr>
          <p:cNvPr id="114" name="Isosceles Triangle 113">
            <a:extLst>
              <a:ext uri="{FF2B5EF4-FFF2-40B4-BE49-F238E27FC236}">
                <a16:creationId xmlns:a16="http://schemas.microsoft.com/office/drawing/2014/main" id="{1E3F4071-7307-4C11-9FA9-3B7D18864E01}"/>
              </a:ext>
            </a:extLst>
          </p:cNvPr>
          <p:cNvSpPr/>
          <p:nvPr/>
        </p:nvSpPr>
        <p:spPr>
          <a:xfrm rot="5400000">
            <a:off x="8237964" y="4147313"/>
            <a:ext cx="4189153" cy="528259"/>
          </a:xfrm>
          <a:prstGeom prst="triangle">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CE77B519-AA6B-47C5-B5FF-829B1134A13B}"/>
              </a:ext>
            </a:extLst>
          </p:cNvPr>
          <p:cNvSpPr txBox="1"/>
          <p:nvPr/>
        </p:nvSpPr>
        <p:spPr>
          <a:xfrm>
            <a:off x="10554429" y="4141568"/>
            <a:ext cx="1141647" cy="523220"/>
          </a:xfrm>
          <a:prstGeom prst="rect">
            <a:avLst/>
          </a:prstGeom>
          <a:noFill/>
        </p:spPr>
        <p:txBody>
          <a:bodyPr wrap="square" rtlCol="0">
            <a:spAutoFit/>
          </a:bodyPr>
          <a:lstStyle/>
          <a:p>
            <a:pPr algn="ctr"/>
            <a:r>
              <a:rPr lang="el-GR" sz="1400" b="1" kern="0" dirty="0">
                <a:solidFill>
                  <a:srgbClr val="00338D"/>
                </a:solidFill>
              </a:rPr>
              <a:t>Κατανομή Πόρων</a:t>
            </a:r>
          </a:p>
        </p:txBody>
      </p:sp>
      <p:sp>
        <p:nvSpPr>
          <p:cNvPr id="127" name="TextBox 126">
            <a:extLst>
              <a:ext uri="{FF2B5EF4-FFF2-40B4-BE49-F238E27FC236}">
                <a16:creationId xmlns:a16="http://schemas.microsoft.com/office/drawing/2014/main" id="{A4777AA8-1583-40F8-874A-31C053AD3181}"/>
              </a:ext>
            </a:extLst>
          </p:cNvPr>
          <p:cNvSpPr txBox="1"/>
          <p:nvPr/>
        </p:nvSpPr>
        <p:spPr>
          <a:xfrm>
            <a:off x="1261071" y="2491299"/>
            <a:ext cx="1363194" cy="628347"/>
          </a:xfrm>
          <a:prstGeom prst="rect">
            <a:avLst/>
          </a:prstGeom>
          <a:noFill/>
        </p:spPr>
        <p:txBody>
          <a:bodyPr wrap="square">
            <a:spAutoFit/>
          </a:bodyPr>
          <a:lstStyle/>
          <a:p>
            <a:pPr algn="ctr">
              <a:defRPr/>
            </a:pPr>
            <a:r>
              <a:rPr lang="el-GR" b="1" dirty="0">
                <a:solidFill>
                  <a:srgbClr val="00338D"/>
                </a:solidFill>
                <a:latin typeface="Calibri" panose="020F0502020204030204" pitchFamily="34" charset="0"/>
                <a:cs typeface="Calibri" panose="020F0502020204030204" pitchFamily="34" charset="0"/>
              </a:rPr>
              <a:t>Στρατηγικό</a:t>
            </a:r>
            <a:r>
              <a:rPr lang="el-GR" dirty="0">
                <a:solidFill>
                  <a:srgbClr val="00338D"/>
                </a:solidFill>
                <a:latin typeface="Calibri" panose="020F0502020204030204" pitchFamily="34" charset="0"/>
                <a:cs typeface="Calibri" panose="020F0502020204030204" pitchFamily="34" charset="0"/>
              </a:rPr>
              <a:t> </a:t>
            </a:r>
            <a:r>
              <a:rPr lang="el-GR" b="1" dirty="0">
                <a:solidFill>
                  <a:srgbClr val="00338D"/>
                </a:solidFill>
                <a:latin typeface="Calibri" panose="020F0502020204030204" pitchFamily="34" charset="0"/>
                <a:cs typeface="Calibri" panose="020F0502020204030204" pitchFamily="34" charset="0"/>
              </a:rPr>
              <a:t>Σχέδιο</a:t>
            </a:r>
            <a:endParaRPr lang="en-GB" b="1" dirty="0">
              <a:solidFill>
                <a:srgbClr val="00338D"/>
              </a:solidFill>
              <a:latin typeface="Calibri" panose="020F0502020204030204" pitchFamily="34" charset="0"/>
              <a:cs typeface="Calibri" panose="020F0502020204030204" pitchFamily="34" charset="0"/>
            </a:endParaRPr>
          </a:p>
        </p:txBody>
      </p:sp>
      <p:cxnSp>
        <p:nvCxnSpPr>
          <p:cNvPr id="31" name="Straight Connector 30">
            <a:extLst>
              <a:ext uri="{FF2B5EF4-FFF2-40B4-BE49-F238E27FC236}">
                <a16:creationId xmlns:a16="http://schemas.microsoft.com/office/drawing/2014/main" id="{FD77FE21-51A1-4E6F-9AE6-A01CB378BE14}"/>
              </a:ext>
            </a:extLst>
          </p:cNvPr>
          <p:cNvCxnSpPr>
            <a:cxnSpLocks/>
          </p:cNvCxnSpPr>
          <p:nvPr/>
        </p:nvCxnSpPr>
        <p:spPr>
          <a:xfrm>
            <a:off x="725089" y="4411441"/>
            <a:ext cx="9180000" cy="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C9E7D8ED-9F7A-42BE-BAC9-0E4FF41B98C1}"/>
              </a:ext>
            </a:extLst>
          </p:cNvPr>
          <p:cNvSpPr txBox="1"/>
          <p:nvPr/>
        </p:nvSpPr>
        <p:spPr>
          <a:xfrm>
            <a:off x="1151193" y="5169273"/>
            <a:ext cx="1628865" cy="646331"/>
          </a:xfrm>
          <a:prstGeom prst="rect">
            <a:avLst/>
          </a:prstGeom>
          <a:noFill/>
        </p:spPr>
        <p:txBody>
          <a:bodyPr wrap="square">
            <a:spAutoFit/>
          </a:bodyPr>
          <a:lstStyle/>
          <a:p>
            <a:pPr algn="ctr">
              <a:defRPr/>
            </a:pPr>
            <a:r>
              <a:rPr lang="el-GR" b="1" dirty="0">
                <a:solidFill>
                  <a:srgbClr val="5AA2AE"/>
                </a:solidFill>
                <a:latin typeface="Calibri" panose="020F0502020204030204" pitchFamily="34" charset="0"/>
                <a:cs typeface="Calibri" panose="020F0502020204030204" pitchFamily="34" charset="0"/>
              </a:rPr>
              <a:t>Επιχειρησιακό</a:t>
            </a:r>
            <a:r>
              <a:rPr lang="el-GR" dirty="0">
                <a:solidFill>
                  <a:srgbClr val="5AA2AE"/>
                </a:solidFill>
                <a:latin typeface="Calibri" panose="020F0502020204030204" pitchFamily="34" charset="0"/>
                <a:cs typeface="Calibri" panose="020F0502020204030204" pitchFamily="34" charset="0"/>
              </a:rPr>
              <a:t> </a:t>
            </a:r>
            <a:r>
              <a:rPr lang="el-GR" b="1" dirty="0">
                <a:solidFill>
                  <a:srgbClr val="5AA2AE"/>
                </a:solidFill>
                <a:latin typeface="Calibri" panose="020F0502020204030204" pitchFamily="34" charset="0"/>
                <a:cs typeface="Calibri" panose="020F0502020204030204" pitchFamily="34" charset="0"/>
              </a:rPr>
              <a:t>Σχέδιο</a:t>
            </a:r>
            <a:endParaRPr lang="en-GB" b="1" dirty="0">
              <a:solidFill>
                <a:srgbClr val="5AA2AE"/>
              </a:solidFill>
              <a:latin typeface="Calibri" panose="020F0502020204030204" pitchFamily="34" charset="0"/>
              <a:cs typeface="Calibri" panose="020F0502020204030204" pitchFamily="34" charset="0"/>
            </a:endParaRPr>
          </a:p>
        </p:txBody>
      </p:sp>
      <p:sp>
        <p:nvSpPr>
          <p:cNvPr id="134" name="Freeform 5">
            <a:extLst>
              <a:ext uri="{FF2B5EF4-FFF2-40B4-BE49-F238E27FC236}">
                <a16:creationId xmlns:a16="http://schemas.microsoft.com/office/drawing/2014/main" id="{FF17CA38-9A88-412F-8374-256BE7A6C1CC}"/>
              </a:ext>
            </a:extLst>
          </p:cNvPr>
          <p:cNvSpPr>
            <a:spLocks noChangeAspect="1" noEditPoints="1"/>
          </p:cNvSpPr>
          <p:nvPr/>
        </p:nvSpPr>
        <p:spPr bwMode="auto">
          <a:xfrm>
            <a:off x="763845" y="2523476"/>
            <a:ext cx="432793" cy="444478"/>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800">
              <a:solidFill>
                <a:srgbClr val="00338D"/>
              </a:solidFill>
            </a:endParaRPr>
          </a:p>
        </p:txBody>
      </p:sp>
      <p:sp>
        <p:nvSpPr>
          <p:cNvPr id="135" name="Freeform 61">
            <a:extLst>
              <a:ext uri="{FF2B5EF4-FFF2-40B4-BE49-F238E27FC236}">
                <a16:creationId xmlns:a16="http://schemas.microsoft.com/office/drawing/2014/main" id="{6AC2A5E6-8B5A-4551-ADB4-BF7E616DCCA2}"/>
              </a:ext>
            </a:extLst>
          </p:cNvPr>
          <p:cNvSpPr>
            <a:spLocks noChangeAspect="1" noEditPoints="1"/>
          </p:cNvSpPr>
          <p:nvPr/>
        </p:nvSpPr>
        <p:spPr bwMode="auto">
          <a:xfrm>
            <a:off x="764458" y="5215530"/>
            <a:ext cx="431567" cy="444478"/>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254 w 704"/>
              <a:gd name="T11" fmla="*/ 211 h 706"/>
              <a:gd name="T12" fmla="*/ 443 w 704"/>
              <a:gd name="T13" fmla="*/ 211 h 706"/>
              <a:gd name="T14" fmla="*/ 665 w 704"/>
              <a:gd name="T15" fmla="*/ 676 h 706"/>
              <a:gd name="T16" fmla="*/ 39 w 704"/>
              <a:gd name="T17" fmla="*/ 676 h 706"/>
              <a:gd name="T18" fmla="*/ 254 w 704"/>
              <a:gd name="T19" fmla="*/ 211 h 706"/>
              <a:gd name="T20" fmla="*/ 31 w 704"/>
              <a:gd name="T21" fmla="*/ 623 h 706"/>
              <a:gd name="T22" fmla="*/ 31 w 704"/>
              <a:gd name="T23" fmla="*/ 211 h 706"/>
              <a:gd name="T24" fmla="*/ 221 w 704"/>
              <a:gd name="T25" fmla="*/ 211 h 706"/>
              <a:gd name="T26" fmla="*/ 31 w 704"/>
              <a:gd name="T27" fmla="*/ 623 h 706"/>
              <a:gd name="T28" fmla="*/ 476 w 704"/>
              <a:gd name="T29" fmla="*/ 211 h 706"/>
              <a:gd name="T30" fmla="*/ 674 w 704"/>
              <a:gd name="T31" fmla="*/ 211 h 706"/>
              <a:gd name="T32" fmla="*/ 674 w 704"/>
              <a:gd name="T33" fmla="*/ 625 h 706"/>
              <a:gd name="T34" fmla="*/ 476 w 704"/>
              <a:gd name="T35" fmla="*/ 211 h 706"/>
              <a:gd name="T36" fmla="*/ 674 w 704"/>
              <a:gd name="T37" fmla="*/ 30 h 706"/>
              <a:gd name="T38" fmla="*/ 674 w 704"/>
              <a:gd name="T39" fmla="*/ 180 h 706"/>
              <a:gd name="T40" fmla="*/ 462 w 704"/>
              <a:gd name="T41" fmla="*/ 180 h 706"/>
              <a:gd name="T42" fmla="*/ 236 w 704"/>
              <a:gd name="T43" fmla="*/ 180 h 706"/>
              <a:gd name="T44" fmla="*/ 31 w 704"/>
              <a:gd name="T45" fmla="*/ 180 h 706"/>
              <a:gd name="T46" fmla="*/ 31 w 704"/>
              <a:gd name="T47" fmla="*/ 30 h 706"/>
              <a:gd name="T48" fmla="*/ 674 w 704"/>
              <a:gd name="T49" fmla="*/ 30 h 706"/>
              <a:gd name="T50" fmla="*/ 338 w 704"/>
              <a:gd name="T51" fmla="*/ 559 h 706"/>
              <a:gd name="T52" fmla="*/ 367 w 704"/>
              <a:gd name="T53" fmla="*/ 559 h 706"/>
              <a:gd name="T54" fmla="*/ 367 w 704"/>
              <a:gd name="T55" fmla="*/ 641 h 706"/>
              <a:gd name="T56" fmla="*/ 338 w 704"/>
              <a:gd name="T57" fmla="*/ 641 h 706"/>
              <a:gd name="T58" fmla="*/ 338 w 704"/>
              <a:gd name="T59" fmla="*/ 559 h 706"/>
              <a:gd name="T60" fmla="*/ 338 w 704"/>
              <a:gd name="T61" fmla="*/ 430 h 706"/>
              <a:gd name="T62" fmla="*/ 367 w 704"/>
              <a:gd name="T63" fmla="*/ 430 h 706"/>
              <a:gd name="T64" fmla="*/ 367 w 704"/>
              <a:gd name="T65" fmla="*/ 503 h 706"/>
              <a:gd name="T66" fmla="*/ 338 w 704"/>
              <a:gd name="T67" fmla="*/ 503 h 706"/>
              <a:gd name="T68" fmla="*/ 338 w 704"/>
              <a:gd name="T69" fmla="*/ 430 h 706"/>
              <a:gd name="T70" fmla="*/ 338 w 704"/>
              <a:gd name="T71" fmla="*/ 323 h 706"/>
              <a:gd name="T72" fmla="*/ 367 w 704"/>
              <a:gd name="T73" fmla="*/ 323 h 706"/>
              <a:gd name="T74" fmla="*/ 367 w 704"/>
              <a:gd name="T75" fmla="*/ 385 h 706"/>
              <a:gd name="T76" fmla="*/ 338 w 704"/>
              <a:gd name="T77" fmla="*/ 385 h 706"/>
              <a:gd name="T78" fmla="*/ 338 w 704"/>
              <a:gd name="T79" fmla="*/ 323 h 706"/>
              <a:gd name="T80" fmla="*/ 338 w 704"/>
              <a:gd name="T81" fmla="*/ 231 h 706"/>
              <a:gd name="T82" fmla="*/ 367 w 704"/>
              <a:gd name="T83" fmla="*/ 231 h 706"/>
              <a:gd name="T84" fmla="*/ 367 w 704"/>
              <a:gd name="T85" fmla="*/ 286 h 706"/>
              <a:gd name="T86" fmla="*/ 338 w 704"/>
              <a:gd name="T87" fmla="*/ 286 h 706"/>
              <a:gd name="T88" fmla="*/ 338 w 704"/>
              <a:gd name="T89" fmla="*/ 231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4" h="706">
                <a:moveTo>
                  <a:pt x="0" y="0"/>
                </a:moveTo>
                <a:lnTo>
                  <a:pt x="0" y="706"/>
                </a:lnTo>
                <a:lnTo>
                  <a:pt x="704" y="706"/>
                </a:lnTo>
                <a:lnTo>
                  <a:pt x="704" y="0"/>
                </a:lnTo>
                <a:lnTo>
                  <a:pt x="0" y="0"/>
                </a:lnTo>
                <a:close/>
                <a:moveTo>
                  <a:pt x="254" y="211"/>
                </a:moveTo>
                <a:lnTo>
                  <a:pt x="443" y="211"/>
                </a:lnTo>
                <a:lnTo>
                  <a:pt x="665" y="676"/>
                </a:lnTo>
                <a:lnTo>
                  <a:pt x="39" y="676"/>
                </a:lnTo>
                <a:lnTo>
                  <a:pt x="254" y="211"/>
                </a:lnTo>
                <a:close/>
                <a:moveTo>
                  <a:pt x="31" y="623"/>
                </a:moveTo>
                <a:lnTo>
                  <a:pt x="31" y="211"/>
                </a:lnTo>
                <a:lnTo>
                  <a:pt x="221" y="211"/>
                </a:lnTo>
                <a:lnTo>
                  <a:pt x="31" y="623"/>
                </a:lnTo>
                <a:close/>
                <a:moveTo>
                  <a:pt x="476" y="211"/>
                </a:moveTo>
                <a:lnTo>
                  <a:pt x="674" y="211"/>
                </a:lnTo>
                <a:lnTo>
                  <a:pt x="674" y="625"/>
                </a:lnTo>
                <a:lnTo>
                  <a:pt x="476" y="211"/>
                </a:lnTo>
                <a:close/>
                <a:moveTo>
                  <a:pt x="674" y="30"/>
                </a:moveTo>
                <a:lnTo>
                  <a:pt x="674" y="180"/>
                </a:lnTo>
                <a:lnTo>
                  <a:pt x="462" y="180"/>
                </a:lnTo>
                <a:lnTo>
                  <a:pt x="236" y="180"/>
                </a:lnTo>
                <a:lnTo>
                  <a:pt x="31" y="180"/>
                </a:lnTo>
                <a:lnTo>
                  <a:pt x="31" y="30"/>
                </a:lnTo>
                <a:lnTo>
                  <a:pt x="674" y="30"/>
                </a:lnTo>
                <a:close/>
                <a:moveTo>
                  <a:pt x="338" y="559"/>
                </a:moveTo>
                <a:lnTo>
                  <a:pt x="367" y="559"/>
                </a:lnTo>
                <a:lnTo>
                  <a:pt x="367" y="641"/>
                </a:lnTo>
                <a:lnTo>
                  <a:pt x="338" y="641"/>
                </a:lnTo>
                <a:lnTo>
                  <a:pt x="338" y="559"/>
                </a:lnTo>
                <a:close/>
                <a:moveTo>
                  <a:pt x="338" y="430"/>
                </a:moveTo>
                <a:lnTo>
                  <a:pt x="367" y="430"/>
                </a:lnTo>
                <a:lnTo>
                  <a:pt x="367" y="503"/>
                </a:lnTo>
                <a:lnTo>
                  <a:pt x="338" y="503"/>
                </a:lnTo>
                <a:lnTo>
                  <a:pt x="338" y="430"/>
                </a:lnTo>
                <a:close/>
                <a:moveTo>
                  <a:pt x="338" y="323"/>
                </a:moveTo>
                <a:lnTo>
                  <a:pt x="367" y="323"/>
                </a:lnTo>
                <a:lnTo>
                  <a:pt x="367" y="385"/>
                </a:lnTo>
                <a:lnTo>
                  <a:pt x="338" y="385"/>
                </a:lnTo>
                <a:lnTo>
                  <a:pt x="338" y="323"/>
                </a:lnTo>
                <a:close/>
                <a:moveTo>
                  <a:pt x="338" y="231"/>
                </a:moveTo>
                <a:lnTo>
                  <a:pt x="367" y="231"/>
                </a:lnTo>
                <a:lnTo>
                  <a:pt x="367" y="286"/>
                </a:lnTo>
                <a:lnTo>
                  <a:pt x="338" y="286"/>
                </a:lnTo>
                <a:lnTo>
                  <a:pt x="338" y="2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ja-JP" altLang="en-US">
              <a:solidFill>
                <a:srgbClr val="5AA2AE"/>
              </a:solidFill>
            </a:endParaRPr>
          </a:p>
        </p:txBody>
      </p:sp>
      <p:sp>
        <p:nvSpPr>
          <p:cNvPr id="136" name="Freeform 73">
            <a:extLst>
              <a:ext uri="{FF2B5EF4-FFF2-40B4-BE49-F238E27FC236}">
                <a16:creationId xmlns:a16="http://schemas.microsoft.com/office/drawing/2014/main" id="{F972228F-2A57-4BD3-89F1-BFFB158CCD4F}"/>
              </a:ext>
            </a:extLst>
          </p:cNvPr>
          <p:cNvSpPr>
            <a:spLocks noChangeAspect="1" noEditPoints="1"/>
          </p:cNvSpPr>
          <p:nvPr/>
        </p:nvSpPr>
        <p:spPr bwMode="auto">
          <a:xfrm>
            <a:off x="4913834" y="1614447"/>
            <a:ext cx="238547" cy="245686"/>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2 h 576"/>
              <a:gd name="T12" fmla="*/ 25 w 576"/>
              <a:gd name="T13" fmla="*/ 552 h 576"/>
              <a:gd name="T14" fmla="*/ 25 w 576"/>
              <a:gd name="T15" fmla="*/ 25 h 576"/>
              <a:gd name="T16" fmla="*/ 551 w 576"/>
              <a:gd name="T17" fmla="*/ 25 h 576"/>
              <a:gd name="T18" fmla="*/ 551 w 576"/>
              <a:gd name="T19" fmla="*/ 552 h 576"/>
              <a:gd name="T20" fmla="*/ 288 w 576"/>
              <a:gd name="T21" fmla="*/ 529 h 576"/>
              <a:gd name="T22" fmla="*/ 528 w 576"/>
              <a:gd name="T23" fmla="*/ 289 h 576"/>
              <a:gd name="T24" fmla="*/ 288 w 576"/>
              <a:gd name="T25" fmla="*/ 49 h 576"/>
              <a:gd name="T26" fmla="*/ 48 w 576"/>
              <a:gd name="T27" fmla="*/ 289 h 576"/>
              <a:gd name="T28" fmla="*/ 288 w 576"/>
              <a:gd name="T29" fmla="*/ 529 h 576"/>
              <a:gd name="T30" fmla="*/ 288 w 576"/>
              <a:gd name="T31" fmla="*/ 73 h 576"/>
              <a:gd name="T32" fmla="*/ 504 w 576"/>
              <a:gd name="T33" fmla="*/ 289 h 576"/>
              <a:gd name="T34" fmla="*/ 288 w 576"/>
              <a:gd name="T35" fmla="*/ 505 h 576"/>
              <a:gd name="T36" fmla="*/ 72 w 576"/>
              <a:gd name="T37" fmla="*/ 289 h 576"/>
              <a:gd name="T38" fmla="*/ 288 w 576"/>
              <a:gd name="T39" fmla="*/ 73 h 576"/>
              <a:gd name="T40" fmla="*/ 300 w 576"/>
              <a:gd name="T41" fmla="*/ 160 h 576"/>
              <a:gd name="T42" fmla="*/ 276 w 576"/>
              <a:gd name="T43" fmla="*/ 160 h 576"/>
              <a:gd name="T44" fmla="*/ 276 w 576"/>
              <a:gd name="T45" fmla="*/ 102 h 576"/>
              <a:gd name="T46" fmla="*/ 300 w 576"/>
              <a:gd name="T47" fmla="*/ 102 h 576"/>
              <a:gd name="T48" fmla="*/ 300 w 576"/>
              <a:gd name="T49" fmla="*/ 160 h 576"/>
              <a:gd name="T50" fmla="*/ 276 w 576"/>
              <a:gd name="T51" fmla="*/ 419 h 576"/>
              <a:gd name="T52" fmla="*/ 300 w 576"/>
              <a:gd name="T53" fmla="*/ 419 h 576"/>
              <a:gd name="T54" fmla="*/ 300 w 576"/>
              <a:gd name="T55" fmla="*/ 477 h 576"/>
              <a:gd name="T56" fmla="*/ 276 w 576"/>
              <a:gd name="T57" fmla="*/ 477 h 576"/>
              <a:gd name="T58" fmla="*/ 276 w 576"/>
              <a:gd name="T59" fmla="*/ 419 h 576"/>
              <a:gd name="T60" fmla="*/ 417 w 576"/>
              <a:gd name="T61" fmla="*/ 277 h 576"/>
              <a:gd name="T62" fmla="*/ 476 w 576"/>
              <a:gd name="T63" fmla="*/ 277 h 576"/>
              <a:gd name="T64" fmla="*/ 476 w 576"/>
              <a:gd name="T65" fmla="*/ 302 h 576"/>
              <a:gd name="T66" fmla="*/ 417 w 576"/>
              <a:gd name="T67" fmla="*/ 302 h 576"/>
              <a:gd name="T68" fmla="*/ 417 w 576"/>
              <a:gd name="T69" fmla="*/ 277 h 576"/>
              <a:gd name="T70" fmla="*/ 159 w 576"/>
              <a:gd name="T71" fmla="*/ 302 h 576"/>
              <a:gd name="T72" fmla="*/ 100 w 576"/>
              <a:gd name="T73" fmla="*/ 302 h 576"/>
              <a:gd name="T74" fmla="*/ 100 w 576"/>
              <a:gd name="T75" fmla="*/ 277 h 576"/>
              <a:gd name="T76" fmla="*/ 159 w 576"/>
              <a:gd name="T77" fmla="*/ 277 h 576"/>
              <a:gd name="T78" fmla="*/ 159 w 576"/>
              <a:gd name="T79" fmla="*/ 302 h 576"/>
              <a:gd name="T80" fmla="*/ 160 w 576"/>
              <a:gd name="T81" fmla="*/ 418 h 576"/>
              <a:gd name="T82" fmla="*/ 168 w 576"/>
              <a:gd name="T83" fmla="*/ 422 h 576"/>
              <a:gd name="T84" fmla="*/ 174 w 576"/>
              <a:gd name="T85" fmla="*/ 420 h 576"/>
              <a:gd name="T86" fmla="*/ 329 w 576"/>
              <a:gd name="T87" fmla="*/ 336 h 576"/>
              <a:gd name="T88" fmla="*/ 332 w 576"/>
              <a:gd name="T89" fmla="*/ 333 h 576"/>
              <a:gd name="T90" fmla="*/ 334 w 576"/>
              <a:gd name="T91" fmla="*/ 330 h 576"/>
              <a:gd name="T92" fmla="*/ 418 w 576"/>
              <a:gd name="T93" fmla="*/ 176 h 576"/>
              <a:gd name="T94" fmla="*/ 416 w 576"/>
              <a:gd name="T95" fmla="*/ 161 h 576"/>
              <a:gd name="T96" fmla="*/ 402 w 576"/>
              <a:gd name="T97" fmla="*/ 159 h 576"/>
              <a:gd name="T98" fmla="*/ 247 w 576"/>
              <a:gd name="T99" fmla="*/ 243 h 576"/>
              <a:gd name="T100" fmla="*/ 244 w 576"/>
              <a:gd name="T101" fmla="*/ 246 h 576"/>
              <a:gd name="T102" fmla="*/ 242 w 576"/>
              <a:gd name="T103" fmla="*/ 249 h 576"/>
              <a:gd name="T104" fmla="*/ 158 w 576"/>
              <a:gd name="T105" fmla="*/ 403 h 576"/>
              <a:gd name="T106" fmla="*/ 160 w 576"/>
              <a:gd name="T107" fmla="*/ 418 h 576"/>
              <a:gd name="T108" fmla="*/ 377 w 576"/>
              <a:gd name="T109" fmla="*/ 201 h 576"/>
              <a:gd name="T110" fmla="*/ 320 w 576"/>
              <a:gd name="T111" fmla="*/ 304 h 576"/>
              <a:gd name="T112" fmla="*/ 273 w 576"/>
              <a:gd name="T113" fmla="*/ 257 h 576"/>
              <a:gd name="T114" fmla="*/ 377 w 576"/>
              <a:gd name="T115" fmla="*/ 201 h 576"/>
              <a:gd name="T116" fmla="*/ 256 w 576"/>
              <a:gd name="T117" fmla="*/ 275 h 576"/>
              <a:gd name="T118" fmla="*/ 303 w 576"/>
              <a:gd name="T119" fmla="*/ 322 h 576"/>
              <a:gd name="T120" fmla="*/ 199 w 576"/>
              <a:gd name="T121" fmla="*/ 378 h 576"/>
              <a:gd name="T122" fmla="*/ 256 w 576"/>
              <a:gd name="T123" fmla="*/ 2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529"/>
                </a:moveTo>
                <a:cubicBezTo>
                  <a:pt x="421" y="529"/>
                  <a:pt x="528" y="422"/>
                  <a:pt x="528" y="289"/>
                </a:cubicBezTo>
                <a:cubicBezTo>
                  <a:pt x="528" y="157"/>
                  <a:pt x="421" y="49"/>
                  <a:pt x="288" y="49"/>
                </a:cubicBezTo>
                <a:cubicBezTo>
                  <a:pt x="156" y="49"/>
                  <a:pt x="48" y="157"/>
                  <a:pt x="48" y="289"/>
                </a:cubicBezTo>
                <a:cubicBezTo>
                  <a:pt x="48" y="422"/>
                  <a:pt x="156" y="529"/>
                  <a:pt x="288" y="529"/>
                </a:cubicBezTo>
                <a:close/>
                <a:moveTo>
                  <a:pt x="288" y="73"/>
                </a:moveTo>
                <a:cubicBezTo>
                  <a:pt x="407" y="73"/>
                  <a:pt x="504" y="170"/>
                  <a:pt x="504" y="289"/>
                </a:cubicBezTo>
                <a:cubicBezTo>
                  <a:pt x="504" y="408"/>
                  <a:pt x="407" y="505"/>
                  <a:pt x="288" y="505"/>
                </a:cubicBezTo>
                <a:cubicBezTo>
                  <a:pt x="169" y="505"/>
                  <a:pt x="72" y="408"/>
                  <a:pt x="72" y="289"/>
                </a:cubicBezTo>
                <a:cubicBezTo>
                  <a:pt x="72" y="170"/>
                  <a:pt x="169" y="73"/>
                  <a:pt x="288" y="73"/>
                </a:cubicBezTo>
                <a:close/>
                <a:moveTo>
                  <a:pt x="300" y="160"/>
                </a:moveTo>
                <a:cubicBezTo>
                  <a:pt x="276" y="160"/>
                  <a:pt x="276" y="160"/>
                  <a:pt x="276" y="160"/>
                </a:cubicBezTo>
                <a:cubicBezTo>
                  <a:pt x="276" y="102"/>
                  <a:pt x="276" y="102"/>
                  <a:pt x="276" y="102"/>
                </a:cubicBezTo>
                <a:cubicBezTo>
                  <a:pt x="300" y="102"/>
                  <a:pt x="300" y="102"/>
                  <a:pt x="300" y="102"/>
                </a:cubicBezTo>
                <a:lnTo>
                  <a:pt x="300" y="160"/>
                </a:lnTo>
                <a:close/>
                <a:moveTo>
                  <a:pt x="276" y="419"/>
                </a:moveTo>
                <a:cubicBezTo>
                  <a:pt x="300" y="419"/>
                  <a:pt x="300" y="419"/>
                  <a:pt x="300" y="419"/>
                </a:cubicBezTo>
                <a:cubicBezTo>
                  <a:pt x="300" y="477"/>
                  <a:pt x="300" y="477"/>
                  <a:pt x="300" y="477"/>
                </a:cubicBezTo>
                <a:cubicBezTo>
                  <a:pt x="276" y="477"/>
                  <a:pt x="276" y="477"/>
                  <a:pt x="276" y="477"/>
                </a:cubicBezTo>
                <a:lnTo>
                  <a:pt x="276" y="419"/>
                </a:lnTo>
                <a:close/>
                <a:moveTo>
                  <a:pt x="417" y="277"/>
                </a:moveTo>
                <a:cubicBezTo>
                  <a:pt x="476" y="277"/>
                  <a:pt x="476" y="277"/>
                  <a:pt x="476" y="277"/>
                </a:cubicBezTo>
                <a:cubicBezTo>
                  <a:pt x="476" y="302"/>
                  <a:pt x="476" y="302"/>
                  <a:pt x="476" y="302"/>
                </a:cubicBezTo>
                <a:cubicBezTo>
                  <a:pt x="417" y="302"/>
                  <a:pt x="417" y="302"/>
                  <a:pt x="417" y="302"/>
                </a:cubicBezTo>
                <a:lnTo>
                  <a:pt x="417" y="277"/>
                </a:lnTo>
                <a:close/>
                <a:moveTo>
                  <a:pt x="159" y="302"/>
                </a:moveTo>
                <a:cubicBezTo>
                  <a:pt x="100" y="302"/>
                  <a:pt x="100" y="302"/>
                  <a:pt x="100" y="302"/>
                </a:cubicBezTo>
                <a:cubicBezTo>
                  <a:pt x="100" y="277"/>
                  <a:pt x="100" y="277"/>
                  <a:pt x="100" y="277"/>
                </a:cubicBezTo>
                <a:cubicBezTo>
                  <a:pt x="159" y="277"/>
                  <a:pt x="159" y="277"/>
                  <a:pt x="159" y="277"/>
                </a:cubicBezTo>
                <a:lnTo>
                  <a:pt x="159" y="302"/>
                </a:lnTo>
                <a:close/>
                <a:moveTo>
                  <a:pt x="160" y="418"/>
                </a:moveTo>
                <a:cubicBezTo>
                  <a:pt x="162" y="420"/>
                  <a:pt x="165" y="422"/>
                  <a:pt x="168" y="422"/>
                </a:cubicBezTo>
                <a:cubicBezTo>
                  <a:pt x="170" y="422"/>
                  <a:pt x="172" y="421"/>
                  <a:pt x="174" y="420"/>
                </a:cubicBezTo>
                <a:cubicBezTo>
                  <a:pt x="329" y="336"/>
                  <a:pt x="329" y="336"/>
                  <a:pt x="329" y="336"/>
                </a:cubicBezTo>
                <a:cubicBezTo>
                  <a:pt x="330" y="335"/>
                  <a:pt x="331" y="334"/>
                  <a:pt x="332" y="333"/>
                </a:cubicBezTo>
                <a:cubicBezTo>
                  <a:pt x="333" y="333"/>
                  <a:pt x="334" y="332"/>
                  <a:pt x="334" y="330"/>
                </a:cubicBezTo>
                <a:cubicBezTo>
                  <a:pt x="418" y="176"/>
                  <a:pt x="418" y="176"/>
                  <a:pt x="418" y="176"/>
                </a:cubicBezTo>
                <a:cubicBezTo>
                  <a:pt x="421" y="171"/>
                  <a:pt x="420" y="165"/>
                  <a:pt x="416" y="161"/>
                </a:cubicBezTo>
                <a:cubicBezTo>
                  <a:pt x="412" y="157"/>
                  <a:pt x="407" y="157"/>
                  <a:pt x="402" y="159"/>
                </a:cubicBezTo>
                <a:cubicBezTo>
                  <a:pt x="247" y="243"/>
                  <a:pt x="247" y="243"/>
                  <a:pt x="247" y="243"/>
                </a:cubicBezTo>
                <a:cubicBezTo>
                  <a:pt x="246" y="244"/>
                  <a:pt x="245" y="245"/>
                  <a:pt x="244" y="246"/>
                </a:cubicBezTo>
                <a:cubicBezTo>
                  <a:pt x="243" y="247"/>
                  <a:pt x="242" y="248"/>
                  <a:pt x="242" y="249"/>
                </a:cubicBezTo>
                <a:cubicBezTo>
                  <a:pt x="158" y="403"/>
                  <a:pt x="158" y="403"/>
                  <a:pt x="158" y="403"/>
                </a:cubicBezTo>
                <a:cubicBezTo>
                  <a:pt x="155" y="408"/>
                  <a:pt x="156" y="414"/>
                  <a:pt x="160" y="418"/>
                </a:cubicBezTo>
                <a:close/>
                <a:moveTo>
                  <a:pt x="377" y="201"/>
                </a:moveTo>
                <a:cubicBezTo>
                  <a:pt x="320" y="304"/>
                  <a:pt x="320" y="304"/>
                  <a:pt x="320" y="304"/>
                </a:cubicBezTo>
                <a:cubicBezTo>
                  <a:pt x="273" y="257"/>
                  <a:pt x="273" y="257"/>
                  <a:pt x="273" y="257"/>
                </a:cubicBezTo>
                <a:lnTo>
                  <a:pt x="377" y="201"/>
                </a:lnTo>
                <a:close/>
                <a:moveTo>
                  <a:pt x="256" y="275"/>
                </a:moveTo>
                <a:cubicBezTo>
                  <a:pt x="303" y="322"/>
                  <a:pt x="303" y="322"/>
                  <a:pt x="303" y="322"/>
                </a:cubicBezTo>
                <a:cubicBezTo>
                  <a:pt x="199" y="378"/>
                  <a:pt x="199" y="378"/>
                  <a:pt x="199" y="378"/>
                </a:cubicBezTo>
                <a:lnTo>
                  <a:pt x="256"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137" name="Freeform 112">
            <a:extLst>
              <a:ext uri="{FF2B5EF4-FFF2-40B4-BE49-F238E27FC236}">
                <a16:creationId xmlns:a16="http://schemas.microsoft.com/office/drawing/2014/main" id="{2149E311-EFDC-4024-A38E-19D603596036}"/>
              </a:ext>
            </a:extLst>
          </p:cNvPr>
          <p:cNvSpPr>
            <a:spLocks noChangeAspect="1" noEditPoints="1"/>
          </p:cNvSpPr>
          <p:nvPr/>
        </p:nvSpPr>
        <p:spPr bwMode="auto">
          <a:xfrm>
            <a:off x="4913834" y="2347854"/>
            <a:ext cx="238547" cy="245685"/>
          </a:xfrm>
          <a:custGeom>
            <a:avLst/>
            <a:gdLst>
              <a:gd name="T0" fmla="*/ 288 w 576"/>
              <a:gd name="T1" fmla="*/ 224 h 576"/>
              <a:gd name="T2" fmla="*/ 224 w 576"/>
              <a:gd name="T3" fmla="*/ 288 h 576"/>
              <a:gd name="T4" fmla="*/ 288 w 576"/>
              <a:gd name="T5" fmla="*/ 352 h 576"/>
              <a:gd name="T6" fmla="*/ 352 w 576"/>
              <a:gd name="T7" fmla="*/ 288 h 576"/>
              <a:gd name="T8" fmla="*/ 288 w 576"/>
              <a:gd name="T9" fmla="*/ 224 h 576"/>
              <a:gd name="T10" fmla="*/ 327 w 576"/>
              <a:gd name="T11" fmla="*/ 288 h 576"/>
              <a:gd name="T12" fmla="*/ 288 w 576"/>
              <a:gd name="T13" fmla="*/ 327 h 576"/>
              <a:gd name="T14" fmla="*/ 249 w 576"/>
              <a:gd name="T15" fmla="*/ 288 h 576"/>
              <a:gd name="T16" fmla="*/ 288 w 576"/>
              <a:gd name="T17" fmla="*/ 249 h 576"/>
              <a:gd name="T18" fmla="*/ 327 w 576"/>
              <a:gd name="T19" fmla="*/ 288 h 576"/>
              <a:gd name="T20" fmla="*/ 479 w 576"/>
              <a:gd name="T21" fmla="*/ 288 h 576"/>
              <a:gd name="T22" fmla="*/ 423 w 576"/>
              <a:gd name="T23" fmla="*/ 153 h 576"/>
              <a:gd name="T24" fmla="*/ 288 w 576"/>
              <a:gd name="T25" fmla="*/ 97 h 576"/>
              <a:gd name="T26" fmla="*/ 153 w 576"/>
              <a:gd name="T27" fmla="*/ 153 h 576"/>
              <a:gd name="T28" fmla="*/ 97 w 576"/>
              <a:gd name="T29" fmla="*/ 288 h 576"/>
              <a:gd name="T30" fmla="*/ 145 w 576"/>
              <a:gd name="T31" fmla="*/ 414 h 576"/>
              <a:gd name="T32" fmla="*/ 113 w 576"/>
              <a:gd name="T33" fmla="*/ 446 h 576"/>
              <a:gd name="T34" fmla="*/ 113 w 576"/>
              <a:gd name="T35" fmla="*/ 446 h 576"/>
              <a:gd name="T36" fmla="*/ 130 w 576"/>
              <a:gd name="T37" fmla="*/ 463 h 576"/>
              <a:gd name="T38" fmla="*/ 130 w 576"/>
              <a:gd name="T39" fmla="*/ 463 h 576"/>
              <a:gd name="T40" fmla="*/ 162 w 576"/>
              <a:gd name="T41" fmla="*/ 431 h 576"/>
              <a:gd name="T42" fmla="*/ 288 w 576"/>
              <a:gd name="T43" fmla="*/ 479 h 576"/>
              <a:gd name="T44" fmla="*/ 414 w 576"/>
              <a:gd name="T45" fmla="*/ 431 h 576"/>
              <a:gd name="T46" fmla="*/ 446 w 576"/>
              <a:gd name="T47" fmla="*/ 463 h 576"/>
              <a:gd name="T48" fmla="*/ 446 w 576"/>
              <a:gd name="T49" fmla="*/ 463 h 576"/>
              <a:gd name="T50" fmla="*/ 463 w 576"/>
              <a:gd name="T51" fmla="*/ 446 h 576"/>
              <a:gd name="T52" fmla="*/ 464 w 576"/>
              <a:gd name="T53" fmla="*/ 446 h 576"/>
              <a:gd name="T54" fmla="*/ 431 w 576"/>
              <a:gd name="T55" fmla="*/ 414 h 576"/>
              <a:gd name="T56" fmla="*/ 479 w 576"/>
              <a:gd name="T57" fmla="*/ 288 h 576"/>
              <a:gd name="T58" fmla="*/ 454 w 576"/>
              <a:gd name="T59" fmla="*/ 288 h 576"/>
              <a:gd name="T60" fmla="*/ 288 w 576"/>
              <a:gd name="T61" fmla="*/ 454 h 576"/>
              <a:gd name="T62" fmla="*/ 122 w 576"/>
              <a:gd name="T63" fmla="*/ 288 h 576"/>
              <a:gd name="T64" fmla="*/ 288 w 576"/>
              <a:gd name="T65" fmla="*/ 122 h 576"/>
              <a:gd name="T66" fmla="*/ 454 w 576"/>
              <a:gd name="T67" fmla="*/ 288 h 576"/>
              <a:gd name="T68" fmla="*/ 288 w 576"/>
              <a:gd name="T69" fmla="*/ 161 h 576"/>
              <a:gd name="T70" fmla="*/ 161 w 576"/>
              <a:gd name="T71" fmla="*/ 288 h 576"/>
              <a:gd name="T72" fmla="*/ 288 w 576"/>
              <a:gd name="T73" fmla="*/ 415 h 576"/>
              <a:gd name="T74" fmla="*/ 415 w 576"/>
              <a:gd name="T75" fmla="*/ 288 h 576"/>
              <a:gd name="T76" fmla="*/ 288 w 576"/>
              <a:gd name="T77" fmla="*/ 161 h 576"/>
              <a:gd name="T78" fmla="*/ 391 w 576"/>
              <a:gd name="T79" fmla="*/ 288 h 576"/>
              <a:gd name="T80" fmla="*/ 288 w 576"/>
              <a:gd name="T81" fmla="*/ 391 h 576"/>
              <a:gd name="T82" fmla="*/ 185 w 576"/>
              <a:gd name="T83" fmla="*/ 288 h 576"/>
              <a:gd name="T84" fmla="*/ 288 w 576"/>
              <a:gd name="T85" fmla="*/ 185 h 576"/>
              <a:gd name="T86" fmla="*/ 391 w 576"/>
              <a:gd name="T87" fmla="*/ 288 h 576"/>
              <a:gd name="T88" fmla="*/ 0 w 576"/>
              <a:gd name="T89" fmla="*/ 0 h 576"/>
              <a:gd name="T90" fmla="*/ 0 w 576"/>
              <a:gd name="T91" fmla="*/ 576 h 576"/>
              <a:gd name="T92" fmla="*/ 576 w 576"/>
              <a:gd name="T93" fmla="*/ 576 h 576"/>
              <a:gd name="T94" fmla="*/ 576 w 576"/>
              <a:gd name="T95" fmla="*/ 0 h 576"/>
              <a:gd name="T96" fmla="*/ 0 w 576"/>
              <a:gd name="T97" fmla="*/ 0 h 576"/>
              <a:gd name="T98" fmla="*/ 551 w 576"/>
              <a:gd name="T99" fmla="*/ 551 h 576"/>
              <a:gd name="T100" fmla="*/ 25 w 576"/>
              <a:gd name="T101" fmla="*/ 551 h 576"/>
              <a:gd name="T102" fmla="*/ 25 w 576"/>
              <a:gd name="T103" fmla="*/ 25 h 576"/>
              <a:gd name="T104" fmla="*/ 551 w 576"/>
              <a:gd name="T105" fmla="*/ 25 h 576"/>
              <a:gd name="T106" fmla="*/ 551 w 576"/>
              <a:gd name="T10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6" h="576">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138" name="Freeform 89">
            <a:extLst>
              <a:ext uri="{FF2B5EF4-FFF2-40B4-BE49-F238E27FC236}">
                <a16:creationId xmlns:a16="http://schemas.microsoft.com/office/drawing/2014/main" id="{EBAD1FD1-249E-4B65-962D-FD6D04CC58C7}"/>
              </a:ext>
            </a:extLst>
          </p:cNvPr>
          <p:cNvSpPr>
            <a:spLocks noChangeAspect="1" noEditPoints="1"/>
          </p:cNvSpPr>
          <p:nvPr/>
        </p:nvSpPr>
        <p:spPr bwMode="auto">
          <a:xfrm>
            <a:off x="4913834" y="3402330"/>
            <a:ext cx="238547" cy="245685"/>
          </a:xfrm>
          <a:custGeom>
            <a:avLst/>
            <a:gdLst>
              <a:gd name="T0" fmla="*/ 337 w 704"/>
              <a:gd name="T1" fmla="*/ 488 h 706"/>
              <a:gd name="T2" fmla="*/ 367 w 704"/>
              <a:gd name="T3" fmla="*/ 488 h 706"/>
              <a:gd name="T4" fmla="*/ 492 w 704"/>
              <a:gd name="T5" fmla="*/ 623 h 706"/>
              <a:gd name="T6" fmla="*/ 367 w 704"/>
              <a:gd name="T7" fmla="*/ 373 h 706"/>
              <a:gd name="T8" fmla="*/ 285 w 704"/>
              <a:gd name="T9" fmla="*/ 217 h 706"/>
              <a:gd name="T10" fmla="*/ 78 w 704"/>
              <a:gd name="T11" fmla="*/ 488 h 706"/>
              <a:gd name="T12" fmla="*/ 315 w 704"/>
              <a:gd name="T13" fmla="*/ 592 h 706"/>
              <a:gd name="T14" fmla="*/ 522 w 704"/>
              <a:gd name="T15" fmla="*/ 592 h 706"/>
              <a:gd name="T16" fmla="*/ 107 w 704"/>
              <a:gd name="T17" fmla="*/ 592 h 706"/>
              <a:gd name="T18" fmla="*/ 704 w 704"/>
              <a:gd name="T19" fmla="*/ 29 h 706"/>
              <a:gd name="T20" fmla="*/ 43 w 704"/>
              <a:gd name="T21" fmla="*/ 29 h 706"/>
              <a:gd name="T22" fmla="*/ 211 w 704"/>
              <a:gd name="T23" fmla="*/ 29 h 706"/>
              <a:gd name="T24" fmla="*/ 422 w 704"/>
              <a:gd name="T25" fmla="*/ 29 h 706"/>
              <a:gd name="T26" fmla="*/ 337 w 704"/>
              <a:gd name="T27" fmla="*/ 29 h 706"/>
              <a:gd name="T28" fmla="*/ 296 w 704"/>
              <a:gd name="T29" fmla="*/ 29 h 706"/>
              <a:gd name="T30" fmla="*/ 464 w 704"/>
              <a:gd name="T31" fmla="*/ 29 h 706"/>
              <a:gd name="T32" fmla="*/ 253 w 704"/>
              <a:gd name="T33" fmla="*/ 29 h 706"/>
              <a:gd name="T34" fmla="*/ 84 w 704"/>
              <a:gd name="T35" fmla="*/ 29 h 706"/>
              <a:gd name="T36" fmla="*/ 169 w 704"/>
              <a:gd name="T37" fmla="*/ 29 h 706"/>
              <a:gd name="T38" fmla="*/ 127 w 704"/>
              <a:gd name="T39" fmla="*/ 29 h 706"/>
              <a:gd name="T40" fmla="*/ 380 w 704"/>
              <a:gd name="T41" fmla="*/ 29 h 706"/>
              <a:gd name="T42" fmla="*/ 590 w 704"/>
              <a:gd name="T43" fmla="*/ 29 h 706"/>
              <a:gd name="T44" fmla="*/ 506 w 704"/>
              <a:gd name="T45" fmla="*/ 29 h 706"/>
              <a:gd name="T46" fmla="*/ 633 w 704"/>
              <a:gd name="T47" fmla="*/ 29 h 706"/>
              <a:gd name="T48" fmla="*/ 549 w 704"/>
              <a:gd name="T49" fmla="*/ 29 h 706"/>
              <a:gd name="T50" fmla="*/ 0 w 704"/>
              <a:gd name="T51" fmla="*/ 29 h 706"/>
              <a:gd name="T52" fmla="*/ 0 w 704"/>
              <a:gd name="T53" fmla="*/ 108 h 706"/>
              <a:gd name="T54" fmla="*/ 0 w 704"/>
              <a:gd name="T55" fmla="*/ 69 h 706"/>
              <a:gd name="T56" fmla="*/ 0 w 704"/>
              <a:gd name="T57" fmla="*/ 267 h 706"/>
              <a:gd name="T58" fmla="*/ 0 w 704"/>
              <a:gd name="T59" fmla="*/ 228 h 706"/>
              <a:gd name="T60" fmla="*/ 0 w 704"/>
              <a:gd name="T61" fmla="*/ 148 h 706"/>
              <a:gd name="T62" fmla="*/ 0 w 704"/>
              <a:gd name="T63" fmla="*/ 188 h 706"/>
              <a:gd name="T64" fmla="*/ 590 w 704"/>
              <a:gd name="T65" fmla="*/ 310 h 706"/>
              <a:gd name="T66" fmla="*/ 464 w 704"/>
              <a:gd name="T67" fmla="*/ 310 h 706"/>
              <a:gd name="T68" fmla="*/ 549 w 704"/>
              <a:gd name="T69" fmla="*/ 310 h 706"/>
              <a:gd name="T70" fmla="*/ 506 w 704"/>
              <a:gd name="T71" fmla="*/ 310 h 706"/>
              <a:gd name="T72" fmla="*/ 422 w 704"/>
              <a:gd name="T73" fmla="*/ 310 h 706"/>
              <a:gd name="T74" fmla="*/ 633 w 704"/>
              <a:gd name="T75" fmla="*/ 310 h 706"/>
              <a:gd name="T76" fmla="*/ 324 w 704"/>
              <a:gd name="T77" fmla="*/ 310 h 706"/>
              <a:gd name="T78" fmla="*/ 380 w 704"/>
              <a:gd name="T79" fmla="*/ 279 h 706"/>
              <a:gd name="T80" fmla="*/ 84 w 704"/>
              <a:gd name="T81" fmla="*/ 310 h 706"/>
              <a:gd name="T82" fmla="*/ 43 w 704"/>
              <a:gd name="T83" fmla="*/ 310 h 706"/>
              <a:gd name="T84" fmla="*/ 253 w 704"/>
              <a:gd name="T85" fmla="*/ 310 h 706"/>
              <a:gd name="T86" fmla="*/ 211 w 704"/>
              <a:gd name="T87" fmla="*/ 310 h 706"/>
              <a:gd name="T88" fmla="*/ 169 w 704"/>
              <a:gd name="T89" fmla="*/ 310 h 706"/>
              <a:gd name="T90" fmla="*/ 127 w 704"/>
              <a:gd name="T91" fmla="*/ 310 h 706"/>
              <a:gd name="T92" fmla="*/ 704 w 704"/>
              <a:gd name="T93" fmla="*/ 279 h 706"/>
              <a:gd name="T94" fmla="*/ 0 w 704"/>
              <a:gd name="T95" fmla="*/ 310 h 706"/>
              <a:gd name="T96" fmla="*/ 29 w 704"/>
              <a:gd name="T97" fmla="*/ 313 h 706"/>
              <a:gd name="T98" fmla="*/ 673 w 704"/>
              <a:gd name="T99" fmla="*/ 279 h 706"/>
              <a:gd name="T100" fmla="*/ 673 w 704"/>
              <a:gd name="T101" fmla="*/ 162 h 706"/>
              <a:gd name="T102" fmla="*/ 673 w 704"/>
              <a:gd name="T103" fmla="*/ 82 h 706"/>
              <a:gd name="T104" fmla="*/ 673 w 704"/>
              <a:gd name="T105" fmla="*/ 121 h 706"/>
              <a:gd name="T106" fmla="*/ 673 w 704"/>
              <a:gd name="T107" fmla="*/ 201 h 706"/>
              <a:gd name="T108" fmla="*/ 673 w 704"/>
              <a:gd name="T109" fmla="*/ 42 h 706"/>
              <a:gd name="T110" fmla="*/ 673 w 704"/>
              <a:gd name="T111" fmla="*/ 241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706">
                <a:moveTo>
                  <a:pt x="211" y="488"/>
                </a:moveTo>
                <a:lnTo>
                  <a:pt x="159" y="488"/>
                </a:lnTo>
                <a:lnTo>
                  <a:pt x="159" y="402"/>
                </a:lnTo>
                <a:lnTo>
                  <a:pt x="337" y="402"/>
                </a:lnTo>
                <a:lnTo>
                  <a:pt x="337" y="488"/>
                </a:lnTo>
                <a:lnTo>
                  <a:pt x="285" y="488"/>
                </a:lnTo>
                <a:lnTo>
                  <a:pt x="285" y="623"/>
                </a:lnTo>
                <a:lnTo>
                  <a:pt x="419" y="623"/>
                </a:lnTo>
                <a:lnTo>
                  <a:pt x="419" y="488"/>
                </a:lnTo>
                <a:lnTo>
                  <a:pt x="367" y="488"/>
                </a:lnTo>
                <a:lnTo>
                  <a:pt x="367" y="402"/>
                </a:lnTo>
                <a:lnTo>
                  <a:pt x="544" y="402"/>
                </a:lnTo>
                <a:lnTo>
                  <a:pt x="544" y="488"/>
                </a:lnTo>
                <a:lnTo>
                  <a:pt x="492" y="488"/>
                </a:lnTo>
                <a:lnTo>
                  <a:pt x="492" y="623"/>
                </a:lnTo>
                <a:lnTo>
                  <a:pt x="626" y="623"/>
                </a:lnTo>
                <a:lnTo>
                  <a:pt x="626" y="488"/>
                </a:lnTo>
                <a:lnTo>
                  <a:pt x="574" y="488"/>
                </a:lnTo>
                <a:lnTo>
                  <a:pt x="574" y="373"/>
                </a:lnTo>
                <a:lnTo>
                  <a:pt x="367" y="373"/>
                </a:lnTo>
                <a:lnTo>
                  <a:pt x="367" y="217"/>
                </a:lnTo>
                <a:lnTo>
                  <a:pt x="419" y="217"/>
                </a:lnTo>
                <a:lnTo>
                  <a:pt x="419" y="83"/>
                </a:lnTo>
                <a:lnTo>
                  <a:pt x="285" y="83"/>
                </a:lnTo>
                <a:lnTo>
                  <a:pt x="285" y="217"/>
                </a:lnTo>
                <a:lnTo>
                  <a:pt x="337" y="217"/>
                </a:lnTo>
                <a:lnTo>
                  <a:pt x="337" y="373"/>
                </a:lnTo>
                <a:lnTo>
                  <a:pt x="129" y="373"/>
                </a:lnTo>
                <a:lnTo>
                  <a:pt x="129" y="488"/>
                </a:lnTo>
                <a:lnTo>
                  <a:pt x="78" y="488"/>
                </a:lnTo>
                <a:lnTo>
                  <a:pt x="78" y="623"/>
                </a:lnTo>
                <a:lnTo>
                  <a:pt x="211" y="623"/>
                </a:lnTo>
                <a:lnTo>
                  <a:pt x="211" y="488"/>
                </a:lnTo>
                <a:close/>
                <a:moveTo>
                  <a:pt x="389" y="592"/>
                </a:moveTo>
                <a:lnTo>
                  <a:pt x="315" y="592"/>
                </a:lnTo>
                <a:lnTo>
                  <a:pt x="315" y="518"/>
                </a:lnTo>
                <a:lnTo>
                  <a:pt x="389" y="518"/>
                </a:lnTo>
                <a:lnTo>
                  <a:pt x="389" y="592"/>
                </a:lnTo>
                <a:close/>
                <a:moveTo>
                  <a:pt x="596" y="592"/>
                </a:moveTo>
                <a:lnTo>
                  <a:pt x="522" y="592"/>
                </a:lnTo>
                <a:lnTo>
                  <a:pt x="522" y="518"/>
                </a:lnTo>
                <a:lnTo>
                  <a:pt x="596" y="518"/>
                </a:lnTo>
                <a:lnTo>
                  <a:pt x="596" y="592"/>
                </a:lnTo>
                <a:close/>
                <a:moveTo>
                  <a:pt x="181" y="592"/>
                </a:moveTo>
                <a:lnTo>
                  <a:pt x="107" y="592"/>
                </a:lnTo>
                <a:lnTo>
                  <a:pt x="107" y="518"/>
                </a:lnTo>
                <a:lnTo>
                  <a:pt x="181" y="518"/>
                </a:lnTo>
                <a:lnTo>
                  <a:pt x="181" y="592"/>
                </a:lnTo>
                <a:close/>
                <a:moveTo>
                  <a:pt x="704" y="0"/>
                </a:moveTo>
                <a:lnTo>
                  <a:pt x="704" y="29"/>
                </a:lnTo>
                <a:lnTo>
                  <a:pt x="673" y="29"/>
                </a:lnTo>
                <a:lnTo>
                  <a:pt x="673" y="0"/>
                </a:lnTo>
                <a:lnTo>
                  <a:pt x="704" y="0"/>
                </a:lnTo>
                <a:close/>
                <a:moveTo>
                  <a:pt x="71" y="29"/>
                </a:moveTo>
                <a:lnTo>
                  <a:pt x="43" y="29"/>
                </a:lnTo>
                <a:lnTo>
                  <a:pt x="43" y="0"/>
                </a:lnTo>
                <a:lnTo>
                  <a:pt x="71" y="0"/>
                </a:lnTo>
                <a:lnTo>
                  <a:pt x="71" y="29"/>
                </a:lnTo>
                <a:close/>
                <a:moveTo>
                  <a:pt x="239" y="29"/>
                </a:moveTo>
                <a:lnTo>
                  <a:pt x="211" y="29"/>
                </a:lnTo>
                <a:lnTo>
                  <a:pt x="211" y="0"/>
                </a:lnTo>
                <a:lnTo>
                  <a:pt x="239" y="0"/>
                </a:lnTo>
                <a:lnTo>
                  <a:pt x="239" y="29"/>
                </a:lnTo>
                <a:close/>
                <a:moveTo>
                  <a:pt x="450" y="29"/>
                </a:moveTo>
                <a:lnTo>
                  <a:pt x="422" y="29"/>
                </a:lnTo>
                <a:lnTo>
                  <a:pt x="422" y="0"/>
                </a:lnTo>
                <a:lnTo>
                  <a:pt x="450" y="0"/>
                </a:lnTo>
                <a:lnTo>
                  <a:pt x="450" y="29"/>
                </a:lnTo>
                <a:close/>
                <a:moveTo>
                  <a:pt x="365" y="29"/>
                </a:moveTo>
                <a:lnTo>
                  <a:pt x="337" y="29"/>
                </a:lnTo>
                <a:lnTo>
                  <a:pt x="337" y="0"/>
                </a:lnTo>
                <a:lnTo>
                  <a:pt x="365" y="0"/>
                </a:lnTo>
                <a:lnTo>
                  <a:pt x="365" y="29"/>
                </a:lnTo>
                <a:close/>
                <a:moveTo>
                  <a:pt x="324" y="29"/>
                </a:moveTo>
                <a:lnTo>
                  <a:pt x="296" y="29"/>
                </a:lnTo>
                <a:lnTo>
                  <a:pt x="296" y="0"/>
                </a:lnTo>
                <a:lnTo>
                  <a:pt x="324" y="0"/>
                </a:lnTo>
                <a:lnTo>
                  <a:pt x="324" y="29"/>
                </a:lnTo>
                <a:close/>
                <a:moveTo>
                  <a:pt x="492" y="29"/>
                </a:moveTo>
                <a:lnTo>
                  <a:pt x="464" y="29"/>
                </a:lnTo>
                <a:lnTo>
                  <a:pt x="464" y="0"/>
                </a:lnTo>
                <a:lnTo>
                  <a:pt x="492" y="0"/>
                </a:lnTo>
                <a:lnTo>
                  <a:pt x="492" y="29"/>
                </a:lnTo>
                <a:close/>
                <a:moveTo>
                  <a:pt x="281" y="29"/>
                </a:moveTo>
                <a:lnTo>
                  <a:pt x="253" y="29"/>
                </a:lnTo>
                <a:lnTo>
                  <a:pt x="253" y="0"/>
                </a:lnTo>
                <a:lnTo>
                  <a:pt x="281" y="0"/>
                </a:lnTo>
                <a:lnTo>
                  <a:pt x="281" y="29"/>
                </a:lnTo>
                <a:close/>
                <a:moveTo>
                  <a:pt x="112" y="29"/>
                </a:moveTo>
                <a:lnTo>
                  <a:pt x="84" y="29"/>
                </a:lnTo>
                <a:lnTo>
                  <a:pt x="84" y="0"/>
                </a:lnTo>
                <a:lnTo>
                  <a:pt x="112" y="0"/>
                </a:lnTo>
                <a:lnTo>
                  <a:pt x="112" y="29"/>
                </a:lnTo>
                <a:close/>
                <a:moveTo>
                  <a:pt x="197" y="29"/>
                </a:moveTo>
                <a:lnTo>
                  <a:pt x="169" y="29"/>
                </a:lnTo>
                <a:lnTo>
                  <a:pt x="169" y="0"/>
                </a:lnTo>
                <a:lnTo>
                  <a:pt x="197" y="0"/>
                </a:lnTo>
                <a:lnTo>
                  <a:pt x="197" y="29"/>
                </a:lnTo>
                <a:close/>
                <a:moveTo>
                  <a:pt x="155" y="29"/>
                </a:moveTo>
                <a:lnTo>
                  <a:pt x="127" y="29"/>
                </a:lnTo>
                <a:lnTo>
                  <a:pt x="127" y="0"/>
                </a:lnTo>
                <a:lnTo>
                  <a:pt x="155" y="0"/>
                </a:lnTo>
                <a:lnTo>
                  <a:pt x="155" y="29"/>
                </a:lnTo>
                <a:close/>
                <a:moveTo>
                  <a:pt x="408" y="29"/>
                </a:moveTo>
                <a:lnTo>
                  <a:pt x="380" y="29"/>
                </a:lnTo>
                <a:lnTo>
                  <a:pt x="380" y="0"/>
                </a:lnTo>
                <a:lnTo>
                  <a:pt x="408" y="0"/>
                </a:lnTo>
                <a:lnTo>
                  <a:pt x="408" y="29"/>
                </a:lnTo>
                <a:close/>
                <a:moveTo>
                  <a:pt x="618" y="29"/>
                </a:moveTo>
                <a:lnTo>
                  <a:pt x="590" y="29"/>
                </a:lnTo>
                <a:lnTo>
                  <a:pt x="590" y="0"/>
                </a:lnTo>
                <a:lnTo>
                  <a:pt x="618" y="0"/>
                </a:lnTo>
                <a:lnTo>
                  <a:pt x="618" y="29"/>
                </a:lnTo>
                <a:close/>
                <a:moveTo>
                  <a:pt x="534" y="29"/>
                </a:moveTo>
                <a:lnTo>
                  <a:pt x="506" y="29"/>
                </a:lnTo>
                <a:lnTo>
                  <a:pt x="506" y="0"/>
                </a:lnTo>
                <a:lnTo>
                  <a:pt x="534" y="0"/>
                </a:lnTo>
                <a:lnTo>
                  <a:pt x="534" y="29"/>
                </a:lnTo>
                <a:close/>
                <a:moveTo>
                  <a:pt x="661" y="29"/>
                </a:moveTo>
                <a:lnTo>
                  <a:pt x="633" y="29"/>
                </a:lnTo>
                <a:lnTo>
                  <a:pt x="633" y="0"/>
                </a:lnTo>
                <a:lnTo>
                  <a:pt x="661" y="0"/>
                </a:lnTo>
                <a:lnTo>
                  <a:pt x="661" y="29"/>
                </a:lnTo>
                <a:close/>
                <a:moveTo>
                  <a:pt x="577" y="29"/>
                </a:moveTo>
                <a:lnTo>
                  <a:pt x="549" y="29"/>
                </a:lnTo>
                <a:lnTo>
                  <a:pt x="549" y="0"/>
                </a:lnTo>
                <a:lnTo>
                  <a:pt x="577" y="0"/>
                </a:lnTo>
                <a:lnTo>
                  <a:pt x="577" y="29"/>
                </a:lnTo>
                <a:close/>
                <a:moveTo>
                  <a:pt x="29" y="29"/>
                </a:moveTo>
                <a:lnTo>
                  <a:pt x="0" y="29"/>
                </a:lnTo>
                <a:lnTo>
                  <a:pt x="0" y="0"/>
                </a:lnTo>
                <a:lnTo>
                  <a:pt x="29" y="0"/>
                </a:lnTo>
                <a:lnTo>
                  <a:pt x="29" y="29"/>
                </a:lnTo>
                <a:close/>
                <a:moveTo>
                  <a:pt x="29" y="108"/>
                </a:moveTo>
                <a:lnTo>
                  <a:pt x="0" y="108"/>
                </a:lnTo>
                <a:lnTo>
                  <a:pt x="0" y="82"/>
                </a:lnTo>
                <a:lnTo>
                  <a:pt x="29" y="82"/>
                </a:lnTo>
                <a:lnTo>
                  <a:pt x="29" y="108"/>
                </a:lnTo>
                <a:close/>
                <a:moveTo>
                  <a:pt x="29" y="69"/>
                </a:moveTo>
                <a:lnTo>
                  <a:pt x="0" y="69"/>
                </a:lnTo>
                <a:lnTo>
                  <a:pt x="0" y="42"/>
                </a:lnTo>
                <a:lnTo>
                  <a:pt x="29" y="42"/>
                </a:lnTo>
                <a:lnTo>
                  <a:pt x="29" y="69"/>
                </a:lnTo>
                <a:close/>
                <a:moveTo>
                  <a:pt x="29" y="267"/>
                </a:moveTo>
                <a:lnTo>
                  <a:pt x="0" y="267"/>
                </a:lnTo>
                <a:lnTo>
                  <a:pt x="0" y="241"/>
                </a:lnTo>
                <a:lnTo>
                  <a:pt x="29" y="241"/>
                </a:lnTo>
                <a:lnTo>
                  <a:pt x="29" y="267"/>
                </a:lnTo>
                <a:close/>
                <a:moveTo>
                  <a:pt x="29" y="228"/>
                </a:moveTo>
                <a:lnTo>
                  <a:pt x="0" y="228"/>
                </a:lnTo>
                <a:lnTo>
                  <a:pt x="0" y="201"/>
                </a:lnTo>
                <a:lnTo>
                  <a:pt x="29" y="201"/>
                </a:lnTo>
                <a:lnTo>
                  <a:pt x="29" y="228"/>
                </a:lnTo>
                <a:close/>
                <a:moveTo>
                  <a:pt x="29" y="148"/>
                </a:moveTo>
                <a:lnTo>
                  <a:pt x="0" y="148"/>
                </a:lnTo>
                <a:lnTo>
                  <a:pt x="0" y="121"/>
                </a:lnTo>
                <a:lnTo>
                  <a:pt x="29" y="121"/>
                </a:lnTo>
                <a:lnTo>
                  <a:pt x="29" y="148"/>
                </a:lnTo>
                <a:close/>
                <a:moveTo>
                  <a:pt x="29" y="188"/>
                </a:moveTo>
                <a:lnTo>
                  <a:pt x="0" y="188"/>
                </a:lnTo>
                <a:lnTo>
                  <a:pt x="0" y="162"/>
                </a:lnTo>
                <a:lnTo>
                  <a:pt x="29" y="162"/>
                </a:lnTo>
                <a:lnTo>
                  <a:pt x="29" y="188"/>
                </a:lnTo>
                <a:close/>
                <a:moveTo>
                  <a:pt x="618" y="310"/>
                </a:moveTo>
                <a:lnTo>
                  <a:pt x="590" y="310"/>
                </a:lnTo>
                <a:lnTo>
                  <a:pt x="590" y="279"/>
                </a:lnTo>
                <a:lnTo>
                  <a:pt x="618" y="279"/>
                </a:lnTo>
                <a:lnTo>
                  <a:pt x="618" y="310"/>
                </a:lnTo>
                <a:close/>
                <a:moveTo>
                  <a:pt x="492" y="310"/>
                </a:moveTo>
                <a:lnTo>
                  <a:pt x="464" y="310"/>
                </a:lnTo>
                <a:lnTo>
                  <a:pt x="464" y="279"/>
                </a:lnTo>
                <a:lnTo>
                  <a:pt x="492" y="279"/>
                </a:lnTo>
                <a:lnTo>
                  <a:pt x="492" y="310"/>
                </a:lnTo>
                <a:close/>
                <a:moveTo>
                  <a:pt x="577" y="310"/>
                </a:moveTo>
                <a:lnTo>
                  <a:pt x="549" y="310"/>
                </a:lnTo>
                <a:lnTo>
                  <a:pt x="549" y="279"/>
                </a:lnTo>
                <a:lnTo>
                  <a:pt x="577" y="279"/>
                </a:lnTo>
                <a:lnTo>
                  <a:pt x="577" y="310"/>
                </a:lnTo>
                <a:close/>
                <a:moveTo>
                  <a:pt x="534" y="310"/>
                </a:moveTo>
                <a:lnTo>
                  <a:pt x="506" y="310"/>
                </a:lnTo>
                <a:lnTo>
                  <a:pt x="506" y="279"/>
                </a:lnTo>
                <a:lnTo>
                  <a:pt x="534" y="279"/>
                </a:lnTo>
                <a:lnTo>
                  <a:pt x="534" y="310"/>
                </a:lnTo>
                <a:close/>
                <a:moveTo>
                  <a:pt x="450" y="310"/>
                </a:moveTo>
                <a:lnTo>
                  <a:pt x="422" y="310"/>
                </a:lnTo>
                <a:lnTo>
                  <a:pt x="422" y="279"/>
                </a:lnTo>
                <a:lnTo>
                  <a:pt x="450" y="279"/>
                </a:lnTo>
                <a:lnTo>
                  <a:pt x="450" y="310"/>
                </a:lnTo>
                <a:close/>
                <a:moveTo>
                  <a:pt x="661" y="310"/>
                </a:moveTo>
                <a:lnTo>
                  <a:pt x="633" y="310"/>
                </a:lnTo>
                <a:lnTo>
                  <a:pt x="633" y="279"/>
                </a:lnTo>
                <a:lnTo>
                  <a:pt x="661" y="279"/>
                </a:lnTo>
                <a:lnTo>
                  <a:pt x="661" y="310"/>
                </a:lnTo>
                <a:close/>
                <a:moveTo>
                  <a:pt x="324" y="279"/>
                </a:moveTo>
                <a:lnTo>
                  <a:pt x="324" y="310"/>
                </a:lnTo>
                <a:lnTo>
                  <a:pt x="296" y="310"/>
                </a:lnTo>
                <a:lnTo>
                  <a:pt x="296" y="279"/>
                </a:lnTo>
                <a:lnTo>
                  <a:pt x="324" y="279"/>
                </a:lnTo>
                <a:close/>
                <a:moveTo>
                  <a:pt x="380" y="310"/>
                </a:moveTo>
                <a:lnTo>
                  <a:pt x="380" y="279"/>
                </a:lnTo>
                <a:lnTo>
                  <a:pt x="408" y="279"/>
                </a:lnTo>
                <a:lnTo>
                  <a:pt x="408" y="310"/>
                </a:lnTo>
                <a:lnTo>
                  <a:pt x="380" y="310"/>
                </a:lnTo>
                <a:close/>
                <a:moveTo>
                  <a:pt x="112" y="310"/>
                </a:moveTo>
                <a:lnTo>
                  <a:pt x="84" y="310"/>
                </a:lnTo>
                <a:lnTo>
                  <a:pt x="84" y="279"/>
                </a:lnTo>
                <a:lnTo>
                  <a:pt x="112" y="279"/>
                </a:lnTo>
                <a:lnTo>
                  <a:pt x="112" y="310"/>
                </a:lnTo>
                <a:close/>
                <a:moveTo>
                  <a:pt x="71" y="310"/>
                </a:moveTo>
                <a:lnTo>
                  <a:pt x="43" y="310"/>
                </a:lnTo>
                <a:lnTo>
                  <a:pt x="43" y="279"/>
                </a:lnTo>
                <a:lnTo>
                  <a:pt x="71" y="279"/>
                </a:lnTo>
                <a:lnTo>
                  <a:pt x="71" y="310"/>
                </a:lnTo>
                <a:close/>
                <a:moveTo>
                  <a:pt x="281" y="310"/>
                </a:moveTo>
                <a:lnTo>
                  <a:pt x="253" y="310"/>
                </a:lnTo>
                <a:lnTo>
                  <a:pt x="253" y="279"/>
                </a:lnTo>
                <a:lnTo>
                  <a:pt x="281" y="279"/>
                </a:lnTo>
                <a:lnTo>
                  <a:pt x="281" y="310"/>
                </a:lnTo>
                <a:close/>
                <a:moveTo>
                  <a:pt x="239" y="310"/>
                </a:moveTo>
                <a:lnTo>
                  <a:pt x="211" y="310"/>
                </a:lnTo>
                <a:lnTo>
                  <a:pt x="211" y="279"/>
                </a:lnTo>
                <a:lnTo>
                  <a:pt x="239" y="279"/>
                </a:lnTo>
                <a:lnTo>
                  <a:pt x="239" y="310"/>
                </a:lnTo>
                <a:close/>
                <a:moveTo>
                  <a:pt x="197" y="310"/>
                </a:moveTo>
                <a:lnTo>
                  <a:pt x="169" y="310"/>
                </a:lnTo>
                <a:lnTo>
                  <a:pt x="169" y="279"/>
                </a:lnTo>
                <a:lnTo>
                  <a:pt x="197" y="279"/>
                </a:lnTo>
                <a:lnTo>
                  <a:pt x="197" y="310"/>
                </a:lnTo>
                <a:close/>
                <a:moveTo>
                  <a:pt x="155" y="310"/>
                </a:moveTo>
                <a:lnTo>
                  <a:pt x="127" y="310"/>
                </a:lnTo>
                <a:lnTo>
                  <a:pt x="127" y="279"/>
                </a:lnTo>
                <a:lnTo>
                  <a:pt x="155" y="279"/>
                </a:lnTo>
                <a:lnTo>
                  <a:pt x="155" y="310"/>
                </a:lnTo>
                <a:close/>
                <a:moveTo>
                  <a:pt x="673" y="279"/>
                </a:moveTo>
                <a:lnTo>
                  <a:pt x="704" y="279"/>
                </a:lnTo>
                <a:lnTo>
                  <a:pt x="704" y="310"/>
                </a:lnTo>
                <a:lnTo>
                  <a:pt x="704" y="311"/>
                </a:lnTo>
                <a:lnTo>
                  <a:pt x="704" y="706"/>
                </a:lnTo>
                <a:lnTo>
                  <a:pt x="0" y="706"/>
                </a:lnTo>
                <a:lnTo>
                  <a:pt x="0" y="310"/>
                </a:lnTo>
                <a:lnTo>
                  <a:pt x="0" y="310"/>
                </a:lnTo>
                <a:lnTo>
                  <a:pt x="0" y="279"/>
                </a:lnTo>
                <a:lnTo>
                  <a:pt x="29" y="279"/>
                </a:lnTo>
                <a:lnTo>
                  <a:pt x="29" y="313"/>
                </a:lnTo>
                <a:lnTo>
                  <a:pt x="29" y="313"/>
                </a:lnTo>
                <a:lnTo>
                  <a:pt x="29" y="675"/>
                </a:lnTo>
                <a:lnTo>
                  <a:pt x="673" y="675"/>
                </a:lnTo>
                <a:lnTo>
                  <a:pt x="673" y="311"/>
                </a:lnTo>
                <a:lnTo>
                  <a:pt x="673" y="310"/>
                </a:lnTo>
                <a:lnTo>
                  <a:pt x="673" y="279"/>
                </a:lnTo>
                <a:close/>
                <a:moveTo>
                  <a:pt x="673" y="162"/>
                </a:moveTo>
                <a:lnTo>
                  <a:pt x="704" y="162"/>
                </a:lnTo>
                <a:lnTo>
                  <a:pt x="704" y="188"/>
                </a:lnTo>
                <a:lnTo>
                  <a:pt x="673" y="188"/>
                </a:lnTo>
                <a:lnTo>
                  <a:pt x="673" y="162"/>
                </a:lnTo>
                <a:close/>
                <a:moveTo>
                  <a:pt x="673" y="82"/>
                </a:moveTo>
                <a:lnTo>
                  <a:pt x="704" y="82"/>
                </a:lnTo>
                <a:lnTo>
                  <a:pt x="704" y="108"/>
                </a:lnTo>
                <a:lnTo>
                  <a:pt x="673" y="108"/>
                </a:lnTo>
                <a:lnTo>
                  <a:pt x="673" y="82"/>
                </a:lnTo>
                <a:close/>
                <a:moveTo>
                  <a:pt x="673" y="121"/>
                </a:moveTo>
                <a:lnTo>
                  <a:pt x="704" y="121"/>
                </a:lnTo>
                <a:lnTo>
                  <a:pt x="704" y="148"/>
                </a:lnTo>
                <a:lnTo>
                  <a:pt x="673" y="148"/>
                </a:lnTo>
                <a:lnTo>
                  <a:pt x="673" y="121"/>
                </a:lnTo>
                <a:close/>
                <a:moveTo>
                  <a:pt x="673" y="201"/>
                </a:moveTo>
                <a:lnTo>
                  <a:pt x="704" y="201"/>
                </a:lnTo>
                <a:lnTo>
                  <a:pt x="704" y="228"/>
                </a:lnTo>
                <a:lnTo>
                  <a:pt x="673" y="228"/>
                </a:lnTo>
                <a:lnTo>
                  <a:pt x="673" y="201"/>
                </a:lnTo>
                <a:close/>
                <a:moveTo>
                  <a:pt x="673" y="42"/>
                </a:moveTo>
                <a:lnTo>
                  <a:pt x="704" y="42"/>
                </a:lnTo>
                <a:lnTo>
                  <a:pt x="704" y="69"/>
                </a:lnTo>
                <a:lnTo>
                  <a:pt x="673" y="69"/>
                </a:lnTo>
                <a:lnTo>
                  <a:pt x="673" y="42"/>
                </a:lnTo>
                <a:close/>
                <a:moveTo>
                  <a:pt x="673" y="241"/>
                </a:moveTo>
                <a:lnTo>
                  <a:pt x="704" y="241"/>
                </a:lnTo>
                <a:lnTo>
                  <a:pt x="704" y="267"/>
                </a:lnTo>
                <a:lnTo>
                  <a:pt x="673" y="267"/>
                </a:lnTo>
                <a:lnTo>
                  <a:pt x="673" y="2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b="1"/>
          </a:p>
        </p:txBody>
      </p:sp>
      <p:sp>
        <p:nvSpPr>
          <p:cNvPr id="139" name="Freeform 29">
            <a:extLst>
              <a:ext uri="{FF2B5EF4-FFF2-40B4-BE49-F238E27FC236}">
                <a16:creationId xmlns:a16="http://schemas.microsoft.com/office/drawing/2014/main" id="{283CE9EA-4EBB-4FF3-88D0-1A3EEEE9F46B}"/>
              </a:ext>
            </a:extLst>
          </p:cNvPr>
          <p:cNvSpPr>
            <a:spLocks noChangeAspect="1" noEditPoints="1"/>
          </p:cNvSpPr>
          <p:nvPr/>
        </p:nvSpPr>
        <p:spPr bwMode="auto">
          <a:xfrm>
            <a:off x="4913834" y="4537768"/>
            <a:ext cx="238547" cy="245685"/>
          </a:xfrm>
          <a:custGeom>
            <a:avLst/>
            <a:gdLst>
              <a:gd name="T0" fmla="*/ 0 w 576"/>
              <a:gd name="T1" fmla="*/ 576 h 576"/>
              <a:gd name="T2" fmla="*/ 576 w 576"/>
              <a:gd name="T3" fmla="*/ 0 h 576"/>
              <a:gd name="T4" fmla="*/ 220 w 576"/>
              <a:gd name="T5" fmla="*/ 23 h 576"/>
              <a:gd name="T6" fmla="*/ 441 w 576"/>
              <a:gd name="T7" fmla="*/ 67 h 576"/>
              <a:gd name="T8" fmla="*/ 220 w 576"/>
              <a:gd name="T9" fmla="*/ 23 h 576"/>
              <a:gd name="T10" fmla="*/ 134 w 576"/>
              <a:gd name="T11" fmla="*/ 67 h 576"/>
              <a:gd name="T12" fmla="*/ 196 w 576"/>
              <a:gd name="T13" fmla="*/ 23 h 576"/>
              <a:gd name="T14" fmla="*/ 553 w 576"/>
              <a:gd name="T15" fmla="*/ 552 h 576"/>
              <a:gd name="T16" fmla="*/ 23 w 576"/>
              <a:gd name="T17" fmla="*/ 23 h 576"/>
              <a:gd name="T18" fmla="*/ 110 w 576"/>
              <a:gd name="T19" fmla="*/ 67 h 576"/>
              <a:gd name="T20" fmla="*/ 70 w 576"/>
              <a:gd name="T21" fmla="*/ 250 h 576"/>
              <a:gd name="T22" fmla="*/ 110 w 576"/>
              <a:gd name="T23" fmla="*/ 297 h 576"/>
              <a:gd name="T24" fmla="*/ 122 w 576"/>
              <a:gd name="T25" fmla="*/ 519 h 576"/>
              <a:gd name="T26" fmla="*/ 134 w 576"/>
              <a:gd name="T27" fmla="*/ 297 h 576"/>
              <a:gd name="T28" fmla="*/ 275 w 576"/>
              <a:gd name="T29" fmla="*/ 250 h 576"/>
              <a:gd name="T30" fmla="*/ 218 w 576"/>
              <a:gd name="T31" fmla="*/ 364 h 576"/>
              <a:gd name="T32" fmla="*/ 288 w 576"/>
              <a:gd name="T33" fmla="*/ 522 h 576"/>
              <a:gd name="T34" fmla="*/ 358 w 576"/>
              <a:gd name="T35" fmla="*/ 364 h 576"/>
              <a:gd name="T36" fmla="*/ 299 w 576"/>
              <a:gd name="T37" fmla="*/ 226 h 576"/>
              <a:gd name="T38" fmla="*/ 134 w 576"/>
              <a:gd name="T39" fmla="*/ 91 h 576"/>
              <a:gd name="T40" fmla="*/ 196 w 576"/>
              <a:gd name="T41" fmla="*/ 151 h 576"/>
              <a:gd name="T42" fmla="*/ 490 w 576"/>
              <a:gd name="T43" fmla="*/ 196 h 576"/>
              <a:gd name="T44" fmla="*/ 442 w 576"/>
              <a:gd name="T45" fmla="*/ 295 h 576"/>
              <a:gd name="T46" fmla="*/ 444 w 576"/>
              <a:gd name="T47" fmla="*/ 510 h 576"/>
              <a:gd name="T48" fmla="*/ 463 w 576"/>
              <a:gd name="T49" fmla="*/ 510 h 576"/>
              <a:gd name="T50" fmla="*/ 466 w 576"/>
              <a:gd name="T51" fmla="*/ 295 h 576"/>
              <a:gd name="T52" fmla="*/ 514 w 576"/>
              <a:gd name="T53" fmla="*/ 220 h 576"/>
              <a:gd name="T54" fmla="*/ 220 w 576"/>
              <a:gd name="T55" fmla="*/ 127 h 576"/>
              <a:gd name="T56" fmla="*/ 465 w 576"/>
              <a:gd name="T57" fmla="*/ 91 h 576"/>
              <a:gd name="T58" fmla="*/ 553 w 576"/>
              <a:gd name="T59" fmla="*/ 23 h 576"/>
              <a:gd name="T60" fmla="*/ 110 w 576"/>
              <a:gd name="T61" fmla="*/ 91 h 576"/>
              <a:gd name="T62" fmla="*/ 94 w 576"/>
              <a:gd name="T63" fmla="*/ 226 h 576"/>
              <a:gd name="T64" fmla="*/ 110 w 576"/>
              <a:gd name="T65" fmla="*/ 91 h 576"/>
              <a:gd name="T66" fmla="*/ 156 w 576"/>
              <a:gd name="T67" fmla="*/ 364 h 576"/>
              <a:gd name="T68" fmla="*/ 87 w 576"/>
              <a:gd name="T69" fmla="*/ 364 h 576"/>
              <a:gd name="T70" fmla="*/ 288 w 576"/>
              <a:gd name="T71" fmla="*/ 318 h 576"/>
              <a:gd name="T72" fmla="*/ 288 w 576"/>
              <a:gd name="T73" fmla="*/ 482 h 576"/>
              <a:gd name="T74" fmla="*/ 288 w 576"/>
              <a:gd name="T75" fmla="*/ 318 h 576"/>
              <a:gd name="T76" fmla="*/ 499 w 576"/>
              <a:gd name="T77" fmla="*/ 364 h 576"/>
              <a:gd name="T78" fmla="*/ 408 w 576"/>
              <a:gd name="T79" fmla="*/ 364 h 576"/>
              <a:gd name="T80" fmla="*/ 288 w 576"/>
              <a:gd name="T81" fmla="*/ 401 h 576"/>
              <a:gd name="T82" fmla="*/ 288 w 576"/>
              <a:gd name="T83" fmla="*/ 327 h 576"/>
              <a:gd name="T84" fmla="*/ 288 w 576"/>
              <a:gd name="T85" fmla="*/ 401 h 576"/>
              <a:gd name="T86" fmla="*/ 301 w 576"/>
              <a:gd name="T87" fmla="*/ 364 h 576"/>
              <a:gd name="T88" fmla="*/ 275 w 576"/>
              <a:gd name="T89" fmla="*/ 364 h 576"/>
              <a:gd name="T90" fmla="*/ 454 w 576"/>
              <a:gd name="T91" fmla="*/ 401 h 576"/>
              <a:gd name="T92" fmla="*/ 454 w 576"/>
              <a:gd name="T93" fmla="*/ 327 h 576"/>
              <a:gd name="T94" fmla="*/ 454 w 576"/>
              <a:gd name="T95" fmla="*/ 401 h 576"/>
              <a:gd name="T96" fmla="*/ 466 w 576"/>
              <a:gd name="T97" fmla="*/ 364 h 576"/>
              <a:gd name="T98" fmla="*/ 441 w 576"/>
              <a:gd name="T99" fmla="*/ 364 h 576"/>
              <a:gd name="T100" fmla="*/ 107 w 576"/>
              <a:gd name="T101" fmla="*/ 364 h 576"/>
              <a:gd name="T102" fmla="*/ 137 w 576"/>
              <a:gd name="T103" fmla="*/ 364 h 576"/>
              <a:gd name="T104" fmla="*/ 107 w 576"/>
              <a:gd name="T105" fmla="*/ 36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b="1">
              <a:solidFill>
                <a:schemeClr val="accent1"/>
              </a:solidFill>
            </a:endParaRPr>
          </a:p>
        </p:txBody>
      </p:sp>
      <p:sp>
        <p:nvSpPr>
          <p:cNvPr id="140" name="Freeform 128">
            <a:extLst>
              <a:ext uri="{FF2B5EF4-FFF2-40B4-BE49-F238E27FC236}">
                <a16:creationId xmlns:a16="http://schemas.microsoft.com/office/drawing/2014/main" id="{190427E8-6AF1-41E8-82AB-8D84C36DBAC0}"/>
              </a:ext>
            </a:extLst>
          </p:cNvPr>
          <p:cNvSpPr>
            <a:spLocks noChangeAspect="1" noEditPoints="1"/>
          </p:cNvSpPr>
          <p:nvPr/>
        </p:nvSpPr>
        <p:spPr bwMode="auto">
          <a:xfrm>
            <a:off x="4913834" y="5555091"/>
            <a:ext cx="238547" cy="245685"/>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34" name="TextBox 33">
            <a:extLst>
              <a:ext uri="{FF2B5EF4-FFF2-40B4-BE49-F238E27FC236}">
                <a16:creationId xmlns:a16="http://schemas.microsoft.com/office/drawing/2014/main" id="{9826BE0E-375F-4CA1-AA96-33995D80E921}"/>
              </a:ext>
            </a:extLst>
          </p:cNvPr>
          <p:cNvSpPr txBox="1"/>
          <p:nvPr/>
        </p:nvSpPr>
        <p:spPr>
          <a:xfrm>
            <a:off x="8476209" y="822960"/>
            <a:ext cx="1742292" cy="319931"/>
          </a:xfrm>
          <a:prstGeom prst="rect">
            <a:avLst/>
          </a:prstGeom>
          <a:noFill/>
        </p:spPr>
        <p:txBody>
          <a:bodyPr wrap="square" rtlCol="0">
            <a:spAutoFit/>
          </a:bodyPr>
          <a:lstStyle/>
          <a:p>
            <a:pPr algn="ctr"/>
            <a:r>
              <a:rPr lang="el-GR" sz="1400" b="1" kern="0" dirty="0">
                <a:solidFill>
                  <a:srgbClr val="00338D"/>
                </a:solidFill>
                <a:latin typeface="Calibri Light"/>
              </a:rPr>
              <a:t>Υπεύθυνο Μέρος</a:t>
            </a:r>
          </a:p>
        </p:txBody>
      </p:sp>
      <p:sp>
        <p:nvSpPr>
          <p:cNvPr id="143" name="Google Shape;116;p3">
            <a:extLst>
              <a:ext uri="{FF2B5EF4-FFF2-40B4-BE49-F238E27FC236}">
                <a16:creationId xmlns:a16="http://schemas.microsoft.com/office/drawing/2014/main" id="{2308531F-A532-4768-8A18-337BEC340636}"/>
              </a:ext>
            </a:extLst>
          </p:cNvPr>
          <p:cNvSpPr/>
          <p:nvPr/>
        </p:nvSpPr>
        <p:spPr>
          <a:xfrm>
            <a:off x="520090" y="394189"/>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sz="2400" dirty="0">
                <a:solidFill>
                  <a:srgbClr val="FFFFFF"/>
                </a:solidFill>
                <a:latin typeface="Calibri"/>
                <a:ea typeface="Calibri"/>
                <a:cs typeface="Calibri"/>
                <a:sym typeface="Calibri"/>
              </a:rPr>
              <a:t>Διάρθρωση του Στρατηγικού και Επιχειρησιακού Σχεδίου (ΣΕΣ)</a:t>
            </a:r>
            <a:endParaRPr dirty="0"/>
          </a:p>
        </p:txBody>
      </p:sp>
      <p:sp>
        <p:nvSpPr>
          <p:cNvPr id="41" name="TextBox 40">
            <a:extLst>
              <a:ext uri="{FF2B5EF4-FFF2-40B4-BE49-F238E27FC236}">
                <a16:creationId xmlns:a16="http://schemas.microsoft.com/office/drawing/2014/main" id="{C5783BB0-F4EE-41B5-9922-C505C27DB34B}"/>
              </a:ext>
            </a:extLst>
          </p:cNvPr>
          <p:cNvSpPr txBox="1"/>
          <p:nvPr/>
        </p:nvSpPr>
        <p:spPr>
          <a:xfrm>
            <a:off x="4659789" y="4765404"/>
            <a:ext cx="747836" cy="307776"/>
          </a:xfrm>
          <a:prstGeom prst="rect">
            <a:avLst/>
          </a:prstGeom>
          <a:noFill/>
        </p:spPr>
        <p:txBody>
          <a:bodyPr wrap="square" rtlCol="0">
            <a:spAutoFit/>
          </a:bodyPr>
          <a:lstStyle/>
          <a:p>
            <a:pPr algn="ctr"/>
            <a:r>
              <a:rPr lang="el-GR" sz="1400" b="1" kern="0" dirty="0">
                <a:solidFill>
                  <a:schemeClr val="bg1"/>
                </a:solidFill>
              </a:rPr>
              <a:t>Στόχοι</a:t>
            </a:r>
          </a:p>
        </p:txBody>
      </p:sp>
      <p:cxnSp>
        <p:nvCxnSpPr>
          <p:cNvPr id="74" name="Straight Connector 73">
            <a:extLst>
              <a:ext uri="{FF2B5EF4-FFF2-40B4-BE49-F238E27FC236}">
                <a16:creationId xmlns:a16="http://schemas.microsoft.com/office/drawing/2014/main" id="{7A297A27-5CCC-45F6-A6C0-CCF264580CA6}"/>
              </a:ext>
            </a:extLst>
          </p:cNvPr>
          <p:cNvCxnSpPr>
            <a:cxnSpLocks/>
          </p:cNvCxnSpPr>
          <p:nvPr/>
        </p:nvCxnSpPr>
        <p:spPr>
          <a:xfrm>
            <a:off x="8165592" y="1362005"/>
            <a:ext cx="0" cy="522000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6843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building, stone, government building, colonnade&#10;&#10;Description automatically generated">
            <a:extLst>
              <a:ext uri="{FF2B5EF4-FFF2-40B4-BE49-F238E27FC236}">
                <a16:creationId xmlns:a16="http://schemas.microsoft.com/office/drawing/2014/main" id="{19538348-D829-4641-9124-1886074832D3}"/>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0" y="-380"/>
            <a:ext cx="12192676" cy="6858380"/>
          </a:xfrm>
          <a:prstGeom prst="rect">
            <a:avLst/>
          </a:prstGeom>
        </p:spPr>
      </p:pic>
      <p:graphicFrame>
        <p:nvGraphicFramePr>
          <p:cNvPr id="7" name="Object 6" hidden="1">
            <a:extLst>
              <a:ext uri="{FF2B5EF4-FFF2-40B4-BE49-F238E27FC236}">
                <a16:creationId xmlns:a16="http://schemas.microsoft.com/office/drawing/2014/main" id="{8A2B45E6-C490-4119-B0D0-475C31EE97BB}"/>
              </a:ext>
            </a:extLst>
          </p:cNvPr>
          <p:cNvGraphicFramePr>
            <a:graphicFrameLocks noChangeAspect="1"/>
          </p:cNvGraphicFramePr>
          <p:nvPr>
            <p:custDataLst>
              <p:tags r:id="rId2"/>
            </p:custDataLst>
          </p:nvPr>
        </p:nvGraphicFramePr>
        <p:xfrm>
          <a:off x="1593" y="1591"/>
          <a:ext cx="1588" cy="1588"/>
        </p:xfrm>
        <a:graphic>
          <a:graphicData uri="http://schemas.openxmlformats.org/presentationml/2006/ole">
            <mc:AlternateContent xmlns:mc="http://schemas.openxmlformats.org/markup-compatibility/2006">
              <mc:Choice xmlns:v="urn:schemas-microsoft-com:vml" Requires="v">
                <p:oleObj spid="_x0000_s77957"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8A2B45E6-C490-4119-B0D0-475C31EE97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C38DB20-36FD-4622-BED2-2D5B9F9A9840}"/>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33" eaLnBrk="1" fontAlgn="auto" hangingPunct="1">
              <a:spcBef>
                <a:spcPts val="0"/>
              </a:spcBef>
              <a:spcAft>
                <a:spcPts val="0"/>
              </a:spcAft>
              <a:defRPr/>
            </a:pPr>
            <a:endParaRPr lang="en-GB" sz="11000" err="1">
              <a:solidFill>
                <a:prstClr val="white"/>
              </a:solidFill>
              <a:latin typeface="KPMG Extralight" panose="020B0303030202040204" pitchFamily="34" charset="0"/>
              <a:sym typeface="KPMG Extralight" panose="020B0303030202040204" pitchFamily="34" charset="0"/>
            </a:endParaRPr>
          </a:p>
        </p:txBody>
      </p:sp>
      <p:sp>
        <p:nvSpPr>
          <p:cNvPr id="28" name="Title 1">
            <a:extLst>
              <a:ext uri="{FF2B5EF4-FFF2-40B4-BE49-F238E27FC236}">
                <a16:creationId xmlns:a16="http://schemas.microsoft.com/office/drawing/2014/main" id="{23662372-4A27-4372-9561-FAF19776ECAE}"/>
              </a:ext>
            </a:extLst>
          </p:cNvPr>
          <p:cNvSpPr txBox="1">
            <a:spLocks/>
          </p:cNvSpPr>
          <p:nvPr/>
        </p:nvSpPr>
        <p:spPr>
          <a:xfrm>
            <a:off x="3242930" y="1782697"/>
            <a:ext cx="8432107" cy="1844737"/>
          </a:xfrm>
          <a:prstGeom prst="rect">
            <a:avLst/>
          </a:prstGeom>
          <a:noFill/>
        </p:spPr>
        <p:txBody>
          <a:bodyPr vert="horz" lIns="0" tIns="0" rIns="0" bIns="0" rtlCol="0" anchor="t" anchorCtr="0">
            <a:noAutofit/>
          </a:bodyPr>
          <a:lstStyle>
            <a:lvl1pPr algn="l" defTabSz="914400" rtl="0" eaLnBrk="1" latinLnBrk="0" hangingPunct="1">
              <a:lnSpc>
                <a:spcPct val="70000"/>
              </a:lnSpc>
              <a:spcBef>
                <a:spcPct val="0"/>
              </a:spcBef>
              <a:buNone/>
              <a:defRPr sz="11000" kern="1200" baseline="0">
                <a:solidFill>
                  <a:srgbClr val="00338D"/>
                </a:solidFill>
                <a:latin typeface="+mj-lt"/>
                <a:ea typeface="+mj-ea"/>
                <a:cs typeface="+mj-cs"/>
              </a:defRPr>
            </a:lvl1pPr>
          </a:lstStyle>
          <a:p>
            <a:pPr>
              <a:lnSpc>
                <a:spcPct val="100000"/>
              </a:lnSpc>
            </a:pPr>
            <a: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Αξίες, Όραμα και Αποστολή  </a:t>
            </a:r>
            <a:b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br>
            <a:endParaRPr lang="en-US"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11" name="Text Placeholder 2">
            <a:extLst>
              <a:ext uri="{FF2B5EF4-FFF2-40B4-BE49-F238E27FC236}">
                <a16:creationId xmlns:a16="http://schemas.microsoft.com/office/drawing/2014/main" id="{93DDD6AE-3D8F-40AD-BDDF-8344A497E04A}"/>
              </a:ext>
            </a:extLst>
          </p:cNvPr>
          <p:cNvSpPr txBox="1">
            <a:spLocks/>
          </p:cNvSpPr>
          <p:nvPr/>
        </p:nvSpPr>
        <p:spPr>
          <a:xfrm>
            <a:off x="442912" y="0"/>
            <a:ext cx="4344987" cy="6858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l-GR" sz="34800" dirty="0">
                <a:solidFill>
                  <a:srgbClr val="013476"/>
                </a:solidFill>
                <a:latin typeface="Georgia" panose="02040502050405020303" pitchFamily="18" charset="0"/>
              </a:rPr>
              <a:t>2</a:t>
            </a:r>
            <a:endParaRPr lang="en-GB" sz="34800" dirty="0">
              <a:solidFill>
                <a:srgbClr val="013476"/>
              </a:solidFill>
              <a:latin typeface="Georgia" panose="02040502050405020303" pitchFamily="18" charset="0"/>
            </a:endParaRPr>
          </a:p>
        </p:txBody>
      </p:sp>
    </p:spTree>
    <p:extLst>
      <p:ext uri="{BB962C8B-B14F-4D97-AF65-F5344CB8AC3E}">
        <p14:creationId xmlns:p14="http://schemas.microsoft.com/office/powerpoint/2010/main" val="3415298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Object 14" hidden="1">
            <a:extLst>
              <a:ext uri="{FF2B5EF4-FFF2-40B4-BE49-F238E27FC236}">
                <a16:creationId xmlns:a16="http://schemas.microsoft.com/office/drawing/2014/main" id="{61B89A78-B50B-4151-98E9-29D65636D22C}"/>
              </a:ext>
            </a:extLst>
          </p:cNvPr>
          <p:cNvGraphicFramePr>
            <a:graphicFrameLocks noChangeAspect="1"/>
          </p:cNvGraphicFramePr>
          <p:nvPr>
            <p:custDataLst>
              <p:tags r:id="rId2"/>
            </p:custDataLst>
            <p:extLst>
              <p:ext uri="{D42A27DB-BD31-4B8C-83A1-F6EECF244321}">
                <p14:modId xmlns:p14="http://schemas.microsoft.com/office/powerpoint/2010/main" val="3935232445"/>
              </p:ext>
            </p:extLst>
          </p:nvPr>
        </p:nvGraphicFramePr>
        <p:xfrm>
          <a:off x="1593" y="1591"/>
          <a:ext cx="1588" cy="1588"/>
        </p:xfrm>
        <a:graphic>
          <a:graphicData uri="http://schemas.openxmlformats.org/presentationml/2006/ole">
            <mc:AlternateContent xmlns:mc="http://schemas.openxmlformats.org/markup-compatibility/2006">
              <mc:Choice xmlns:v="urn:schemas-microsoft-com:vml" Requires="v">
                <p:oleObj spid="_x0000_s40141" name="think-cell Slide" r:id="rId6" imgW="360" imgH="360" progId="TCLayout.ActiveDocument.1">
                  <p:embed/>
                </p:oleObj>
              </mc:Choice>
              <mc:Fallback>
                <p:oleObj name="think-cell Slide" r:id="rId6" imgW="360" imgH="360" progId="TCLayout.ActiveDocument.1">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3"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A606AE73-F517-450A-965D-3626D6F31F7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defRPr/>
            </a:pPr>
            <a:endParaRPr lang="el-GR" dirty="0">
              <a:solidFill>
                <a:prstClr val="white"/>
              </a:solidFill>
              <a:ea typeface="+mj-ea"/>
              <a:cs typeface="Arial" panose="020B0604020202020204" pitchFamily="34" charset="0"/>
              <a:sym typeface="Arial" panose="020B0604020202020204" pitchFamily="34" charset="0"/>
            </a:endParaRPr>
          </a:p>
        </p:txBody>
      </p:sp>
      <p:sp>
        <p:nvSpPr>
          <p:cNvPr id="19" name="Google Shape;116;p3">
            <a:extLst>
              <a:ext uri="{FF2B5EF4-FFF2-40B4-BE49-F238E27FC236}">
                <a16:creationId xmlns:a16="http://schemas.microsoft.com/office/drawing/2014/main" id="{570E00E0-CF76-45A9-92B6-24079970667C}"/>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sz="2400" dirty="0">
                <a:solidFill>
                  <a:srgbClr val="FFFFFF"/>
                </a:solidFill>
                <a:latin typeface="Calibri"/>
                <a:ea typeface="Calibri"/>
                <a:cs typeface="Calibri"/>
                <a:sym typeface="Calibri"/>
              </a:rPr>
              <a:t>Αξίες Υπουργείου Εξωτερικών</a:t>
            </a:r>
            <a:endParaRPr dirty="0"/>
          </a:p>
        </p:txBody>
      </p:sp>
      <p:grpSp>
        <p:nvGrpSpPr>
          <p:cNvPr id="22" name="Group 22">
            <a:extLst>
              <a:ext uri="{FF2B5EF4-FFF2-40B4-BE49-F238E27FC236}">
                <a16:creationId xmlns:a16="http://schemas.microsoft.com/office/drawing/2014/main" id="{E19981AF-EFA3-49C8-BA9A-B50C49E3A30D}"/>
              </a:ext>
            </a:extLst>
          </p:cNvPr>
          <p:cNvGrpSpPr>
            <a:grpSpLocks/>
          </p:cNvGrpSpPr>
          <p:nvPr/>
        </p:nvGrpSpPr>
        <p:grpSpPr bwMode="auto">
          <a:xfrm>
            <a:off x="1" y="991096"/>
            <a:ext cx="5677786" cy="5800123"/>
            <a:chOff x="295" y="1146"/>
            <a:chExt cx="1072" cy="843"/>
          </a:xfrm>
        </p:grpSpPr>
        <p:sp>
          <p:nvSpPr>
            <p:cNvPr id="23" name="AutoShape 23">
              <a:extLst>
                <a:ext uri="{FF2B5EF4-FFF2-40B4-BE49-F238E27FC236}">
                  <a16:creationId xmlns:a16="http://schemas.microsoft.com/office/drawing/2014/main" id="{65D3F1B5-1F83-48AE-98CB-D4632B5A9ABF}"/>
                </a:ext>
              </a:extLst>
            </p:cNvPr>
            <p:cNvSpPr>
              <a:spLocks noChangeArrowheads="1"/>
            </p:cNvSpPr>
            <p:nvPr/>
          </p:nvSpPr>
          <p:spPr bwMode="auto">
            <a:xfrm flipV="1">
              <a:off x="295" y="1803"/>
              <a:ext cx="1072" cy="18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002 w 21600"/>
                <a:gd name="T13" fmla="*/ 3019 h 21600"/>
                <a:gd name="T14" fmla="*/ 18598 w 21600"/>
                <a:gd name="T15" fmla="*/ 18581 h 21600"/>
              </a:gdLst>
              <a:ahLst/>
              <a:cxnLst>
                <a:cxn ang="T8">
                  <a:pos x="T0" y="T1"/>
                </a:cxn>
                <a:cxn ang="T9">
                  <a:pos x="T2" y="T3"/>
                </a:cxn>
                <a:cxn ang="T10">
                  <a:pos x="T4" y="T5"/>
                </a:cxn>
                <a:cxn ang="T11">
                  <a:pos x="T6" y="T7"/>
                </a:cxn>
              </a:cxnLst>
              <a:rect l="T12" t="T13" r="T14" b="T15"/>
              <a:pathLst>
                <a:path w="21600" h="21600">
                  <a:moveTo>
                    <a:pt x="0" y="0"/>
                  </a:moveTo>
                  <a:lnTo>
                    <a:pt x="2391" y="21600"/>
                  </a:lnTo>
                  <a:lnTo>
                    <a:pt x="19209" y="21600"/>
                  </a:lnTo>
                  <a:lnTo>
                    <a:pt x="21600" y="0"/>
                  </a:lnTo>
                  <a:close/>
                </a:path>
              </a:pathLst>
            </a:custGeom>
            <a:solidFill>
              <a:schemeClr val="bg1">
                <a:lumMod val="95000"/>
              </a:schemeClr>
            </a:solidFill>
            <a:ln w="12699">
              <a:solidFill>
                <a:srgbClr val="FFFFFF"/>
              </a:solidFill>
              <a:miter lim="800000"/>
              <a:headEnd type="none" w="sm" len="sm"/>
              <a:tailEnd type="none" w="sm" len="sm"/>
            </a:ln>
          </p:spPr>
          <p:txBody>
            <a:bodyPr wrap="none" anchor="ctr"/>
            <a:lstStyle/>
            <a:p>
              <a:pPr algn="ctr" defTabSz="781835">
                <a:defRPr/>
              </a:pPr>
              <a:endParaRPr lang="en-GB" sz="1000" kern="0" dirty="0">
                <a:solidFill>
                  <a:schemeClr val="bg1"/>
                </a:solidFill>
              </a:endParaRPr>
            </a:p>
          </p:txBody>
        </p:sp>
        <p:grpSp>
          <p:nvGrpSpPr>
            <p:cNvPr id="24" name="Group 24">
              <a:extLst>
                <a:ext uri="{FF2B5EF4-FFF2-40B4-BE49-F238E27FC236}">
                  <a16:creationId xmlns:a16="http://schemas.microsoft.com/office/drawing/2014/main" id="{1CB141E1-FE92-48FB-9F72-6AE886BE0286}"/>
                </a:ext>
              </a:extLst>
            </p:cNvPr>
            <p:cNvGrpSpPr>
              <a:grpSpLocks/>
            </p:cNvGrpSpPr>
            <p:nvPr/>
          </p:nvGrpSpPr>
          <p:grpSpPr bwMode="auto">
            <a:xfrm>
              <a:off x="414" y="1146"/>
              <a:ext cx="835" cy="658"/>
              <a:chOff x="593" y="988"/>
              <a:chExt cx="1266" cy="1724"/>
            </a:xfrm>
          </p:grpSpPr>
          <p:sp>
            <p:nvSpPr>
              <p:cNvPr id="25" name="Pyr1">
                <a:extLst>
                  <a:ext uri="{FF2B5EF4-FFF2-40B4-BE49-F238E27FC236}">
                    <a16:creationId xmlns:a16="http://schemas.microsoft.com/office/drawing/2014/main" id="{CE103C1A-BC76-4DF8-B578-7D88964D3327}"/>
                  </a:ext>
                </a:extLst>
              </p:cNvPr>
              <p:cNvSpPr>
                <a:spLocks noEditPoints="1" noChangeArrowheads="1"/>
              </p:cNvSpPr>
              <p:nvPr/>
            </p:nvSpPr>
            <p:spPr bwMode="auto">
              <a:xfrm>
                <a:off x="1085" y="988"/>
                <a:ext cx="284" cy="38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5400 w 21600"/>
                  <a:gd name="T10" fmla="*/ 11818 h 21600"/>
                  <a:gd name="T11" fmla="*/ 16200 w 21600"/>
                  <a:gd name="T12" fmla="*/ 20582 h 21600"/>
                </a:gdLst>
                <a:ahLst/>
                <a:cxnLst>
                  <a:cxn ang="T6">
                    <a:pos x="T0" y="T1"/>
                  </a:cxn>
                  <a:cxn ang="T7">
                    <a:pos x="T2" y="T3"/>
                  </a:cxn>
                  <a:cxn ang="T8">
                    <a:pos x="T4" y="T5"/>
                  </a:cxn>
                </a:cxnLst>
                <a:rect l="T9" t="T10" r="T11" b="T12"/>
                <a:pathLst>
                  <a:path w="21600" h="21600">
                    <a:moveTo>
                      <a:pt x="10800" y="0"/>
                    </a:moveTo>
                    <a:lnTo>
                      <a:pt x="21600" y="21600"/>
                    </a:lnTo>
                    <a:lnTo>
                      <a:pt x="0" y="21600"/>
                    </a:lnTo>
                    <a:lnTo>
                      <a:pt x="10800" y="0"/>
                    </a:lnTo>
                    <a:close/>
                  </a:path>
                </a:pathLst>
              </a:custGeom>
              <a:solidFill>
                <a:schemeClr val="accent2"/>
              </a:solidFill>
              <a:ln w="9525">
                <a:solidFill>
                  <a:srgbClr val="FFFFFF"/>
                </a:solidFill>
                <a:miter lim="800000"/>
                <a:headEnd/>
                <a:tailEnd/>
              </a:ln>
            </p:spPr>
            <p:txBody>
              <a:bodyPr lIns="36000" tIns="36000" rIns="36000" bIns="36000"/>
              <a:lstStyle/>
              <a:p>
                <a:pPr defTabSz="781835">
                  <a:defRPr/>
                </a:pPr>
                <a:r>
                  <a:rPr lang="el-GR" sz="1400" b="1" kern="0" dirty="0">
                    <a:solidFill>
                      <a:schemeClr val="bg1"/>
                    </a:solidFill>
                  </a:rPr>
                  <a:t>Αξίες</a:t>
                </a:r>
                <a:endParaRPr lang="en-GB" sz="1200" b="1" kern="0" dirty="0">
                  <a:solidFill>
                    <a:schemeClr val="bg1"/>
                  </a:solidFill>
                </a:endParaRPr>
              </a:p>
            </p:txBody>
          </p:sp>
          <p:sp>
            <p:nvSpPr>
              <p:cNvPr id="26" name="Pyr2">
                <a:extLst>
                  <a:ext uri="{FF2B5EF4-FFF2-40B4-BE49-F238E27FC236}">
                    <a16:creationId xmlns:a16="http://schemas.microsoft.com/office/drawing/2014/main" id="{370D2949-6DBD-47D2-823E-E2C3E38DB8BB}"/>
                  </a:ext>
                </a:extLst>
              </p:cNvPr>
              <p:cNvSpPr>
                <a:spLocks noEditPoints="1" noChangeArrowheads="1"/>
              </p:cNvSpPr>
              <p:nvPr/>
            </p:nvSpPr>
            <p:spPr bwMode="auto">
              <a:xfrm>
                <a:off x="921" y="1370"/>
                <a:ext cx="610" cy="4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772 w 21600"/>
                  <a:gd name="T13" fmla="*/ 482 h 21600"/>
                  <a:gd name="T14" fmla="*/ 15828 w 21600"/>
                  <a:gd name="T15" fmla="*/ 21118 h 21600"/>
                </a:gdLst>
                <a:ahLst/>
                <a:cxnLst>
                  <a:cxn ang="T8">
                    <a:pos x="T0" y="T1"/>
                  </a:cxn>
                  <a:cxn ang="T9">
                    <a:pos x="T2" y="T3"/>
                  </a:cxn>
                  <a:cxn ang="T10">
                    <a:pos x="T4" y="T5"/>
                  </a:cxn>
                  <a:cxn ang="T11">
                    <a:pos x="T6" y="T7"/>
                  </a:cxn>
                </a:cxnLst>
                <a:rect l="T12" t="T13" r="T14" b="T15"/>
                <a:pathLst>
                  <a:path w="21600" h="21600">
                    <a:moveTo>
                      <a:pt x="5787" y="0"/>
                    </a:moveTo>
                    <a:lnTo>
                      <a:pt x="15812" y="0"/>
                    </a:lnTo>
                    <a:lnTo>
                      <a:pt x="21600" y="21600"/>
                    </a:lnTo>
                    <a:lnTo>
                      <a:pt x="0" y="21600"/>
                    </a:lnTo>
                    <a:lnTo>
                      <a:pt x="5787" y="0"/>
                    </a:lnTo>
                    <a:close/>
                  </a:path>
                </a:pathLst>
              </a:custGeom>
              <a:solidFill>
                <a:schemeClr val="bg1">
                  <a:lumMod val="95000"/>
                </a:schemeClr>
              </a:solidFill>
              <a:ln w="9525">
                <a:solidFill>
                  <a:srgbClr val="FFFFFF"/>
                </a:solidFill>
                <a:miter lim="800000"/>
                <a:headEnd/>
                <a:tailEnd/>
              </a:ln>
            </p:spPr>
            <p:txBody>
              <a:bodyPr anchor="ctr"/>
              <a:lstStyle/>
              <a:p>
                <a:pPr algn="ctr" eaLnBrk="1" fontAlgn="auto" hangingPunct="1">
                  <a:spcBef>
                    <a:spcPts val="0"/>
                  </a:spcBef>
                  <a:spcAft>
                    <a:spcPts val="0"/>
                  </a:spcAft>
                  <a:defRPr/>
                </a:pPr>
                <a:endParaRPr lang="el-GR" sz="1400" b="1" kern="0" dirty="0">
                  <a:solidFill>
                    <a:schemeClr val="bg1"/>
                  </a:solidFill>
                  <a:latin typeface="Calibri Light"/>
                </a:endParaRPr>
              </a:p>
            </p:txBody>
          </p:sp>
          <p:sp>
            <p:nvSpPr>
              <p:cNvPr id="27" name="Pyr3">
                <a:extLst>
                  <a:ext uri="{FF2B5EF4-FFF2-40B4-BE49-F238E27FC236}">
                    <a16:creationId xmlns:a16="http://schemas.microsoft.com/office/drawing/2014/main" id="{0F76349D-9526-4CE6-82E3-0AE07020BF5A}"/>
                  </a:ext>
                </a:extLst>
              </p:cNvPr>
              <p:cNvSpPr>
                <a:spLocks noEditPoints="1" noChangeArrowheads="1"/>
              </p:cNvSpPr>
              <p:nvPr/>
            </p:nvSpPr>
            <p:spPr bwMode="auto">
              <a:xfrm>
                <a:off x="758" y="1818"/>
                <a:ext cx="936" cy="4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285 w 21600"/>
                  <a:gd name="T13" fmla="*/ 482 h 21600"/>
                  <a:gd name="T14" fmla="*/ 16315 w 21600"/>
                  <a:gd name="T15" fmla="*/ 21118 h 21600"/>
                </a:gdLst>
                <a:ahLst/>
                <a:cxnLst>
                  <a:cxn ang="T8">
                    <a:pos x="T0" y="T1"/>
                  </a:cxn>
                  <a:cxn ang="T9">
                    <a:pos x="T2" y="T3"/>
                  </a:cxn>
                  <a:cxn ang="T10">
                    <a:pos x="T4" y="T5"/>
                  </a:cxn>
                  <a:cxn ang="T11">
                    <a:pos x="T6" y="T7"/>
                  </a:cxn>
                </a:cxnLst>
                <a:rect l="T12" t="T13" r="T14" b="T15"/>
                <a:pathLst>
                  <a:path w="21600" h="21600">
                    <a:moveTo>
                      <a:pt x="3768" y="0"/>
                    </a:moveTo>
                    <a:lnTo>
                      <a:pt x="17831" y="0"/>
                    </a:lnTo>
                    <a:lnTo>
                      <a:pt x="21600" y="21600"/>
                    </a:lnTo>
                    <a:lnTo>
                      <a:pt x="0" y="21600"/>
                    </a:lnTo>
                    <a:lnTo>
                      <a:pt x="3768" y="0"/>
                    </a:lnTo>
                    <a:close/>
                  </a:path>
                </a:pathLst>
              </a:custGeom>
              <a:solidFill>
                <a:schemeClr val="bg1">
                  <a:lumMod val="95000"/>
                </a:schemeClr>
              </a:solidFill>
              <a:ln w="9525">
                <a:solidFill>
                  <a:srgbClr val="FFFFFF"/>
                </a:solidFill>
                <a:miter lim="800000"/>
                <a:headEnd/>
                <a:tailEnd/>
              </a:ln>
            </p:spPr>
            <p:txBody>
              <a:bodyPr anchor="ctr"/>
              <a:lstStyle/>
              <a:p>
                <a:pPr algn="ctr" eaLnBrk="1" fontAlgn="auto" hangingPunct="1">
                  <a:spcBef>
                    <a:spcPts val="0"/>
                  </a:spcBef>
                  <a:spcAft>
                    <a:spcPts val="0"/>
                  </a:spcAft>
                  <a:defRPr/>
                </a:pPr>
                <a:endParaRPr lang="en-GB" sz="1400" kern="0" dirty="0">
                  <a:solidFill>
                    <a:schemeClr val="bg1"/>
                  </a:solidFill>
                </a:endParaRPr>
              </a:p>
            </p:txBody>
          </p:sp>
          <p:sp>
            <p:nvSpPr>
              <p:cNvPr id="28" name="Pyr4">
                <a:extLst>
                  <a:ext uri="{FF2B5EF4-FFF2-40B4-BE49-F238E27FC236}">
                    <a16:creationId xmlns:a16="http://schemas.microsoft.com/office/drawing/2014/main" id="{8FA66E16-E93F-45D0-9405-6DAE4BF07A67}"/>
                  </a:ext>
                </a:extLst>
              </p:cNvPr>
              <p:cNvSpPr>
                <a:spLocks noEditPoints="1" noChangeArrowheads="1"/>
              </p:cNvSpPr>
              <p:nvPr/>
            </p:nvSpPr>
            <p:spPr bwMode="auto">
              <a:xfrm>
                <a:off x="593" y="2264"/>
                <a:ext cx="1266" cy="4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293 w 21600"/>
                  <a:gd name="T13" fmla="*/ 482 h 21600"/>
                  <a:gd name="T14" fmla="*/ 17318 w 21600"/>
                  <a:gd name="T15" fmla="*/ 21118 h 21600"/>
                </a:gdLst>
                <a:ahLst/>
                <a:cxnLst>
                  <a:cxn ang="T8">
                    <a:pos x="T0" y="T1"/>
                  </a:cxn>
                  <a:cxn ang="T9">
                    <a:pos x="T2" y="T3"/>
                  </a:cxn>
                  <a:cxn ang="T10">
                    <a:pos x="T4" y="T5"/>
                  </a:cxn>
                  <a:cxn ang="T11">
                    <a:pos x="T6" y="T7"/>
                  </a:cxn>
                </a:cxnLst>
                <a:rect l="T12" t="T13" r="T14" b="T15"/>
                <a:pathLst>
                  <a:path w="21600" h="21600">
                    <a:moveTo>
                      <a:pt x="2793" y="0"/>
                    </a:moveTo>
                    <a:lnTo>
                      <a:pt x="18806" y="0"/>
                    </a:lnTo>
                    <a:lnTo>
                      <a:pt x="21600" y="21600"/>
                    </a:lnTo>
                    <a:lnTo>
                      <a:pt x="0" y="21600"/>
                    </a:lnTo>
                    <a:lnTo>
                      <a:pt x="2793" y="0"/>
                    </a:lnTo>
                    <a:close/>
                  </a:path>
                </a:pathLst>
              </a:custGeom>
              <a:solidFill>
                <a:schemeClr val="bg1">
                  <a:lumMod val="95000"/>
                </a:schemeClr>
              </a:solidFill>
              <a:ln w="9525">
                <a:solidFill>
                  <a:srgbClr val="FFFFFF"/>
                </a:solidFill>
                <a:miter lim="800000"/>
                <a:headEnd/>
                <a:tailEnd/>
              </a:ln>
            </p:spPr>
            <p:txBody>
              <a:bodyPr anchor="ctr"/>
              <a:lstStyle/>
              <a:p>
                <a:pPr algn="ctr" defTabSz="781835">
                  <a:defRPr/>
                </a:pPr>
                <a:r>
                  <a:rPr lang="el-GR" sz="1400" b="1" kern="0" dirty="0">
                    <a:solidFill>
                      <a:schemeClr val="bg1"/>
                    </a:solidFill>
                  </a:rPr>
                  <a:t>      </a:t>
                </a:r>
              </a:p>
            </p:txBody>
          </p:sp>
        </p:grpSp>
      </p:grpSp>
      <p:sp>
        <p:nvSpPr>
          <p:cNvPr id="30" name="Freeform 73">
            <a:extLst>
              <a:ext uri="{FF2B5EF4-FFF2-40B4-BE49-F238E27FC236}">
                <a16:creationId xmlns:a16="http://schemas.microsoft.com/office/drawing/2014/main" id="{4FFA15C7-D4E1-4635-9302-3AEF50C6EC20}"/>
              </a:ext>
            </a:extLst>
          </p:cNvPr>
          <p:cNvSpPr>
            <a:spLocks noChangeAspect="1" noEditPoints="1"/>
          </p:cNvSpPr>
          <p:nvPr/>
        </p:nvSpPr>
        <p:spPr bwMode="auto">
          <a:xfrm>
            <a:off x="5169021" y="1606827"/>
            <a:ext cx="238547" cy="245686"/>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2 h 576"/>
              <a:gd name="T12" fmla="*/ 25 w 576"/>
              <a:gd name="T13" fmla="*/ 552 h 576"/>
              <a:gd name="T14" fmla="*/ 25 w 576"/>
              <a:gd name="T15" fmla="*/ 25 h 576"/>
              <a:gd name="T16" fmla="*/ 551 w 576"/>
              <a:gd name="T17" fmla="*/ 25 h 576"/>
              <a:gd name="T18" fmla="*/ 551 w 576"/>
              <a:gd name="T19" fmla="*/ 552 h 576"/>
              <a:gd name="T20" fmla="*/ 288 w 576"/>
              <a:gd name="T21" fmla="*/ 529 h 576"/>
              <a:gd name="T22" fmla="*/ 528 w 576"/>
              <a:gd name="T23" fmla="*/ 289 h 576"/>
              <a:gd name="T24" fmla="*/ 288 w 576"/>
              <a:gd name="T25" fmla="*/ 49 h 576"/>
              <a:gd name="T26" fmla="*/ 48 w 576"/>
              <a:gd name="T27" fmla="*/ 289 h 576"/>
              <a:gd name="T28" fmla="*/ 288 w 576"/>
              <a:gd name="T29" fmla="*/ 529 h 576"/>
              <a:gd name="T30" fmla="*/ 288 w 576"/>
              <a:gd name="T31" fmla="*/ 73 h 576"/>
              <a:gd name="T32" fmla="*/ 504 w 576"/>
              <a:gd name="T33" fmla="*/ 289 h 576"/>
              <a:gd name="T34" fmla="*/ 288 w 576"/>
              <a:gd name="T35" fmla="*/ 505 h 576"/>
              <a:gd name="T36" fmla="*/ 72 w 576"/>
              <a:gd name="T37" fmla="*/ 289 h 576"/>
              <a:gd name="T38" fmla="*/ 288 w 576"/>
              <a:gd name="T39" fmla="*/ 73 h 576"/>
              <a:gd name="T40" fmla="*/ 300 w 576"/>
              <a:gd name="T41" fmla="*/ 160 h 576"/>
              <a:gd name="T42" fmla="*/ 276 w 576"/>
              <a:gd name="T43" fmla="*/ 160 h 576"/>
              <a:gd name="T44" fmla="*/ 276 w 576"/>
              <a:gd name="T45" fmla="*/ 102 h 576"/>
              <a:gd name="T46" fmla="*/ 300 w 576"/>
              <a:gd name="T47" fmla="*/ 102 h 576"/>
              <a:gd name="T48" fmla="*/ 300 w 576"/>
              <a:gd name="T49" fmla="*/ 160 h 576"/>
              <a:gd name="T50" fmla="*/ 276 w 576"/>
              <a:gd name="T51" fmla="*/ 419 h 576"/>
              <a:gd name="T52" fmla="*/ 300 w 576"/>
              <a:gd name="T53" fmla="*/ 419 h 576"/>
              <a:gd name="T54" fmla="*/ 300 w 576"/>
              <a:gd name="T55" fmla="*/ 477 h 576"/>
              <a:gd name="T56" fmla="*/ 276 w 576"/>
              <a:gd name="T57" fmla="*/ 477 h 576"/>
              <a:gd name="T58" fmla="*/ 276 w 576"/>
              <a:gd name="T59" fmla="*/ 419 h 576"/>
              <a:gd name="T60" fmla="*/ 417 w 576"/>
              <a:gd name="T61" fmla="*/ 277 h 576"/>
              <a:gd name="T62" fmla="*/ 476 w 576"/>
              <a:gd name="T63" fmla="*/ 277 h 576"/>
              <a:gd name="T64" fmla="*/ 476 w 576"/>
              <a:gd name="T65" fmla="*/ 302 h 576"/>
              <a:gd name="T66" fmla="*/ 417 w 576"/>
              <a:gd name="T67" fmla="*/ 302 h 576"/>
              <a:gd name="T68" fmla="*/ 417 w 576"/>
              <a:gd name="T69" fmla="*/ 277 h 576"/>
              <a:gd name="T70" fmla="*/ 159 w 576"/>
              <a:gd name="T71" fmla="*/ 302 h 576"/>
              <a:gd name="T72" fmla="*/ 100 w 576"/>
              <a:gd name="T73" fmla="*/ 302 h 576"/>
              <a:gd name="T74" fmla="*/ 100 w 576"/>
              <a:gd name="T75" fmla="*/ 277 h 576"/>
              <a:gd name="T76" fmla="*/ 159 w 576"/>
              <a:gd name="T77" fmla="*/ 277 h 576"/>
              <a:gd name="T78" fmla="*/ 159 w 576"/>
              <a:gd name="T79" fmla="*/ 302 h 576"/>
              <a:gd name="T80" fmla="*/ 160 w 576"/>
              <a:gd name="T81" fmla="*/ 418 h 576"/>
              <a:gd name="T82" fmla="*/ 168 w 576"/>
              <a:gd name="T83" fmla="*/ 422 h 576"/>
              <a:gd name="T84" fmla="*/ 174 w 576"/>
              <a:gd name="T85" fmla="*/ 420 h 576"/>
              <a:gd name="T86" fmla="*/ 329 w 576"/>
              <a:gd name="T87" fmla="*/ 336 h 576"/>
              <a:gd name="T88" fmla="*/ 332 w 576"/>
              <a:gd name="T89" fmla="*/ 333 h 576"/>
              <a:gd name="T90" fmla="*/ 334 w 576"/>
              <a:gd name="T91" fmla="*/ 330 h 576"/>
              <a:gd name="T92" fmla="*/ 418 w 576"/>
              <a:gd name="T93" fmla="*/ 176 h 576"/>
              <a:gd name="T94" fmla="*/ 416 w 576"/>
              <a:gd name="T95" fmla="*/ 161 h 576"/>
              <a:gd name="T96" fmla="*/ 402 w 576"/>
              <a:gd name="T97" fmla="*/ 159 h 576"/>
              <a:gd name="T98" fmla="*/ 247 w 576"/>
              <a:gd name="T99" fmla="*/ 243 h 576"/>
              <a:gd name="T100" fmla="*/ 244 w 576"/>
              <a:gd name="T101" fmla="*/ 246 h 576"/>
              <a:gd name="T102" fmla="*/ 242 w 576"/>
              <a:gd name="T103" fmla="*/ 249 h 576"/>
              <a:gd name="T104" fmla="*/ 158 w 576"/>
              <a:gd name="T105" fmla="*/ 403 h 576"/>
              <a:gd name="T106" fmla="*/ 160 w 576"/>
              <a:gd name="T107" fmla="*/ 418 h 576"/>
              <a:gd name="T108" fmla="*/ 377 w 576"/>
              <a:gd name="T109" fmla="*/ 201 h 576"/>
              <a:gd name="T110" fmla="*/ 320 w 576"/>
              <a:gd name="T111" fmla="*/ 304 h 576"/>
              <a:gd name="T112" fmla="*/ 273 w 576"/>
              <a:gd name="T113" fmla="*/ 257 h 576"/>
              <a:gd name="T114" fmla="*/ 377 w 576"/>
              <a:gd name="T115" fmla="*/ 201 h 576"/>
              <a:gd name="T116" fmla="*/ 256 w 576"/>
              <a:gd name="T117" fmla="*/ 275 h 576"/>
              <a:gd name="T118" fmla="*/ 303 w 576"/>
              <a:gd name="T119" fmla="*/ 322 h 576"/>
              <a:gd name="T120" fmla="*/ 199 w 576"/>
              <a:gd name="T121" fmla="*/ 378 h 576"/>
              <a:gd name="T122" fmla="*/ 256 w 576"/>
              <a:gd name="T123" fmla="*/ 2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529"/>
                </a:moveTo>
                <a:cubicBezTo>
                  <a:pt x="421" y="529"/>
                  <a:pt x="528" y="422"/>
                  <a:pt x="528" y="289"/>
                </a:cubicBezTo>
                <a:cubicBezTo>
                  <a:pt x="528" y="157"/>
                  <a:pt x="421" y="49"/>
                  <a:pt x="288" y="49"/>
                </a:cubicBezTo>
                <a:cubicBezTo>
                  <a:pt x="156" y="49"/>
                  <a:pt x="48" y="157"/>
                  <a:pt x="48" y="289"/>
                </a:cubicBezTo>
                <a:cubicBezTo>
                  <a:pt x="48" y="422"/>
                  <a:pt x="156" y="529"/>
                  <a:pt x="288" y="529"/>
                </a:cubicBezTo>
                <a:close/>
                <a:moveTo>
                  <a:pt x="288" y="73"/>
                </a:moveTo>
                <a:cubicBezTo>
                  <a:pt x="407" y="73"/>
                  <a:pt x="504" y="170"/>
                  <a:pt x="504" y="289"/>
                </a:cubicBezTo>
                <a:cubicBezTo>
                  <a:pt x="504" y="408"/>
                  <a:pt x="407" y="505"/>
                  <a:pt x="288" y="505"/>
                </a:cubicBezTo>
                <a:cubicBezTo>
                  <a:pt x="169" y="505"/>
                  <a:pt x="72" y="408"/>
                  <a:pt x="72" y="289"/>
                </a:cubicBezTo>
                <a:cubicBezTo>
                  <a:pt x="72" y="170"/>
                  <a:pt x="169" y="73"/>
                  <a:pt x="288" y="73"/>
                </a:cubicBezTo>
                <a:close/>
                <a:moveTo>
                  <a:pt x="300" y="160"/>
                </a:moveTo>
                <a:cubicBezTo>
                  <a:pt x="276" y="160"/>
                  <a:pt x="276" y="160"/>
                  <a:pt x="276" y="160"/>
                </a:cubicBezTo>
                <a:cubicBezTo>
                  <a:pt x="276" y="102"/>
                  <a:pt x="276" y="102"/>
                  <a:pt x="276" y="102"/>
                </a:cubicBezTo>
                <a:cubicBezTo>
                  <a:pt x="300" y="102"/>
                  <a:pt x="300" y="102"/>
                  <a:pt x="300" y="102"/>
                </a:cubicBezTo>
                <a:lnTo>
                  <a:pt x="300" y="160"/>
                </a:lnTo>
                <a:close/>
                <a:moveTo>
                  <a:pt x="276" y="419"/>
                </a:moveTo>
                <a:cubicBezTo>
                  <a:pt x="300" y="419"/>
                  <a:pt x="300" y="419"/>
                  <a:pt x="300" y="419"/>
                </a:cubicBezTo>
                <a:cubicBezTo>
                  <a:pt x="300" y="477"/>
                  <a:pt x="300" y="477"/>
                  <a:pt x="300" y="477"/>
                </a:cubicBezTo>
                <a:cubicBezTo>
                  <a:pt x="276" y="477"/>
                  <a:pt x="276" y="477"/>
                  <a:pt x="276" y="477"/>
                </a:cubicBezTo>
                <a:lnTo>
                  <a:pt x="276" y="419"/>
                </a:lnTo>
                <a:close/>
                <a:moveTo>
                  <a:pt x="417" y="277"/>
                </a:moveTo>
                <a:cubicBezTo>
                  <a:pt x="476" y="277"/>
                  <a:pt x="476" y="277"/>
                  <a:pt x="476" y="277"/>
                </a:cubicBezTo>
                <a:cubicBezTo>
                  <a:pt x="476" y="302"/>
                  <a:pt x="476" y="302"/>
                  <a:pt x="476" y="302"/>
                </a:cubicBezTo>
                <a:cubicBezTo>
                  <a:pt x="417" y="302"/>
                  <a:pt x="417" y="302"/>
                  <a:pt x="417" y="302"/>
                </a:cubicBezTo>
                <a:lnTo>
                  <a:pt x="417" y="277"/>
                </a:lnTo>
                <a:close/>
                <a:moveTo>
                  <a:pt x="159" y="302"/>
                </a:moveTo>
                <a:cubicBezTo>
                  <a:pt x="100" y="302"/>
                  <a:pt x="100" y="302"/>
                  <a:pt x="100" y="302"/>
                </a:cubicBezTo>
                <a:cubicBezTo>
                  <a:pt x="100" y="277"/>
                  <a:pt x="100" y="277"/>
                  <a:pt x="100" y="277"/>
                </a:cubicBezTo>
                <a:cubicBezTo>
                  <a:pt x="159" y="277"/>
                  <a:pt x="159" y="277"/>
                  <a:pt x="159" y="277"/>
                </a:cubicBezTo>
                <a:lnTo>
                  <a:pt x="159" y="302"/>
                </a:lnTo>
                <a:close/>
                <a:moveTo>
                  <a:pt x="160" y="418"/>
                </a:moveTo>
                <a:cubicBezTo>
                  <a:pt x="162" y="420"/>
                  <a:pt x="165" y="422"/>
                  <a:pt x="168" y="422"/>
                </a:cubicBezTo>
                <a:cubicBezTo>
                  <a:pt x="170" y="422"/>
                  <a:pt x="172" y="421"/>
                  <a:pt x="174" y="420"/>
                </a:cubicBezTo>
                <a:cubicBezTo>
                  <a:pt x="329" y="336"/>
                  <a:pt x="329" y="336"/>
                  <a:pt x="329" y="336"/>
                </a:cubicBezTo>
                <a:cubicBezTo>
                  <a:pt x="330" y="335"/>
                  <a:pt x="331" y="334"/>
                  <a:pt x="332" y="333"/>
                </a:cubicBezTo>
                <a:cubicBezTo>
                  <a:pt x="333" y="333"/>
                  <a:pt x="334" y="332"/>
                  <a:pt x="334" y="330"/>
                </a:cubicBezTo>
                <a:cubicBezTo>
                  <a:pt x="418" y="176"/>
                  <a:pt x="418" y="176"/>
                  <a:pt x="418" y="176"/>
                </a:cubicBezTo>
                <a:cubicBezTo>
                  <a:pt x="421" y="171"/>
                  <a:pt x="420" y="165"/>
                  <a:pt x="416" y="161"/>
                </a:cubicBezTo>
                <a:cubicBezTo>
                  <a:pt x="412" y="157"/>
                  <a:pt x="407" y="157"/>
                  <a:pt x="402" y="159"/>
                </a:cubicBezTo>
                <a:cubicBezTo>
                  <a:pt x="247" y="243"/>
                  <a:pt x="247" y="243"/>
                  <a:pt x="247" y="243"/>
                </a:cubicBezTo>
                <a:cubicBezTo>
                  <a:pt x="246" y="244"/>
                  <a:pt x="245" y="245"/>
                  <a:pt x="244" y="246"/>
                </a:cubicBezTo>
                <a:cubicBezTo>
                  <a:pt x="243" y="247"/>
                  <a:pt x="242" y="248"/>
                  <a:pt x="242" y="249"/>
                </a:cubicBezTo>
                <a:cubicBezTo>
                  <a:pt x="158" y="403"/>
                  <a:pt x="158" y="403"/>
                  <a:pt x="158" y="403"/>
                </a:cubicBezTo>
                <a:cubicBezTo>
                  <a:pt x="155" y="408"/>
                  <a:pt x="156" y="414"/>
                  <a:pt x="160" y="418"/>
                </a:cubicBezTo>
                <a:close/>
                <a:moveTo>
                  <a:pt x="377" y="201"/>
                </a:moveTo>
                <a:cubicBezTo>
                  <a:pt x="320" y="304"/>
                  <a:pt x="320" y="304"/>
                  <a:pt x="320" y="304"/>
                </a:cubicBezTo>
                <a:cubicBezTo>
                  <a:pt x="273" y="257"/>
                  <a:pt x="273" y="257"/>
                  <a:pt x="273" y="257"/>
                </a:cubicBezTo>
                <a:lnTo>
                  <a:pt x="377" y="201"/>
                </a:lnTo>
                <a:close/>
                <a:moveTo>
                  <a:pt x="256" y="275"/>
                </a:moveTo>
                <a:cubicBezTo>
                  <a:pt x="303" y="322"/>
                  <a:pt x="303" y="322"/>
                  <a:pt x="303" y="322"/>
                </a:cubicBezTo>
                <a:cubicBezTo>
                  <a:pt x="199" y="378"/>
                  <a:pt x="199" y="378"/>
                  <a:pt x="199" y="378"/>
                </a:cubicBezTo>
                <a:lnTo>
                  <a:pt x="256"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36" name="Freeform 73">
            <a:extLst>
              <a:ext uri="{FF2B5EF4-FFF2-40B4-BE49-F238E27FC236}">
                <a16:creationId xmlns:a16="http://schemas.microsoft.com/office/drawing/2014/main" id="{C7814701-3B72-4744-8948-81D1E6DA1C99}"/>
              </a:ext>
            </a:extLst>
          </p:cNvPr>
          <p:cNvSpPr>
            <a:spLocks noChangeAspect="1" noEditPoints="1"/>
          </p:cNvSpPr>
          <p:nvPr/>
        </p:nvSpPr>
        <p:spPr bwMode="auto">
          <a:xfrm>
            <a:off x="2724845" y="1320950"/>
            <a:ext cx="238547" cy="245686"/>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2 h 576"/>
              <a:gd name="T12" fmla="*/ 25 w 576"/>
              <a:gd name="T13" fmla="*/ 552 h 576"/>
              <a:gd name="T14" fmla="*/ 25 w 576"/>
              <a:gd name="T15" fmla="*/ 25 h 576"/>
              <a:gd name="T16" fmla="*/ 551 w 576"/>
              <a:gd name="T17" fmla="*/ 25 h 576"/>
              <a:gd name="T18" fmla="*/ 551 w 576"/>
              <a:gd name="T19" fmla="*/ 552 h 576"/>
              <a:gd name="T20" fmla="*/ 288 w 576"/>
              <a:gd name="T21" fmla="*/ 529 h 576"/>
              <a:gd name="T22" fmla="*/ 528 w 576"/>
              <a:gd name="T23" fmla="*/ 289 h 576"/>
              <a:gd name="T24" fmla="*/ 288 w 576"/>
              <a:gd name="T25" fmla="*/ 49 h 576"/>
              <a:gd name="T26" fmla="*/ 48 w 576"/>
              <a:gd name="T27" fmla="*/ 289 h 576"/>
              <a:gd name="T28" fmla="*/ 288 w 576"/>
              <a:gd name="T29" fmla="*/ 529 h 576"/>
              <a:gd name="T30" fmla="*/ 288 w 576"/>
              <a:gd name="T31" fmla="*/ 73 h 576"/>
              <a:gd name="T32" fmla="*/ 504 w 576"/>
              <a:gd name="T33" fmla="*/ 289 h 576"/>
              <a:gd name="T34" fmla="*/ 288 w 576"/>
              <a:gd name="T35" fmla="*/ 505 h 576"/>
              <a:gd name="T36" fmla="*/ 72 w 576"/>
              <a:gd name="T37" fmla="*/ 289 h 576"/>
              <a:gd name="T38" fmla="*/ 288 w 576"/>
              <a:gd name="T39" fmla="*/ 73 h 576"/>
              <a:gd name="T40" fmla="*/ 300 w 576"/>
              <a:gd name="T41" fmla="*/ 160 h 576"/>
              <a:gd name="T42" fmla="*/ 276 w 576"/>
              <a:gd name="T43" fmla="*/ 160 h 576"/>
              <a:gd name="T44" fmla="*/ 276 w 576"/>
              <a:gd name="T45" fmla="*/ 102 h 576"/>
              <a:gd name="T46" fmla="*/ 300 w 576"/>
              <a:gd name="T47" fmla="*/ 102 h 576"/>
              <a:gd name="T48" fmla="*/ 300 w 576"/>
              <a:gd name="T49" fmla="*/ 160 h 576"/>
              <a:gd name="T50" fmla="*/ 276 w 576"/>
              <a:gd name="T51" fmla="*/ 419 h 576"/>
              <a:gd name="T52" fmla="*/ 300 w 576"/>
              <a:gd name="T53" fmla="*/ 419 h 576"/>
              <a:gd name="T54" fmla="*/ 300 w 576"/>
              <a:gd name="T55" fmla="*/ 477 h 576"/>
              <a:gd name="T56" fmla="*/ 276 w 576"/>
              <a:gd name="T57" fmla="*/ 477 h 576"/>
              <a:gd name="T58" fmla="*/ 276 w 576"/>
              <a:gd name="T59" fmla="*/ 419 h 576"/>
              <a:gd name="T60" fmla="*/ 417 w 576"/>
              <a:gd name="T61" fmla="*/ 277 h 576"/>
              <a:gd name="T62" fmla="*/ 476 w 576"/>
              <a:gd name="T63" fmla="*/ 277 h 576"/>
              <a:gd name="T64" fmla="*/ 476 w 576"/>
              <a:gd name="T65" fmla="*/ 302 h 576"/>
              <a:gd name="T66" fmla="*/ 417 w 576"/>
              <a:gd name="T67" fmla="*/ 302 h 576"/>
              <a:gd name="T68" fmla="*/ 417 w 576"/>
              <a:gd name="T69" fmla="*/ 277 h 576"/>
              <a:gd name="T70" fmla="*/ 159 w 576"/>
              <a:gd name="T71" fmla="*/ 302 h 576"/>
              <a:gd name="T72" fmla="*/ 100 w 576"/>
              <a:gd name="T73" fmla="*/ 302 h 576"/>
              <a:gd name="T74" fmla="*/ 100 w 576"/>
              <a:gd name="T75" fmla="*/ 277 h 576"/>
              <a:gd name="T76" fmla="*/ 159 w 576"/>
              <a:gd name="T77" fmla="*/ 277 h 576"/>
              <a:gd name="T78" fmla="*/ 159 w 576"/>
              <a:gd name="T79" fmla="*/ 302 h 576"/>
              <a:gd name="T80" fmla="*/ 160 w 576"/>
              <a:gd name="T81" fmla="*/ 418 h 576"/>
              <a:gd name="T82" fmla="*/ 168 w 576"/>
              <a:gd name="T83" fmla="*/ 422 h 576"/>
              <a:gd name="T84" fmla="*/ 174 w 576"/>
              <a:gd name="T85" fmla="*/ 420 h 576"/>
              <a:gd name="T86" fmla="*/ 329 w 576"/>
              <a:gd name="T87" fmla="*/ 336 h 576"/>
              <a:gd name="T88" fmla="*/ 332 w 576"/>
              <a:gd name="T89" fmla="*/ 333 h 576"/>
              <a:gd name="T90" fmla="*/ 334 w 576"/>
              <a:gd name="T91" fmla="*/ 330 h 576"/>
              <a:gd name="T92" fmla="*/ 418 w 576"/>
              <a:gd name="T93" fmla="*/ 176 h 576"/>
              <a:gd name="T94" fmla="*/ 416 w 576"/>
              <a:gd name="T95" fmla="*/ 161 h 576"/>
              <a:gd name="T96" fmla="*/ 402 w 576"/>
              <a:gd name="T97" fmla="*/ 159 h 576"/>
              <a:gd name="T98" fmla="*/ 247 w 576"/>
              <a:gd name="T99" fmla="*/ 243 h 576"/>
              <a:gd name="T100" fmla="*/ 244 w 576"/>
              <a:gd name="T101" fmla="*/ 246 h 576"/>
              <a:gd name="T102" fmla="*/ 242 w 576"/>
              <a:gd name="T103" fmla="*/ 249 h 576"/>
              <a:gd name="T104" fmla="*/ 158 w 576"/>
              <a:gd name="T105" fmla="*/ 403 h 576"/>
              <a:gd name="T106" fmla="*/ 160 w 576"/>
              <a:gd name="T107" fmla="*/ 418 h 576"/>
              <a:gd name="T108" fmla="*/ 377 w 576"/>
              <a:gd name="T109" fmla="*/ 201 h 576"/>
              <a:gd name="T110" fmla="*/ 320 w 576"/>
              <a:gd name="T111" fmla="*/ 304 h 576"/>
              <a:gd name="T112" fmla="*/ 273 w 576"/>
              <a:gd name="T113" fmla="*/ 257 h 576"/>
              <a:gd name="T114" fmla="*/ 377 w 576"/>
              <a:gd name="T115" fmla="*/ 201 h 576"/>
              <a:gd name="T116" fmla="*/ 256 w 576"/>
              <a:gd name="T117" fmla="*/ 275 h 576"/>
              <a:gd name="T118" fmla="*/ 303 w 576"/>
              <a:gd name="T119" fmla="*/ 322 h 576"/>
              <a:gd name="T120" fmla="*/ 199 w 576"/>
              <a:gd name="T121" fmla="*/ 378 h 576"/>
              <a:gd name="T122" fmla="*/ 256 w 576"/>
              <a:gd name="T123" fmla="*/ 2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529"/>
                </a:moveTo>
                <a:cubicBezTo>
                  <a:pt x="421" y="529"/>
                  <a:pt x="528" y="422"/>
                  <a:pt x="528" y="289"/>
                </a:cubicBezTo>
                <a:cubicBezTo>
                  <a:pt x="528" y="157"/>
                  <a:pt x="421" y="49"/>
                  <a:pt x="288" y="49"/>
                </a:cubicBezTo>
                <a:cubicBezTo>
                  <a:pt x="156" y="49"/>
                  <a:pt x="48" y="157"/>
                  <a:pt x="48" y="289"/>
                </a:cubicBezTo>
                <a:cubicBezTo>
                  <a:pt x="48" y="422"/>
                  <a:pt x="156" y="529"/>
                  <a:pt x="288" y="529"/>
                </a:cubicBezTo>
                <a:close/>
                <a:moveTo>
                  <a:pt x="288" y="73"/>
                </a:moveTo>
                <a:cubicBezTo>
                  <a:pt x="407" y="73"/>
                  <a:pt x="504" y="170"/>
                  <a:pt x="504" y="289"/>
                </a:cubicBezTo>
                <a:cubicBezTo>
                  <a:pt x="504" y="408"/>
                  <a:pt x="407" y="505"/>
                  <a:pt x="288" y="505"/>
                </a:cubicBezTo>
                <a:cubicBezTo>
                  <a:pt x="169" y="505"/>
                  <a:pt x="72" y="408"/>
                  <a:pt x="72" y="289"/>
                </a:cubicBezTo>
                <a:cubicBezTo>
                  <a:pt x="72" y="170"/>
                  <a:pt x="169" y="73"/>
                  <a:pt x="288" y="73"/>
                </a:cubicBezTo>
                <a:close/>
                <a:moveTo>
                  <a:pt x="300" y="160"/>
                </a:moveTo>
                <a:cubicBezTo>
                  <a:pt x="276" y="160"/>
                  <a:pt x="276" y="160"/>
                  <a:pt x="276" y="160"/>
                </a:cubicBezTo>
                <a:cubicBezTo>
                  <a:pt x="276" y="102"/>
                  <a:pt x="276" y="102"/>
                  <a:pt x="276" y="102"/>
                </a:cubicBezTo>
                <a:cubicBezTo>
                  <a:pt x="300" y="102"/>
                  <a:pt x="300" y="102"/>
                  <a:pt x="300" y="102"/>
                </a:cubicBezTo>
                <a:lnTo>
                  <a:pt x="300" y="160"/>
                </a:lnTo>
                <a:close/>
                <a:moveTo>
                  <a:pt x="276" y="419"/>
                </a:moveTo>
                <a:cubicBezTo>
                  <a:pt x="300" y="419"/>
                  <a:pt x="300" y="419"/>
                  <a:pt x="300" y="419"/>
                </a:cubicBezTo>
                <a:cubicBezTo>
                  <a:pt x="300" y="477"/>
                  <a:pt x="300" y="477"/>
                  <a:pt x="300" y="477"/>
                </a:cubicBezTo>
                <a:cubicBezTo>
                  <a:pt x="276" y="477"/>
                  <a:pt x="276" y="477"/>
                  <a:pt x="276" y="477"/>
                </a:cubicBezTo>
                <a:lnTo>
                  <a:pt x="276" y="419"/>
                </a:lnTo>
                <a:close/>
                <a:moveTo>
                  <a:pt x="417" y="277"/>
                </a:moveTo>
                <a:cubicBezTo>
                  <a:pt x="476" y="277"/>
                  <a:pt x="476" y="277"/>
                  <a:pt x="476" y="277"/>
                </a:cubicBezTo>
                <a:cubicBezTo>
                  <a:pt x="476" y="302"/>
                  <a:pt x="476" y="302"/>
                  <a:pt x="476" y="302"/>
                </a:cubicBezTo>
                <a:cubicBezTo>
                  <a:pt x="417" y="302"/>
                  <a:pt x="417" y="302"/>
                  <a:pt x="417" y="302"/>
                </a:cubicBezTo>
                <a:lnTo>
                  <a:pt x="417" y="277"/>
                </a:lnTo>
                <a:close/>
                <a:moveTo>
                  <a:pt x="159" y="302"/>
                </a:moveTo>
                <a:cubicBezTo>
                  <a:pt x="100" y="302"/>
                  <a:pt x="100" y="302"/>
                  <a:pt x="100" y="302"/>
                </a:cubicBezTo>
                <a:cubicBezTo>
                  <a:pt x="100" y="277"/>
                  <a:pt x="100" y="277"/>
                  <a:pt x="100" y="277"/>
                </a:cubicBezTo>
                <a:cubicBezTo>
                  <a:pt x="159" y="277"/>
                  <a:pt x="159" y="277"/>
                  <a:pt x="159" y="277"/>
                </a:cubicBezTo>
                <a:lnTo>
                  <a:pt x="159" y="302"/>
                </a:lnTo>
                <a:close/>
                <a:moveTo>
                  <a:pt x="160" y="418"/>
                </a:moveTo>
                <a:cubicBezTo>
                  <a:pt x="162" y="420"/>
                  <a:pt x="165" y="422"/>
                  <a:pt x="168" y="422"/>
                </a:cubicBezTo>
                <a:cubicBezTo>
                  <a:pt x="170" y="422"/>
                  <a:pt x="172" y="421"/>
                  <a:pt x="174" y="420"/>
                </a:cubicBezTo>
                <a:cubicBezTo>
                  <a:pt x="329" y="336"/>
                  <a:pt x="329" y="336"/>
                  <a:pt x="329" y="336"/>
                </a:cubicBezTo>
                <a:cubicBezTo>
                  <a:pt x="330" y="335"/>
                  <a:pt x="331" y="334"/>
                  <a:pt x="332" y="333"/>
                </a:cubicBezTo>
                <a:cubicBezTo>
                  <a:pt x="333" y="333"/>
                  <a:pt x="334" y="332"/>
                  <a:pt x="334" y="330"/>
                </a:cubicBezTo>
                <a:cubicBezTo>
                  <a:pt x="418" y="176"/>
                  <a:pt x="418" y="176"/>
                  <a:pt x="418" y="176"/>
                </a:cubicBezTo>
                <a:cubicBezTo>
                  <a:pt x="421" y="171"/>
                  <a:pt x="420" y="165"/>
                  <a:pt x="416" y="161"/>
                </a:cubicBezTo>
                <a:cubicBezTo>
                  <a:pt x="412" y="157"/>
                  <a:pt x="407" y="157"/>
                  <a:pt x="402" y="159"/>
                </a:cubicBezTo>
                <a:cubicBezTo>
                  <a:pt x="247" y="243"/>
                  <a:pt x="247" y="243"/>
                  <a:pt x="247" y="243"/>
                </a:cubicBezTo>
                <a:cubicBezTo>
                  <a:pt x="246" y="244"/>
                  <a:pt x="245" y="245"/>
                  <a:pt x="244" y="246"/>
                </a:cubicBezTo>
                <a:cubicBezTo>
                  <a:pt x="243" y="247"/>
                  <a:pt x="242" y="248"/>
                  <a:pt x="242" y="249"/>
                </a:cubicBezTo>
                <a:cubicBezTo>
                  <a:pt x="158" y="403"/>
                  <a:pt x="158" y="403"/>
                  <a:pt x="158" y="403"/>
                </a:cubicBezTo>
                <a:cubicBezTo>
                  <a:pt x="155" y="408"/>
                  <a:pt x="156" y="414"/>
                  <a:pt x="160" y="418"/>
                </a:cubicBezTo>
                <a:close/>
                <a:moveTo>
                  <a:pt x="377" y="201"/>
                </a:moveTo>
                <a:cubicBezTo>
                  <a:pt x="320" y="304"/>
                  <a:pt x="320" y="304"/>
                  <a:pt x="320" y="304"/>
                </a:cubicBezTo>
                <a:cubicBezTo>
                  <a:pt x="273" y="257"/>
                  <a:pt x="273" y="257"/>
                  <a:pt x="273" y="257"/>
                </a:cubicBezTo>
                <a:lnTo>
                  <a:pt x="377" y="201"/>
                </a:lnTo>
                <a:close/>
                <a:moveTo>
                  <a:pt x="256" y="275"/>
                </a:moveTo>
                <a:cubicBezTo>
                  <a:pt x="303" y="322"/>
                  <a:pt x="303" y="322"/>
                  <a:pt x="303" y="322"/>
                </a:cubicBezTo>
                <a:cubicBezTo>
                  <a:pt x="199" y="378"/>
                  <a:pt x="199" y="378"/>
                  <a:pt x="199" y="378"/>
                </a:cubicBezTo>
                <a:lnTo>
                  <a:pt x="256"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dirty="0">
              <a:solidFill>
                <a:schemeClr val="accent1"/>
              </a:solidFill>
            </a:endParaRPr>
          </a:p>
        </p:txBody>
      </p:sp>
      <p:grpSp>
        <p:nvGrpSpPr>
          <p:cNvPr id="75" name="Group 74">
            <a:extLst>
              <a:ext uri="{FF2B5EF4-FFF2-40B4-BE49-F238E27FC236}">
                <a16:creationId xmlns:a16="http://schemas.microsoft.com/office/drawing/2014/main" id="{CD3380CE-2D5E-4DCA-ABA9-A1D0570CB30F}"/>
              </a:ext>
            </a:extLst>
          </p:cNvPr>
          <p:cNvGrpSpPr/>
          <p:nvPr/>
        </p:nvGrpSpPr>
        <p:grpSpPr>
          <a:xfrm>
            <a:off x="2995826" y="2081314"/>
            <a:ext cx="9540860" cy="4660246"/>
            <a:chOff x="2782275" y="2147518"/>
            <a:chExt cx="9540860" cy="4660246"/>
          </a:xfrm>
        </p:grpSpPr>
        <p:sp>
          <p:nvSpPr>
            <p:cNvPr id="2" name="Rectangle 1">
              <a:extLst>
                <a:ext uri="{FF2B5EF4-FFF2-40B4-BE49-F238E27FC236}">
                  <a16:creationId xmlns:a16="http://schemas.microsoft.com/office/drawing/2014/main" id="{8973DAB5-F3C8-4035-B883-B9D4412600B8}"/>
                </a:ext>
              </a:extLst>
            </p:cNvPr>
            <p:cNvSpPr/>
            <p:nvPr/>
          </p:nvSpPr>
          <p:spPr>
            <a:xfrm>
              <a:off x="2809787" y="2147518"/>
              <a:ext cx="9513348" cy="338554"/>
            </a:xfrm>
            <a:prstGeom prst="rect">
              <a:avLst/>
            </a:prstGeom>
          </p:spPr>
          <p:txBody>
            <a:bodyPr wrap="square" anchor="ctr">
              <a:spAutoFit/>
            </a:bodyPr>
            <a:lstStyle/>
            <a:p>
              <a:pPr algn="just">
                <a:spcAft>
                  <a:spcPts val="0"/>
                </a:spcAft>
              </a:pPr>
              <a:r>
                <a:rPr lang="el-GR" sz="1600" dirty="0">
                  <a:latin typeface="Calibri" panose="020F0502020204030204" pitchFamily="34" charset="0"/>
                  <a:ea typeface="Calibri" panose="020F0502020204030204" pitchFamily="34" charset="0"/>
                  <a:cs typeface="Times New Roman" panose="02020603050405020304" pitchFamily="18" charset="0"/>
                </a:rPr>
                <a:t>Προσήλωση στις θεμελιώδεις αρχές των </a:t>
              </a:r>
              <a:r>
                <a:rPr lang="el-GR" sz="1600" dirty="0" err="1">
                  <a:latin typeface="Calibri" panose="020F0502020204030204" pitchFamily="34" charset="0"/>
                  <a:ea typeface="Calibri" panose="020F0502020204030204" pitchFamily="34" charset="0"/>
                  <a:cs typeface="Times New Roman" panose="02020603050405020304" pitchFamily="18" charset="0"/>
                </a:rPr>
                <a:t>Ανθρ</a:t>
              </a:r>
              <a:r>
                <a:rPr lang="el-GR" sz="1600" dirty="0">
                  <a:latin typeface="Calibri" panose="020F0502020204030204" pitchFamily="34" charset="0"/>
                  <a:ea typeface="Calibri" panose="020F0502020204030204" pitchFamily="34" charset="0"/>
                  <a:cs typeface="Times New Roman" panose="02020603050405020304" pitchFamily="18" charset="0"/>
                </a:rPr>
                <a:t>. Δικαιωμάτων, της Δημοκρατίας </a:t>
              </a:r>
              <a:r>
                <a:rPr lang="en-US" sz="1600" dirty="0">
                  <a:latin typeface="Calibri" panose="020F0502020204030204" pitchFamily="34" charset="0"/>
                  <a:ea typeface="Calibri" panose="020F0502020204030204" pitchFamily="34" charset="0"/>
                  <a:cs typeface="Times New Roman" panose="02020603050405020304" pitchFamily="18" charset="0"/>
                </a:rPr>
                <a:t>&amp;</a:t>
              </a:r>
              <a:r>
                <a:rPr lang="el-GR" sz="1600" dirty="0">
                  <a:latin typeface="Calibri" panose="020F0502020204030204" pitchFamily="34" charset="0"/>
                  <a:ea typeface="Calibri" panose="020F0502020204030204" pitchFamily="34" charset="0"/>
                  <a:cs typeface="Times New Roman" panose="02020603050405020304" pitchFamily="18" charset="0"/>
                </a:rPr>
                <a:t> του Διεθνούς Δικαίου</a:t>
              </a:r>
              <a:endParaRPr lang="en-GB"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8" name="Rectangle 37">
              <a:extLst>
                <a:ext uri="{FF2B5EF4-FFF2-40B4-BE49-F238E27FC236}">
                  <a16:creationId xmlns:a16="http://schemas.microsoft.com/office/drawing/2014/main" id="{B7E5F4A7-87B0-425B-808E-D341EAF8E7B3}"/>
                </a:ext>
              </a:extLst>
            </p:cNvPr>
            <p:cNvSpPr/>
            <p:nvPr/>
          </p:nvSpPr>
          <p:spPr>
            <a:xfrm>
              <a:off x="2809787" y="2622872"/>
              <a:ext cx="9189147" cy="308956"/>
            </a:xfrm>
            <a:prstGeom prst="rect">
              <a:avLst/>
            </a:prstGeom>
          </p:spPr>
          <p:txBody>
            <a:bodyPr wrap="square" anchor="ctr">
              <a:spAutoFit/>
            </a:bodyPr>
            <a:lstStyle/>
            <a:p>
              <a:pPr algn="just">
                <a:spcAft>
                  <a:spcPts val="0"/>
                </a:spcAft>
              </a:pPr>
              <a:r>
                <a:rPr lang="el-GR" sz="1600" dirty="0">
                  <a:latin typeface="Calibri" panose="020F0502020204030204" pitchFamily="34" charset="0"/>
                  <a:cs typeface="Times New Roman" panose="02020603050405020304" pitchFamily="18" charset="0"/>
                </a:rPr>
                <a:t>Προάσπιση του Εθνικού Συμφέροντος</a:t>
              </a:r>
            </a:p>
          </p:txBody>
        </p:sp>
        <p:sp>
          <p:nvSpPr>
            <p:cNvPr id="39" name="Rectangle 38">
              <a:extLst>
                <a:ext uri="{FF2B5EF4-FFF2-40B4-BE49-F238E27FC236}">
                  <a16:creationId xmlns:a16="http://schemas.microsoft.com/office/drawing/2014/main" id="{6AB38E46-E252-4DC0-8DF3-C5B19A31279B}"/>
                </a:ext>
              </a:extLst>
            </p:cNvPr>
            <p:cNvSpPr/>
            <p:nvPr/>
          </p:nvSpPr>
          <p:spPr>
            <a:xfrm>
              <a:off x="2791446" y="3068628"/>
              <a:ext cx="9189147" cy="308956"/>
            </a:xfrm>
            <a:prstGeom prst="rect">
              <a:avLst/>
            </a:prstGeom>
          </p:spPr>
          <p:txBody>
            <a:bodyPr wrap="square" anchor="ctr">
              <a:spAutoFit/>
            </a:bodyPr>
            <a:lstStyle/>
            <a:p>
              <a:pPr algn="just">
                <a:spcAft>
                  <a:spcPts val="0"/>
                </a:spcAft>
              </a:pPr>
              <a:r>
                <a:rPr lang="el-GR" sz="1600" dirty="0">
                  <a:latin typeface="Calibri" panose="020F0502020204030204" pitchFamily="34" charset="0"/>
                  <a:cs typeface="Times New Roman" panose="02020603050405020304" pitchFamily="18" charset="0"/>
                </a:rPr>
                <a:t>Διαφάνεια, Αξιοπιστία, Ανθεκτικότητα έναντι κρίσεων/προκλήσεων</a:t>
              </a:r>
            </a:p>
          </p:txBody>
        </p:sp>
        <p:sp>
          <p:nvSpPr>
            <p:cNvPr id="40" name="Rectangle 39">
              <a:extLst>
                <a:ext uri="{FF2B5EF4-FFF2-40B4-BE49-F238E27FC236}">
                  <a16:creationId xmlns:a16="http://schemas.microsoft.com/office/drawing/2014/main" id="{CC694933-1C0C-476D-80FB-F850ABED830D}"/>
                </a:ext>
              </a:extLst>
            </p:cNvPr>
            <p:cNvSpPr/>
            <p:nvPr/>
          </p:nvSpPr>
          <p:spPr>
            <a:xfrm>
              <a:off x="2782275" y="3514384"/>
              <a:ext cx="9189147" cy="308956"/>
            </a:xfrm>
            <a:prstGeom prst="rect">
              <a:avLst/>
            </a:prstGeom>
          </p:spPr>
          <p:txBody>
            <a:bodyPr wrap="square" anchor="ctr">
              <a:spAutoFit/>
            </a:bodyPr>
            <a:lstStyle/>
            <a:p>
              <a:pPr algn="just">
                <a:spcAft>
                  <a:spcPts val="0"/>
                </a:spcAft>
              </a:pPr>
              <a:r>
                <a:rPr lang="el-GR" sz="1600" dirty="0">
                  <a:latin typeface="Calibri" panose="020F0502020204030204" pitchFamily="34" charset="0"/>
                  <a:cs typeface="Times New Roman" panose="02020603050405020304" pitchFamily="18" charset="0"/>
                </a:rPr>
                <a:t>Παροχή βέλτιστης ποιότητας υπηρεσιών προς τον πολίτη και τις επιχειρήσεις</a:t>
              </a:r>
            </a:p>
          </p:txBody>
        </p:sp>
        <p:sp>
          <p:nvSpPr>
            <p:cNvPr id="41" name="Rectangle 40">
              <a:extLst>
                <a:ext uri="{FF2B5EF4-FFF2-40B4-BE49-F238E27FC236}">
                  <a16:creationId xmlns:a16="http://schemas.microsoft.com/office/drawing/2014/main" id="{924A4EAD-58F3-436B-8CCF-418C7E039490}"/>
                </a:ext>
              </a:extLst>
            </p:cNvPr>
            <p:cNvSpPr/>
            <p:nvPr/>
          </p:nvSpPr>
          <p:spPr>
            <a:xfrm>
              <a:off x="2809787" y="3960140"/>
              <a:ext cx="9189147" cy="308956"/>
            </a:xfrm>
            <a:prstGeom prst="rect">
              <a:avLst/>
            </a:prstGeom>
          </p:spPr>
          <p:txBody>
            <a:bodyPr wrap="square" anchor="ctr">
              <a:spAutoFit/>
            </a:bodyPr>
            <a:lstStyle/>
            <a:p>
              <a:pPr algn="just">
                <a:spcAft>
                  <a:spcPts val="0"/>
                </a:spcAft>
              </a:pPr>
              <a:r>
                <a:rPr lang="el-GR" sz="1600" dirty="0">
                  <a:latin typeface="Calibri" panose="020F0502020204030204" pitchFamily="34" charset="0"/>
                  <a:cs typeface="Times New Roman" panose="02020603050405020304" pitchFamily="18" charset="0"/>
                </a:rPr>
                <a:t>Αριστεία, αίσθηση του Καθήκοντος και Επαγγελματισμός</a:t>
              </a:r>
            </a:p>
          </p:txBody>
        </p:sp>
        <p:sp>
          <p:nvSpPr>
            <p:cNvPr id="42" name="Rectangle 41">
              <a:extLst>
                <a:ext uri="{FF2B5EF4-FFF2-40B4-BE49-F238E27FC236}">
                  <a16:creationId xmlns:a16="http://schemas.microsoft.com/office/drawing/2014/main" id="{B05F6755-ABB1-4506-94EF-8AA1637F9247}"/>
                </a:ext>
              </a:extLst>
            </p:cNvPr>
            <p:cNvSpPr/>
            <p:nvPr/>
          </p:nvSpPr>
          <p:spPr>
            <a:xfrm>
              <a:off x="2791446" y="4391097"/>
              <a:ext cx="9189147" cy="338554"/>
            </a:xfrm>
            <a:prstGeom prst="rect">
              <a:avLst/>
            </a:prstGeom>
          </p:spPr>
          <p:txBody>
            <a:bodyPr wrap="square" anchor="ctr">
              <a:spAutoFit/>
            </a:bodyPr>
            <a:lstStyle/>
            <a:p>
              <a:pPr algn="just">
                <a:spcAft>
                  <a:spcPts val="0"/>
                </a:spcAft>
              </a:pPr>
              <a:r>
                <a:rPr lang="fr-FR" sz="1600" dirty="0">
                  <a:latin typeface="Calibri" panose="020F0502020204030204" pitchFamily="34" charset="0"/>
                  <a:cs typeface="Times New Roman" panose="02020603050405020304" pitchFamily="18" charset="0"/>
                </a:rPr>
                <a:t>T</a:t>
              </a:r>
              <a:r>
                <a:rPr lang="el-GR" sz="1600" dirty="0" err="1">
                  <a:latin typeface="Calibri" panose="020F0502020204030204" pitchFamily="34" charset="0"/>
                  <a:cs typeface="Times New Roman" panose="02020603050405020304" pitchFamily="18" charset="0"/>
                </a:rPr>
                <a:t>ιμιότητα</a:t>
              </a:r>
              <a:r>
                <a:rPr lang="el-GR" sz="1600" dirty="0">
                  <a:latin typeface="Calibri" panose="020F0502020204030204" pitchFamily="34" charset="0"/>
                  <a:cs typeface="Times New Roman" panose="02020603050405020304" pitchFamily="18" charset="0"/>
                </a:rPr>
                <a:t>, </a:t>
              </a:r>
              <a:r>
                <a:rPr lang="fr-FR" sz="1600" dirty="0">
                  <a:latin typeface="Calibri" panose="020F0502020204030204" pitchFamily="34" charset="0"/>
                  <a:cs typeface="Times New Roman" panose="02020603050405020304" pitchFamily="18" charset="0"/>
                </a:rPr>
                <a:t>A</a:t>
              </a:r>
              <a:r>
                <a:rPr lang="el-GR" sz="1600" dirty="0" err="1">
                  <a:latin typeface="Calibri" panose="020F0502020204030204" pitchFamily="34" charset="0"/>
                  <a:cs typeface="Times New Roman" panose="02020603050405020304" pitchFamily="18" charset="0"/>
                </a:rPr>
                <a:t>κεραιότητα</a:t>
              </a:r>
              <a:r>
                <a:rPr lang="el-GR" sz="1600" dirty="0">
                  <a:latin typeface="Calibri" panose="020F0502020204030204" pitchFamily="34" charset="0"/>
                  <a:cs typeface="Times New Roman" panose="02020603050405020304" pitchFamily="18" charset="0"/>
                </a:rPr>
                <a:t>, Ευγένεια</a:t>
              </a:r>
            </a:p>
          </p:txBody>
        </p:sp>
        <p:sp>
          <p:nvSpPr>
            <p:cNvPr id="52" name="Rectangle 51">
              <a:extLst>
                <a:ext uri="{FF2B5EF4-FFF2-40B4-BE49-F238E27FC236}">
                  <a16:creationId xmlns:a16="http://schemas.microsoft.com/office/drawing/2014/main" id="{D7160E88-1C89-4330-95EC-E3A94AB14972}"/>
                </a:ext>
              </a:extLst>
            </p:cNvPr>
            <p:cNvSpPr/>
            <p:nvPr/>
          </p:nvSpPr>
          <p:spPr>
            <a:xfrm>
              <a:off x="2782275" y="4851652"/>
              <a:ext cx="9189147" cy="386429"/>
            </a:xfrm>
            <a:prstGeom prst="rect">
              <a:avLst/>
            </a:prstGeom>
          </p:spPr>
          <p:txBody>
            <a:bodyPr wrap="square" anchor="ctr">
              <a:spAutoFit/>
            </a:bodyPr>
            <a:lstStyle/>
            <a:p>
              <a:pPr>
                <a:lnSpc>
                  <a:spcPct val="150000"/>
                </a:lnSpc>
                <a:spcAft>
                  <a:spcPts val="0"/>
                </a:spcAft>
                <a:buSzPts val="1200"/>
                <a:tabLst>
                  <a:tab pos="457165" algn="l"/>
                </a:tabLst>
              </a:pPr>
              <a:r>
                <a:rPr lang="el-GR" sz="1600" dirty="0">
                  <a:latin typeface="Calibri" panose="020F0502020204030204" pitchFamily="34" charset="0"/>
                  <a:ea typeface="Calibri" panose="020F0502020204030204" pitchFamily="34" charset="0"/>
                  <a:cs typeface="Times New Roman" panose="02020603050405020304" pitchFamily="18" charset="0"/>
                </a:rPr>
                <a:t>Συναδελφικότητα, Ομαδικό Πνεύμα, Συνέπεια και Εχεμύθεια</a:t>
              </a:r>
            </a:p>
          </p:txBody>
        </p:sp>
        <p:sp>
          <p:nvSpPr>
            <p:cNvPr id="53" name="Rectangle 52">
              <a:extLst>
                <a:ext uri="{FF2B5EF4-FFF2-40B4-BE49-F238E27FC236}">
                  <a16:creationId xmlns:a16="http://schemas.microsoft.com/office/drawing/2014/main" id="{740E6F18-890A-40AF-8A2B-BE63AE58E69E}"/>
                </a:ext>
              </a:extLst>
            </p:cNvPr>
            <p:cNvSpPr/>
            <p:nvPr/>
          </p:nvSpPr>
          <p:spPr>
            <a:xfrm>
              <a:off x="2791446" y="5374881"/>
              <a:ext cx="9189147" cy="386429"/>
            </a:xfrm>
            <a:prstGeom prst="rect">
              <a:avLst/>
            </a:prstGeom>
          </p:spPr>
          <p:txBody>
            <a:bodyPr wrap="square" anchor="ctr">
              <a:spAutoFit/>
            </a:bodyPr>
            <a:lstStyle/>
            <a:p>
              <a:pPr>
                <a:lnSpc>
                  <a:spcPct val="150000"/>
                </a:lnSpc>
                <a:spcAft>
                  <a:spcPts val="0"/>
                </a:spcAft>
                <a:buSzPts val="1200"/>
                <a:tabLst>
                  <a:tab pos="457165" algn="l"/>
                </a:tabLst>
              </a:pPr>
              <a:r>
                <a:rPr lang="el-GR" sz="1600" dirty="0">
                  <a:latin typeface="Calibri" panose="020F0502020204030204" pitchFamily="34" charset="0"/>
                  <a:ea typeface="Calibri" panose="020F0502020204030204" pitchFamily="34" charset="0"/>
                  <a:cs typeface="Times New Roman" panose="02020603050405020304" pitchFamily="18" charset="0"/>
                </a:rPr>
                <a:t>Προσαρμοστικότητα και Αποτελεσματικότητα</a:t>
              </a:r>
            </a:p>
          </p:txBody>
        </p:sp>
        <p:sp>
          <p:nvSpPr>
            <p:cNvPr id="54" name="Rectangle 53">
              <a:extLst>
                <a:ext uri="{FF2B5EF4-FFF2-40B4-BE49-F238E27FC236}">
                  <a16:creationId xmlns:a16="http://schemas.microsoft.com/office/drawing/2014/main" id="{970D8FB1-FFEB-4B01-A823-A3B124DA2569}"/>
                </a:ext>
              </a:extLst>
            </p:cNvPr>
            <p:cNvSpPr/>
            <p:nvPr/>
          </p:nvSpPr>
          <p:spPr>
            <a:xfrm>
              <a:off x="2809787" y="5898110"/>
              <a:ext cx="9189147" cy="386429"/>
            </a:xfrm>
            <a:prstGeom prst="rect">
              <a:avLst/>
            </a:prstGeom>
          </p:spPr>
          <p:txBody>
            <a:bodyPr wrap="square" anchor="ctr">
              <a:spAutoFit/>
            </a:bodyPr>
            <a:lstStyle/>
            <a:p>
              <a:pPr>
                <a:lnSpc>
                  <a:spcPct val="150000"/>
                </a:lnSpc>
                <a:spcAft>
                  <a:spcPts val="0"/>
                </a:spcAft>
                <a:buSzPts val="1200"/>
                <a:tabLst>
                  <a:tab pos="457165" algn="l"/>
                </a:tabLst>
              </a:pPr>
              <a:r>
                <a:rPr lang="el-GR" sz="1600" dirty="0">
                  <a:latin typeface="Calibri" panose="020F0502020204030204" pitchFamily="34" charset="0"/>
                  <a:ea typeface="Calibri" panose="020F0502020204030204" pitchFamily="34" charset="0"/>
                  <a:cs typeface="Times New Roman" panose="02020603050405020304" pitchFamily="18" charset="0"/>
                </a:rPr>
                <a:t>Εργατικότητα, επίδειξη Πρωτοβουλίας, Δημιουργικότητα, Οργανωτική Ικανότητα </a:t>
              </a:r>
            </a:p>
          </p:txBody>
        </p:sp>
        <p:sp>
          <p:nvSpPr>
            <p:cNvPr id="55" name="Rectangle 54">
              <a:extLst>
                <a:ext uri="{FF2B5EF4-FFF2-40B4-BE49-F238E27FC236}">
                  <a16:creationId xmlns:a16="http://schemas.microsoft.com/office/drawing/2014/main" id="{48E0DB56-79DF-4E0C-9CE3-DC3CB9455167}"/>
                </a:ext>
              </a:extLst>
            </p:cNvPr>
            <p:cNvSpPr/>
            <p:nvPr/>
          </p:nvSpPr>
          <p:spPr>
            <a:xfrm>
              <a:off x="2782275" y="6421335"/>
              <a:ext cx="9189147" cy="386429"/>
            </a:xfrm>
            <a:prstGeom prst="rect">
              <a:avLst/>
            </a:prstGeom>
          </p:spPr>
          <p:txBody>
            <a:bodyPr wrap="square" anchor="ctr">
              <a:spAutoFit/>
            </a:bodyPr>
            <a:lstStyle/>
            <a:p>
              <a:pPr>
                <a:lnSpc>
                  <a:spcPct val="150000"/>
                </a:lnSpc>
                <a:spcAft>
                  <a:spcPts val="0"/>
                </a:spcAft>
                <a:buSzPts val="1200"/>
                <a:tabLst>
                  <a:tab pos="457165" algn="l"/>
                </a:tabLst>
              </a:pPr>
              <a:r>
                <a:rPr lang="el-GR" sz="1600" dirty="0">
                  <a:latin typeface="Calibri" panose="020F0502020204030204" pitchFamily="34" charset="0"/>
                  <a:ea typeface="Calibri" panose="020F0502020204030204" pitchFamily="34" charset="0"/>
                  <a:cs typeface="Times New Roman" panose="02020603050405020304" pitchFamily="18" charset="0"/>
                </a:rPr>
                <a:t>Λογοδοσία και Αξιολόγηση, αίσθηση Ιδιοκτησίας και Αναγνώρισης του έργου του υπαλλήλου</a:t>
              </a:r>
            </a:p>
          </p:txBody>
        </p:sp>
      </p:grpSp>
      <p:grpSp>
        <p:nvGrpSpPr>
          <p:cNvPr id="11" name="Group 10">
            <a:extLst>
              <a:ext uri="{FF2B5EF4-FFF2-40B4-BE49-F238E27FC236}">
                <a16:creationId xmlns:a16="http://schemas.microsoft.com/office/drawing/2014/main" id="{87EFE1FD-C7D0-4379-B642-40ECA2113B88}"/>
              </a:ext>
            </a:extLst>
          </p:cNvPr>
          <p:cNvGrpSpPr/>
          <p:nvPr/>
        </p:nvGrpSpPr>
        <p:grpSpPr>
          <a:xfrm>
            <a:off x="2593295" y="2110370"/>
            <a:ext cx="398425" cy="4680849"/>
            <a:chOff x="2479531" y="2133893"/>
            <a:chExt cx="398425" cy="4680849"/>
          </a:xfrm>
          <a:solidFill>
            <a:srgbClr val="013476"/>
          </a:solidFill>
        </p:grpSpPr>
        <p:sp>
          <p:nvSpPr>
            <p:cNvPr id="56" name="Freeform 73">
              <a:extLst>
                <a:ext uri="{FF2B5EF4-FFF2-40B4-BE49-F238E27FC236}">
                  <a16:creationId xmlns:a16="http://schemas.microsoft.com/office/drawing/2014/main" id="{A11B065F-B2D1-4081-83D4-65DCF036A374}"/>
                </a:ext>
              </a:extLst>
            </p:cNvPr>
            <p:cNvSpPr>
              <a:spLocks noChangeAspect="1" noEditPoints="1"/>
            </p:cNvSpPr>
            <p:nvPr/>
          </p:nvSpPr>
          <p:spPr bwMode="auto">
            <a:xfrm>
              <a:off x="2498504" y="2133893"/>
              <a:ext cx="379452" cy="382227"/>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2 h 576"/>
                <a:gd name="T12" fmla="*/ 25 w 576"/>
                <a:gd name="T13" fmla="*/ 552 h 576"/>
                <a:gd name="T14" fmla="*/ 25 w 576"/>
                <a:gd name="T15" fmla="*/ 25 h 576"/>
                <a:gd name="T16" fmla="*/ 551 w 576"/>
                <a:gd name="T17" fmla="*/ 25 h 576"/>
                <a:gd name="T18" fmla="*/ 551 w 576"/>
                <a:gd name="T19" fmla="*/ 552 h 576"/>
                <a:gd name="T20" fmla="*/ 288 w 576"/>
                <a:gd name="T21" fmla="*/ 529 h 576"/>
                <a:gd name="T22" fmla="*/ 528 w 576"/>
                <a:gd name="T23" fmla="*/ 289 h 576"/>
                <a:gd name="T24" fmla="*/ 288 w 576"/>
                <a:gd name="T25" fmla="*/ 49 h 576"/>
                <a:gd name="T26" fmla="*/ 48 w 576"/>
                <a:gd name="T27" fmla="*/ 289 h 576"/>
                <a:gd name="T28" fmla="*/ 288 w 576"/>
                <a:gd name="T29" fmla="*/ 529 h 576"/>
                <a:gd name="T30" fmla="*/ 288 w 576"/>
                <a:gd name="T31" fmla="*/ 73 h 576"/>
                <a:gd name="T32" fmla="*/ 504 w 576"/>
                <a:gd name="T33" fmla="*/ 289 h 576"/>
                <a:gd name="T34" fmla="*/ 288 w 576"/>
                <a:gd name="T35" fmla="*/ 505 h 576"/>
                <a:gd name="T36" fmla="*/ 72 w 576"/>
                <a:gd name="T37" fmla="*/ 289 h 576"/>
                <a:gd name="T38" fmla="*/ 288 w 576"/>
                <a:gd name="T39" fmla="*/ 73 h 576"/>
                <a:gd name="T40" fmla="*/ 300 w 576"/>
                <a:gd name="T41" fmla="*/ 160 h 576"/>
                <a:gd name="T42" fmla="*/ 276 w 576"/>
                <a:gd name="T43" fmla="*/ 160 h 576"/>
                <a:gd name="T44" fmla="*/ 276 w 576"/>
                <a:gd name="T45" fmla="*/ 102 h 576"/>
                <a:gd name="T46" fmla="*/ 300 w 576"/>
                <a:gd name="T47" fmla="*/ 102 h 576"/>
                <a:gd name="T48" fmla="*/ 300 w 576"/>
                <a:gd name="T49" fmla="*/ 160 h 576"/>
                <a:gd name="T50" fmla="*/ 276 w 576"/>
                <a:gd name="T51" fmla="*/ 419 h 576"/>
                <a:gd name="T52" fmla="*/ 300 w 576"/>
                <a:gd name="T53" fmla="*/ 419 h 576"/>
                <a:gd name="T54" fmla="*/ 300 w 576"/>
                <a:gd name="T55" fmla="*/ 477 h 576"/>
                <a:gd name="T56" fmla="*/ 276 w 576"/>
                <a:gd name="T57" fmla="*/ 477 h 576"/>
                <a:gd name="T58" fmla="*/ 276 w 576"/>
                <a:gd name="T59" fmla="*/ 419 h 576"/>
                <a:gd name="T60" fmla="*/ 417 w 576"/>
                <a:gd name="T61" fmla="*/ 277 h 576"/>
                <a:gd name="T62" fmla="*/ 476 w 576"/>
                <a:gd name="T63" fmla="*/ 277 h 576"/>
                <a:gd name="T64" fmla="*/ 476 w 576"/>
                <a:gd name="T65" fmla="*/ 302 h 576"/>
                <a:gd name="T66" fmla="*/ 417 w 576"/>
                <a:gd name="T67" fmla="*/ 302 h 576"/>
                <a:gd name="T68" fmla="*/ 417 w 576"/>
                <a:gd name="T69" fmla="*/ 277 h 576"/>
                <a:gd name="T70" fmla="*/ 159 w 576"/>
                <a:gd name="T71" fmla="*/ 302 h 576"/>
                <a:gd name="T72" fmla="*/ 100 w 576"/>
                <a:gd name="T73" fmla="*/ 302 h 576"/>
                <a:gd name="T74" fmla="*/ 100 w 576"/>
                <a:gd name="T75" fmla="*/ 277 h 576"/>
                <a:gd name="T76" fmla="*/ 159 w 576"/>
                <a:gd name="T77" fmla="*/ 277 h 576"/>
                <a:gd name="T78" fmla="*/ 159 w 576"/>
                <a:gd name="T79" fmla="*/ 302 h 576"/>
                <a:gd name="T80" fmla="*/ 160 w 576"/>
                <a:gd name="T81" fmla="*/ 418 h 576"/>
                <a:gd name="T82" fmla="*/ 168 w 576"/>
                <a:gd name="T83" fmla="*/ 422 h 576"/>
                <a:gd name="T84" fmla="*/ 174 w 576"/>
                <a:gd name="T85" fmla="*/ 420 h 576"/>
                <a:gd name="T86" fmla="*/ 329 w 576"/>
                <a:gd name="T87" fmla="*/ 336 h 576"/>
                <a:gd name="T88" fmla="*/ 332 w 576"/>
                <a:gd name="T89" fmla="*/ 333 h 576"/>
                <a:gd name="T90" fmla="*/ 334 w 576"/>
                <a:gd name="T91" fmla="*/ 330 h 576"/>
                <a:gd name="T92" fmla="*/ 418 w 576"/>
                <a:gd name="T93" fmla="*/ 176 h 576"/>
                <a:gd name="T94" fmla="*/ 416 w 576"/>
                <a:gd name="T95" fmla="*/ 161 h 576"/>
                <a:gd name="T96" fmla="*/ 402 w 576"/>
                <a:gd name="T97" fmla="*/ 159 h 576"/>
                <a:gd name="T98" fmla="*/ 247 w 576"/>
                <a:gd name="T99" fmla="*/ 243 h 576"/>
                <a:gd name="T100" fmla="*/ 244 w 576"/>
                <a:gd name="T101" fmla="*/ 246 h 576"/>
                <a:gd name="T102" fmla="*/ 242 w 576"/>
                <a:gd name="T103" fmla="*/ 249 h 576"/>
                <a:gd name="T104" fmla="*/ 158 w 576"/>
                <a:gd name="T105" fmla="*/ 403 h 576"/>
                <a:gd name="T106" fmla="*/ 160 w 576"/>
                <a:gd name="T107" fmla="*/ 418 h 576"/>
                <a:gd name="T108" fmla="*/ 377 w 576"/>
                <a:gd name="T109" fmla="*/ 201 h 576"/>
                <a:gd name="T110" fmla="*/ 320 w 576"/>
                <a:gd name="T111" fmla="*/ 304 h 576"/>
                <a:gd name="T112" fmla="*/ 273 w 576"/>
                <a:gd name="T113" fmla="*/ 257 h 576"/>
                <a:gd name="T114" fmla="*/ 377 w 576"/>
                <a:gd name="T115" fmla="*/ 201 h 576"/>
                <a:gd name="T116" fmla="*/ 256 w 576"/>
                <a:gd name="T117" fmla="*/ 275 h 576"/>
                <a:gd name="T118" fmla="*/ 303 w 576"/>
                <a:gd name="T119" fmla="*/ 322 h 576"/>
                <a:gd name="T120" fmla="*/ 199 w 576"/>
                <a:gd name="T121" fmla="*/ 378 h 576"/>
                <a:gd name="T122" fmla="*/ 256 w 576"/>
                <a:gd name="T123" fmla="*/ 2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529"/>
                  </a:moveTo>
                  <a:cubicBezTo>
                    <a:pt x="421" y="529"/>
                    <a:pt x="528" y="422"/>
                    <a:pt x="528" y="289"/>
                  </a:cubicBezTo>
                  <a:cubicBezTo>
                    <a:pt x="528" y="157"/>
                    <a:pt x="421" y="49"/>
                    <a:pt x="288" y="49"/>
                  </a:cubicBezTo>
                  <a:cubicBezTo>
                    <a:pt x="156" y="49"/>
                    <a:pt x="48" y="157"/>
                    <a:pt x="48" y="289"/>
                  </a:cubicBezTo>
                  <a:cubicBezTo>
                    <a:pt x="48" y="422"/>
                    <a:pt x="156" y="529"/>
                    <a:pt x="288" y="529"/>
                  </a:cubicBezTo>
                  <a:close/>
                  <a:moveTo>
                    <a:pt x="288" y="73"/>
                  </a:moveTo>
                  <a:cubicBezTo>
                    <a:pt x="407" y="73"/>
                    <a:pt x="504" y="170"/>
                    <a:pt x="504" y="289"/>
                  </a:cubicBezTo>
                  <a:cubicBezTo>
                    <a:pt x="504" y="408"/>
                    <a:pt x="407" y="505"/>
                    <a:pt x="288" y="505"/>
                  </a:cubicBezTo>
                  <a:cubicBezTo>
                    <a:pt x="169" y="505"/>
                    <a:pt x="72" y="408"/>
                    <a:pt x="72" y="289"/>
                  </a:cubicBezTo>
                  <a:cubicBezTo>
                    <a:pt x="72" y="170"/>
                    <a:pt x="169" y="73"/>
                    <a:pt x="288" y="73"/>
                  </a:cubicBezTo>
                  <a:close/>
                  <a:moveTo>
                    <a:pt x="300" y="160"/>
                  </a:moveTo>
                  <a:cubicBezTo>
                    <a:pt x="276" y="160"/>
                    <a:pt x="276" y="160"/>
                    <a:pt x="276" y="160"/>
                  </a:cubicBezTo>
                  <a:cubicBezTo>
                    <a:pt x="276" y="102"/>
                    <a:pt x="276" y="102"/>
                    <a:pt x="276" y="102"/>
                  </a:cubicBezTo>
                  <a:cubicBezTo>
                    <a:pt x="300" y="102"/>
                    <a:pt x="300" y="102"/>
                    <a:pt x="300" y="102"/>
                  </a:cubicBezTo>
                  <a:lnTo>
                    <a:pt x="300" y="160"/>
                  </a:lnTo>
                  <a:close/>
                  <a:moveTo>
                    <a:pt x="276" y="419"/>
                  </a:moveTo>
                  <a:cubicBezTo>
                    <a:pt x="300" y="419"/>
                    <a:pt x="300" y="419"/>
                    <a:pt x="300" y="419"/>
                  </a:cubicBezTo>
                  <a:cubicBezTo>
                    <a:pt x="300" y="477"/>
                    <a:pt x="300" y="477"/>
                    <a:pt x="300" y="477"/>
                  </a:cubicBezTo>
                  <a:cubicBezTo>
                    <a:pt x="276" y="477"/>
                    <a:pt x="276" y="477"/>
                    <a:pt x="276" y="477"/>
                  </a:cubicBezTo>
                  <a:lnTo>
                    <a:pt x="276" y="419"/>
                  </a:lnTo>
                  <a:close/>
                  <a:moveTo>
                    <a:pt x="417" y="277"/>
                  </a:moveTo>
                  <a:cubicBezTo>
                    <a:pt x="476" y="277"/>
                    <a:pt x="476" y="277"/>
                    <a:pt x="476" y="277"/>
                  </a:cubicBezTo>
                  <a:cubicBezTo>
                    <a:pt x="476" y="302"/>
                    <a:pt x="476" y="302"/>
                    <a:pt x="476" y="302"/>
                  </a:cubicBezTo>
                  <a:cubicBezTo>
                    <a:pt x="417" y="302"/>
                    <a:pt x="417" y="302"/>
                    <a:pt x="417" y="302"/>
                  </a:cubicBezTo>
                  <a:lnTo>
                    <a:pt x="417" y="277"/>
                  </a:lnTo>
                  <a:close/>
                  <a:moveTo>
                    <a:pt x="159" y="302"/>
                  </a:moveTo>
                  <a:cubicBezTo>
                    <a:pt x="100" y="302"/>
                    <a:pt x="100" y="302"/>
                    <a:pt x="100" y="302"/>
                  </a:cubicBezTo>
                  <a:cubicBezTo>
                    <a:pt x="100" y="277"/>
                    <a:pt x="100" y="277"/>
                    <a:pt x="100" y="277"/>
                  </a:cubicBezTo>
                  <a:cubicBezTo>
                    <a:pt x="159" y="277"/>
                    <a:pt x="159" y="277"/>
                    <a:pt x="159" y="277"/>
                  </a:cubicBezTo>
                  <a:lnTo>
                    <a:pt x="159" y="302"/>
                  </a:lnTo>
                  <a:close/>
                  <a:moveTo>
                    <a:pt x="160" y="418"/>
                  </a:moveTo>
                  <a:cubicBezTo>
                    <a:pt x="162" y="420"/>
                    <a:pt x="165" y="422"/>
                    <a:pt x="168" y="422"/>
                  </a:cubicBezTo>
                  <a:cubicBezTo>
                    <a:pt x="170" y="422"/>
                    <a:pt x="172" y="421"/>
                    <a:pt x="174" y="420"/>
                  </a:cubicBezTo>
                  <a:cubicBezTo>
                    <a:pt x="329" y="336"/>
                    <a:pt x="329" y="336"/>
                    <a:pt x="329" y="336"/>
                  </a:cubicBezTo>
                  <a:cubicBezTo>
                    <a:pt x="330" y="335"/>
                    <a:pt x="331" y="334"/>
                    <a:pt x="332" y="333"/>
                  </a:cubicBezTo>
                  <a:cubicBezTo>
                    <a:pt x="333" y="333"/>
                    <a:pt x="334" y="332"/>
                    <a:pt x="334" y="330"/>
                  </a:cubicBezTo>
                  <a:cubicBezTo>
                    <a:pt x="418" y="176"/>
                    <a:pt x="418" y="176"/>
                    <a:pt x="418" y="176"/>
                  </a:cubicBezTo>
                  <a:cubicBezTo>
                    <a:pt x="421" y="171"/>
                    <a:pt x="420" y="165"/>
                    <a:pt x="416" y="161"/>
                  </a:cubicBezTo>
                  <a:cubicBezTo>
                    <a:pt x="412" y="157"/>
                    <a:pt x="407" y="157"/>
                    <a:pt x="402" y="159"/>
                  </a:cubicBezTo>
                  <a:cubicBezTo>
                    <a:pt x="247" y="243"/>
                    <a:pt x="247" y="243"/>
                    <a:pt x="247" y="243"/>
                  </a:cubicBezTo>
                  <a:cubicBezTo>
                    <a:pt x="246" y="244"/>
                    <a:pt x="245" y="245"/>
                    <a:pt x="244" y="246"/>
                  </a:cubicBezTo>
                  <a:cubicBezTo>
                    <a:pt x="243" y="247"/>
                    <a:pt x="242" y="248"/>
                    <a:pt x="242" y="249"/>
                  </a:cubicBezTo>
                  <a:cubicBezTo>
                    <a:pt x="158" y="403"/>
                    <a:pt x="158" y="403"/>
                    <a:pt x="158" y="403"/>
                  </a:cubicBezTo>
                  <a:cubicBezTo>
                    <a:pt x="155" y="408"/>
                    <a:pt x="156" y="414"/>
                    <a:pt x="160" y="418"/>
                  </a:cubicBezTo>
                  <a:close/>
                  <a:moveTo>
                    <a:pt x="377" y="201"/>
                  </a:moveTo>
                  <a:cubicBezTo>
                    <a:pt x="320" y="304"/>
                    <a:pt x="320" y="304"/>
                    <a:pt x="320" y="304"/>
                  </a:cubicBezTo>
                  <a:cubicBezTo>
                    <a:pt x="273" y="257"/>
                    <a:pt x="273" y="257"/>
                    <a:pt x="273" y="257"/>
                  </a:cubicBezTo>
                  <a:lnTo>
                    <a:pt x="377" y="201"/>
                  </a:lnTo>
                  <a:close/>
                  <a:moveTo>
                    <a:pt x="256" y="275"/>
                  </a:moveTo>
                  <a:cubicBezTo>
                    <a:pt x="303" y="322"/>
                    <a:pt x="303" y="322"/>
                    <a:pt x="303" y="322"/>
                  </a:cubicBezTo>
                  <a:cubicBezTo>
                    <a:pt x="199" y="378"/>
                    <a:pt x="199" y="378"/>
                    <a:pt x="199" y="378"/>
                  </a:cubicBezTo>
                  <a:lnTo>
                    <a:pt x="256" y="275"/>
                  </a:lnTo>
                  <a:close/>
                </a:path>
              </a:pathLst>
            </a:custGeom>
            <a:grp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grpSp>
          <p:nvGrpSpPr>
            <p:cNvPr id="58" name="Group 114">
              <a:extLst>
                <a:ext uri="{FF2B5EF4-FFF2-40B4-BE49-F238E27FC236}">
                  <a16:creationId xmlns:a16="http://schemas.microsoft.com/office/drawing/2014/main" id="{33076D23-DA99-43D8-80F0-9545E6E17527}"/>
                </a:ext>
              </a:extLst>
            </p:cNvPr>
            <p:cNvGrpSpPr>
              <a:grpSpLocks noChangeAspect="1"/>
            </p:cNvGrpSpPr>
            <p:nvPr/>
          </p:nvGrpSpPr>
          <p:grpSpPr bwMode="auto">
            <a:xfrm>
              <a:off x="2498504" y="2600892"/>
              <a:ext cx="360000" cy="355304"/>
              <a:chOff x="986" y="0"/>
              <a:chExt cx="6709" cy="6708"/>
            </a:xfrm>
            <a:grpFill/>
          </p:grpSpPr>
          <p:sp>
            <p:nvSpPr>
              <p:cNvPr id="59" name="Freeform 115">
                <a:extLst>
                  <a:ext uri="{FF2B5EF4-FFF2-40B4-BE49-F238E27FC236}">
                    <a16:creationId xmlns:a16="http://schemas.microsoft.com/office/drawing/2014/main" id="{A2CC096D-23CF-4B5C-AEE1-425088D9D4F0}"/>
                  </a:ext>
                </a:extLst>
              </p:cNvPr>
              <p:cNvSpPr>
                <a:spLocks noEditPoints="1"/>
              </p:cNvSpPr>
              <p:nvPr/>
            </p:nvSpPr>
            <p:spPr bwMode="auto">
              <a:xfrm>
                <a:off x="986" y="0"/>
                <a:ext cx="6709" cy="6708"/>
              </a:xfrm>
              <a:custGeom>
                <a:avLst/>
                <a:gdLst>
                  <a:gd name="T0" fmla="*/ 0 w 6709"/>
                  <a:gd name="T1" fmla="*/ 0 h 6708"/>
                  <a:gd name="T2" fmla="*/ 0 w 6709"/>
                  <a:gd name="T3" fmla="*/ 6708 h 6708"/>
                  <a:gd name="T4" fmla="*/ 6709 w 6709"/>
                  <a:gd name="T5" fmla="*/ 6708 h 6708"/>
                  <a:gd name="T6" fmla="*/ 6709 w 6709"/>
                  <a:gd name="T7" fmla="*/ 0 h 6708"/>
                  <a:gd name="T8" fmla="*/ 0 w 6709"/>
                  <a:gd name="T9" fmla="*/ 0 h 6708"/>
                  <a:gd name="T10" fmla="*/ 6423 w 6709"/>
                  <a:gd name="T11" fmla="*/ 6422 h 6708"/>
                  <a:gd name="T12" fmla="*/ 286 w 6709"/>
                  <a:gd name="T13" fmla="*/ 6422 h 6708"/>
                  <a:gd name="T14" fmla="*/ 286 w 6709"/>
                  <a:gd name="T15" fmla="*/ 286 h 6708"/>
                  <a:gd name="T16" fmla="*/ 6423 w 6709"/>
                  <a:gd name="T17" fmla="*/ 286 h 6708"/>
                  <a:gd name="T18" fmla="*/ 6423 w 6709"/>
                  <a:gd name="T19" fmla="*/ 6422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09" h="6708">
                    <a:moveTo>
                      <a:pt x="0" y="0"/>
                    </a:moveTo>
                    <a:lnTo>
                      <a:pt x="0" y="6708"/>
                    </a:lnTo>
                    <a:lnTo>
                      <a:pt x="6709" y="6708"/>
                    </a:lnTo>
                    <a:lnTo>
                      <a:pt x="6709" y="0"/>
                    </a:lnTo>
                    <a:lnTo>
                      <a:pt x="0" y="0"/>
                    </a:lnTo>
                    <a:close/>
                    <a:moveTo>
                      <a:pt x="6423" y="6422"/>
                    </a:moveTo>
                    <a:lnTo>
                      <a:pt x="286" y="6422"/>
                    </a:lnTo>
                    <a:lnTo>
                      <a:pt x="286" y="286"/>
                    </a:lnTo>
                    <a:lnTo>
                      <a:pt x="6423" y="286"/>
                    </a:lnTo>
                    <a:lnTo>
                      <a:pt x="6423" y="6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60" name="Rectangle 116">
                <a:extLst>
                  <a:ext uri="{FF2B5EF4-FFF2-40B4-BE49-F238E27FC236}">
                    <a16:creationId xmlns:a16="http://schemas.microsoft.com/office/drawing/2014/main" id="{BD7CF7B4-1282-40BF-B375-E553A2D44122}"/>
                  </a:ext>
                </a:extLst>
              </p:cNvPr>
              <p:cNvSpPr>
                <a:spLocks noChangeArrowheads="1"/>
              </p:cNvSpPr>
              <p:nvPr/>
            </p:nvSpPr>
            <p:spPr bwMode="auto">
              <a:xfrm>
                <a:off x="1844" y="5576"/>
                <a:ext cx="4957"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61" name="Freeform 117">
                <a:extLst>
                  <a:ext uri="{FF2B5EF4-FFF2-40B4-BE49-F238E27FC236}">
                    <a16:creationId xmlns:a16="http://schemas.microsoft.com/office/drawing/2014/main" id="{48122D16-9912-45CD-AB15-E177E643752E}"/>
                  </a:ext>
                </a:extLst>
              </p:cNvPr>
              <p:cNvSpPr>
                <a:spLocks noEditPoints="1"/>
              </p:cNvSpPr>
              <p:nvPr/>
            </p:nvSpPr>
            <p:spPr bwMode="auto">
              <a:xfrm>
                <a:off x="1844" y="926"/>
                <a:ext cx="4957" cy="1734"/>
              </a:xfrm>
              <a:custGeom>
                <a:avLst/>
                <a:gdLst>
                  <a:gd name="T0" fmla="*/ 4957 w 4957"/>
                  <a:gd name="T1" fmla="*/ 1448 h 1734"/>
                  <a:gd name="T2" fmla="*/ 2661 w 4957"/>
                  <a:gd name="T3" fmla="*/ 1448 h 1734"/>
                  <a:gd name="T4" fmla="*/ 2661 w 4957"/>
                  <a:gd name="T5" fmla="*/ 1010 h 1734"/>
                  <a:gd name="T6" fmla="*/ 3175 w 4957"/>
                  <a:gd name="T7" fmla="*/ 1010 h 1734"/>
                  <a:gd name="T8" fmla="*/ 3175 w 4957"/>
                  <a:gd name="T9" fmla="*/ 1278 h 1734"/>
                  <a:gd name="T10" fmla="*/ 4051 w 4957"/>
                  <a:gd name="T11" fmla="*/ 1278 h 1734"/>
                  <a:gd name="T12" fmla="*/ 4051 w 4957"/>
                  <a:gd name="T13" fmla="*/ 342 h 1734"/>
                  <a:gd name="T14" fmla="*/ 3461 w 4957"/>
                  <a:gd name="T15" fmla="*/ 342 h 1734"/>
                  <a:gd name="T16" fmla="*/ 3461 w 4957"/>
                  <a:gd name="T17" fmla="*/ 0 h 1734"/>
                  <a:gd name="T18" fmla="*/ 2374 w 4957"/>
                  <a:gd name="T19" fmla="*/ 0 h 1734"/>
                  <a:gd name="T20" fmla="*/ 2374 w 4957"/>
                  <a:gd name="T21" fmla="*/ 1448 h 1734"/>
                  <a:gd name="T22" fmla="*/ 0 w 4957"/>
                  <a:gd name="T23" fmla="*/ 1448 h 1734"/>
                  <a:gd name="T24" fmla="*/ 0 w 4957"/>
                  <a:gd name="T25" fmla="*/ 1734 h 1734"/>
                  <a:gd name="T26" fmla="*/ 4957 w 4957"/>
                  <a:gd name="T27" fmla="*/ 1734 h 1734"/>
                  <a:gd name="T28" fmla="*/ 4957 w 4957"/>
                  <a:gd name="T29" fmla="*/ 1448 h 1734"/>
                  <a:gd name="T30" fmla="*/ 3765 w 4957"/>
                  <a:gd name="T31" fmla="*/ 630 h 1734"/>
                  <a:gd name="T32" fmla="*/ 3765 w 4957"/>
                  <a:gd name="T33" fmla="*/ 990 h 1734"/>
                  <a:gd name="T34" fmla="*/ 3461 w 4957"/>
                  <a:gd name="T35" fmla="*/ 990 h 1734"/>
                  <a:gd name="T36" fmla="*/ 3461 w 4957"/>
                  <a:gd name="T37" fmla="*/ 630 h 1734"/>
                  <a:gd name="T38" fmla="*/ 3765 w 4957"/>
                  <a:gd name="T39" fmla="*/ 630 h 1734"/>
                  <a:gd name="T40" fmla="*/ 2661 w 4957"/>
                  <a:gd name="T41" fmla="*/ 286 h 1734"/>
                  <a:gd name="T42" fmla="*/ 3175 w 4957"/>
                  <a:gd name="T43" fmla="*/ 286 h 1734"/>
                  <a:gd name="T44" fmla="*/ 3175 w 4957"/>
                  <a:gd name="T45" fmla="*/ 342 h 1734"/>
                  <a:gd name="T46" fmla="*/ 3175 w 4957"/>
                  <a:gd name="T47" fmla="*/ 724 h 1734"/>
                  <a:gd name="T48" fmla="*/ 2661 w 4957"/>
                  <a:gd name="T49" fmla="*/ 724 h 1734"/>
                  <a:gd name="T50" fmla="*/ 2661 w 4957"/>
                  <a:gd name="T51" fmla="*/ 286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57" h="1734">
                    <a:moveTo>
                      <a:pt x="4957" y="1448"/>
                    </a:moveTo>
                    <a:lnTo>
                      <a:pt x="2661" y="1448"/>
                    </a:lnTo>
                    <a:lnTo>
                      <a:pt x="2661" y="1010"/>
                    </a:lnTo>
                    <a:lnTo>
                      <a:pt x="3175" y="1010"/>
                    </a:lnTo>
                    <a:lnTo>
                      <a:pt x="3175" y="1278"/>
                    </a:lnTo>
                    <a:lnTo>
                      <a:pt x="4051" y="1278"/>
                    </a:lnTo>
                    <a:lnTo>
                      <a:pt x="4051" y="342"/>
                    </a:lnTo>
                    <a:lnTo>
                      <a:pt x="3461" y="342"/>
                    </a:lnTo>
                    <a:lnTo>
                      <a:pt x="3461" y="0"/>
                    </a:lnTo>
                    <a:lnTo>
                      <a:pt x="2374" y="0"/>
                    </a:lnTo>
                    <a:lnTo>
                      <a:pt x="2374" y="1448"/>
                    </a:lnTo>
                    <a:lnTo>
                      <a:pt x="0" y="1448"/>
                    </a:lnTo>
                    <a:lnTo>
                      <a:pt x="0" y="1734"/>
                    </a:lnTo>
                    <a:lnTo>
                      <a:pt x="4957" y="1734"/>
                    </a:lnTo>
                    <a:lnTo>
                      <a:pt x="4957" y="1448"/>
                    </a:lnTo>
                    <a:close/>
                    <a:moveTo>
                      <a:pt x="3765" y="630"/>
                    </a:moveTo>
                    <a:lnTo>
                      <a:pt x="3765" y="990"/>
                    </a:lnTo>
                    <a:lnTo>
                      <a:pt x="3461" y="990"/>
                    </a:lnTo>
                    <a:lnTo>
                      <a:pt x="3461" y="630"/>
                    </a:lnTo>
                    <a:lnTo>
                      <a:pt x="3765" y="630"/>
                    </a:lnTo>
                    <a:close/>
                    <a:moveTo>
                      <a:pt x="2661" y="286"/>
                    </a:moveTo>
                    <a:lnTo>
                      <a:pt x="3175" y="286"/>
                    </a:lnTo>
                    <a:lnTo>
                      <a:pt x="3175" y="342"/>
                    </a:lnTo>
                    <a:lnTo>
                      <a:pt x="3175" y="724"/>
                    </a:lnTo>
                    <a:lnTo>
                      <a:pt x="2661" y="724"/>
                    </a:lnTo>
                    <a:lnTo>
                      <a:pt x="2661"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62" name="Freeform 118">
                <a:extLst>
                  <a:ext uri="{FF2B5EF4-FFF2-40B4-BE49-F238E27FC236}">
                    <a16:creationId xmlns:a16="http://schemas.microsoft.com/office/drawing/2014/main" id="{C6649365-9F8A-4A0F-AAB4-E8F154B5820E}"/>
                  </a:ext>
                </a:extLst>
              </p:cNvPr>
              <p:cNvSpPr>
                <a:spLocks noEditPoints="1"/>
              </p:cNvSpPr>
              <p:nvPr/>
            </p:nvSpPr>
            <p:spPr bwMode="auto">
              <a:xfrm>
                <a:off x="2226"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63" name="Freeform 119">
                <a:extLst>
                  <a:ext uri="{FF2B5EF4-FFF2-40B4-BE49-F238E27FC236}">
                    <a16:creationId xmlns:a16="http://schemas.microsoft.com/office/drawing/2014/main" id="{F714C88E-8A09-4E14-B766-1BA7E12C6A4E}"/>
                  </a:ext>
                </a:extLst>
              </p:cNvPr>
              <p:cNvSpPr>
                <a:spLocks noEditPoints="1"/>
              </p:cNvSpPr>
              <p:nvPr/>
            </p:nvSpPr>
            <p:spPr bwMode="auto">
              <a:xfrm>
                <a:off x="3338"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64" name="Freeform 120">
                <a:extLst>
                  <a:ext uri="{FF2B5EF4-FFF2-40B4-BE49-F238E27FC236}">
                    <a16:creationId xmlns:a16="http://schemas.microsoft.com/office/drawing/2014/main" id="{9E04955B-9530-4BD7-9BE4-6EBFB39F2B2E}"/>
                  </a:ext>
                </a:extLst>
              </p:cNvPr>
              <p:cNvSpPr>
                <a:spLocks noEditPoints="1"/>
              </p:cNvSpPr>
              <p:nvPr/>
            </p:nvSpPr>
            <p:spPr bwMode="auto">
              <a:xfrm>
                <a:off x="4451" y="2832"/>
                <a:ext cx="856" cy="2572"/>
              </a:xfrm>
              <a:custGeom>
                <a:avLst/>
                <a:gdLst>
                  <a:gd name="T0" fmla="*/ 856 w 856"/>
                  <a:gd name="T1" fmla="*/ 2572 h 2572"/>
                  <a:gd name="T2" fmla="*/ 856 w 856"/>
                  <a:gd name="T3" fmla="*/ 0 h 2572"/>
                  <a:gd name="T4" fmla="*/ 0 w 856"/>
                  <a:gd name="T5" fmla="*/ 0 h 2572"/>
                  <a:gd name="T6" fmla="*/ 0 w 856"/>
                  <a:gd name="T7" fmla="*/ 2572 h 2572"/>
                  <a:gd name="T8" fmla="*/ 856 w 856"/>
                  <a:gd name="T9" fmla="*/ 2572 h 2572"/>
                  <a:gd name="T10" fmla="*/ 286 w 856"/>
                  <a:gd name="T11" fmla="*/ 286 h 2572"/>
                  <a:gd name="T12" fmla="*/ 570 w 856"/>
                  <a:gd name="T13" fmla="*/ 286 h 2572"/>
                  <a:gd name="T14" fmla="*/ 570 w 856"/>
                  <a:gd name="T15" fmla="*/ 2286 h 2572"/>
                  <a:gd name="T16" fmla="*/ 286 w 856"/>
                  <a:gd name="T17" fmla="*/ 2286 h 2572"/>
                  <a:gd name="T18" fmla="*/ 286 w 856"/>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2572">
                    <a:moveTo>
                      <a:pt x="856" y="2572"/>
                    </a:moveTo>
                    <a:lnTo>
                      <a:pt x="856" y="0"/>
                    </a:lnTo>
                    <a:lnTo>
                      <a:pt x="0" y="0"/>
                    </a:lnTo>
                    <a:lnTo>
                      <a:pt x="0" y="2572"/>
                    </a:lnTo>
                    <a:lnTo>
                      <a:pt x="856" y="2572"/>
                    </a:lnTo>
                    <a:close/>
                    <a:moveTo>
                      <a:pt x="286" y="286"/>
                    </a:moveTo>
                    <a:lnTo>
                      <a:pt x="570" y="286"/>
                    </a:lnTo>
                    <a:lnTo>
                      <a:pt x="570"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sp>
            <p:nvSpPr>
              <p:cNvPr id="65" name="Freeform 121">
                <a:extLst>
                  <a:ext uri="{FF2B5EF4-FFF2-40B4-BE49-F238E27FC236}">
                    <a16:creationId xmlns:a16="http://schemas.microsoft.com/office/drawing/2014/main" id="{7D94B13C-514A-473C-8A9F-72A435E745D6}"/>
                  </a:ext>
                </a:extLst>
              </p:cNvPr>
              <p:cNvSpPr>
                <a:spLocks noEditPoints="1"/>
              </p:cNvSpPr>
              <p:nvPr/>
            </p:nvSpPr>
            <p:spPr bwMode="auto">
              <a:xfrm>
                <a:off x="5561"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200"/>
              </a:p>
            </p:txBody>
          </p:sp>
        </p:grpSp>
        <p:sp>
          <p:nvSpPr>
            <p:cNvPr id="66" name="Freeform 97">
              <a:extLst>
                <a:ext uri="{FF2B5EF4-FFF2-40B4-BE49-F238E27FC236}">
                  <a16:creationId xmlns:a16="http://schemas.microsoft.com/office/drawing/2014/main" id="{5B95AC1D-2A8D-4385-9631-46D288CEF6EF}"/>
                </a:ext>
              </a:extLst>
            </p:cNvPr>
            <p:cNvSpPr>
              <a:spLocks noChangeAspect="1" noEditPoints="1"/>
            </p:cNvSpPr>
            <p:nvPr/>
          </p:nvSpPr>
          <p:spPr bwMode="auto">
            <a:xfrm>
              <a:off x="2493713" y="3066824"/>
              <a:ext cx="366901" cy="369582"/>
            </a:xfrm>
            <a:custGeom>
              <a:avLst/>
              <a:gdLst>
                <a:gd name="T0" fmla="*/ 288 w 576"/>
                <a:gd name="T1" fmla="*/ 498 h 576"/>
                <a:gd name="T2" fmla="*/ 147 w 576"/>
                <a:gd name="T3" fmla="*/ 169 h 576"/>
                <a:gd name="T4" fmla="*/ 208 w 576"/>
                <a:gd name="T5" fmla="*/ 123 h 576"/>
                <a:gd name="T6" fmla="*/ 146 w 576"/>
                <a:gd name="T7" fmla="*/ 170 h 576"/>
                <a:gd name="T8" fmla="*/ 128 w 576"/>
                <a:gd name="T9" fmla="*/ 195 h 576"/>
                <a:gd name="T10" fmla="*/ 171 w 576"/>
                <a:gd name="T11" fmla="*/ 196 h 576"/>
                <a:gd name="T12" fmla="*/ 104 w 576"/>
                <a:gd name="T13" fmla="*/ 275 h 576"/>
                <a:gd name="T14" fmla="*/ 104 w 576"/>
                <a:gd name="T15" fmla="*/ 301 h 576"/>
                <a:gd name="T16" fmla="*/ 158 w 576"/>
                <a:gd name="T17" fmla="*/ 301 h 576"/>
                <a:gd name="T18" fmla="*/ 128 w 576"/>
                <a:gd name="T19" fmla="*/ 380 h 576"/>
                <a:gd name="T20" fmla="*/ 146 w 576"/>
                <a:gd name="T21" fmla="*/ 406 h 576"/>
                <a:gd name="T22" fmla="*/ 208 w 576"/>
                <a:gd name="T23" fmla="*/ 453 h 576"/>
                <a:gd name="T24" fmla="*/ 275 w 576"/>
                <a:gd name="T25" fmla="*/ 471 h 576"/>
                <a:gd name="T26" fmla="*/ 208 w 576"/>
                <a:gd name="T27" fmla="*/ 406 h 576"/>
                <a:gd name="T28" fmla="*/ 275 w 576"/>
                <a:gd name="T29" fmla="*/ 380 h 576"/>
                <a:gd name="T30" fmla="*/ 184 w 576"/>
                <a:gd name="T31" fmla="*/ 301 h 576"/>
                <a:gd name="T32" fmla="*/ 275 w 576"/>
                <a:gd name="T33" fmla="*/ 380 h 576"/>
                <a:gd name="T34" fmla="*/ 184 w 576"/>
                <a:gd name="T35" fmla="*/ 275 h 576"/>
                <a:gd name="T36" fmla="*/ 275 w 576"/>
                <a:gd name="T37" fmla="*/ 195 h 576"/>
                <a:gd name="T38" fmla="*/ 208 w 576"/>
                <a:gd name="T39" fmla="*/ 170 h 576"/>
                <a:gd name="T40" fmla="*/ 275 w 576"/>
                <a:gd name="T41" fmla="*/ 105 h 576"/>
                <a:gd name="T42" fmla="*/ 429 w 576"/>
                <a:gd name="T43" fmla="*/ 169 h 576"/>
                <a:gd name="T44" fmla="*/ 395 w 576"/>
                <a:gd name="T45" fmla="*/ 170 h 576"/>
                <a:gd name="T46" fmla="*/ 369 w 576"/>
                <a:gd name="T47" fmla="*/ 122 h 576"/>
                <a:gd name="T48" fmla="*/ 367 w 576"/>
                <a:gd name="T49" fmla="*/ 169 h 576"/>
                <a:gd name="T50" fmla="*/ 301 w 576"/>
                <a:gd name="T51" fmla="*/ 105 h 576"/>
                <a:gd name="T52" fmla="*/ 378 w 576"/>
                <a:gd name="T53" fmla="*/ 196 h 576"/>
                <a:gd name="T54" fmla="*/ 301 w 576"/>
                <a:gd name="T55" fmla="*/ 275 h 576"/>
                <a:gd name="T56" fmla="*/ 392 w 576"/>
                <a:gd name="T57" fmla="*/ 301 h 576"/>
                <a:gd name="T58" fmla="*/ 378 w 576"/>
                <a:gd name="T59" fmla="*/ 380 h 576"/>
                <a:gd name="T60" fmla="*/ 301 w 576"/>
                <a:gd name="T61" fmla="*/ 471 h 576"/>
                <a:gd name="T62" fmla="*/ 368 w 576"/>
                <a:gd name="T63" fmla="*/ 406 h 576"/>
                <a:gd name="T64" fmla="*/ 429 w 576"/>
                <a:gd name="T65" fmla="*/ 407 h 576"/>
                <a:gd name="T66" fmla="*/ 368 w 576"/>
                <a:gd name="T67" fmla="*/ 453 h 576"/>
                <a:gd name="T68" fmla="*/ 430 w 576"/>
                <a:gd name="T69" fmla="*/ 406 h 576"/>
                <a:gd name="T70" fmla="*/ 448 w 576"/>
                <a:gd name="T71" fmla="*/ 380 h 576"/>
                <a:gd name="T72" fmla="*/ 405 w 576"/>
                <a:gd name="T73" fmla="*/ 380 h 576"/>
                <a:gd name="T74" fmla="*/ 472 w 576"/>
                <a:gd name="T75" fmla="*/ 301 h 576"/>
                <a:gd name="T76" fmla="*/ 472 w 576"/>
                <a:gd name="T77" fmla="*/ 275 h 576"/>
                <a:gd name="T78" fmla="*/ 405 w 576"/>
                <a:gd name="T79" fmla="*/ 196 h 576"/>
                <a:gd name="T80" fmla="*/ 0 w 576"/>
                <a:gd name="T81" fmla="*/ 0 h 576"/>
                <a:gd name="T82" fmla="*/ 576 w 576"/>
                <a:gd name="T83" fmla="*/ 0 h 576"/>
                <a:gd name="T84" fmla="*/ 25 w 576"/>
                <a:gd name="T85" fmla="*/ 551 h 576"/>
                <a:gd name="T86" fmla="*/ 551 w 576"/>
                <a:gd name="T8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6" h="576">
                  <a:moveTo>
                    <a:pt x="288" y="78"/>
                  </a:moveTo>
                  <a:cubicBezTo>
                    <a:pt x="172" y="78"/>
                    <a:pt x="78" y="172"/>
                    <a:pt x="78" y="288"/>
                  </a:cubicBezTo>
                  <a:cubicBezTo>
                    <a:pt x="78" y="404"/>
                    <a:pt x="172" y="498"/>
                    <a:pt x="288" y="498"/>
                  </a:cubicBezTo>
                  <a:cubicBezTo>
                    <a:pt x="404" y="498"/>
                    <a:pt x="498" y="404"/>
                    <a:pt x="498" y="288"/>
                  </a:cubicBezTo>
                  <a:cubicBezTo>
                    <a:pt x="498" y="172"/>
                    <a:pt x="404" y="78"/>
                    <a:pt x="288" y="78"/>
                  </a:cubicBezTo>
                  <a:close/>
                  <a:moveTo>
                    <a:pt x="147" y="169"/>
                  </a:moveTo>
                  <a:cubicBezTo>
                    <a:pt x="163" y="149"/>
                    <a:pt x="184" y="133"/>
                    <a:pt x="207" y="122"/>
                  </a:cubicBezTo>
                  <a:cubicBezTo>
                    <a:pt x="209" y="121"/>
                    <a:pt x="209" y="121"/>
                    <a:pt x="209" y="121"/>
                  </a:cubicBezTo>
                  <a:cubicBezTo>
                    <a:pt x="208" y="123"/>
                    <a:pt x="208" y="123"/>
                    <a:pt x="208" y="123"/>
                  </a:cubicBezTo>
                  <a:cubicBezTo>
                    <a:pt x="197" y="136"/>
                    <a:pt x="188" y="152"/>
                    <a:pt x="181" y="170"/>
                  </a:cubicBezTo>
                  <a:cubicBezTo>
                    <a:pt x="180" y="170"/>
                    <a:pt x="180" y="170"/>
                    <a:pt x="180" y="170"/>
                  </a:cubicBezTo>
                  <a:cubicBezTo>
                    <a:pt x="146" y="170"/>
                    <a:pt x="146" y="170"/>
                    <a:pt x="146" y="170"/>
                  </a:cubicBezTo>
                  <a:lnTo>
                    <a:pt x="147" y="169"/>
                  </a:lnTo>
                  <a:close/>
                  <a:moveTo>
                    <a:pt x="104" y="275"/>
                  </a:moveTo>
                  <a:cubicBezTo>
                    <a:pt x="106" y="246"/>
                    <a:pt x="114" y="220"/>
                    <a:pt x="128" y="195"/>
                  </a:cubicBezTo>
                  <a:cubicBezTo>
                    <a:pt x="128" y="195"/>
                    <a:pt x="128" y="195"/>
                    <a:pt x="128" y="195"/>
                  </a:cubicBezTo>
                  <a:cubicBezTo>
                    <a:pt x="171" y="195"/>
                    <a:pt x="171" y="195"/>
                    <a:pt x="171" y="195"/>
                  </a:cubicBezTo>
                  <a:cubicBezTo>
                    <a:pt x="171" y="196"/>
                    <a:pt x="171" y="196"/>
                    <a:pt x="171" y="196"/>
                  </a:cubicBezTo>
                  <a:cubicBezTo>
                    <a:pt x="164" y="221"/>
                    <a:pt x="159" y="247"/>
                    <a:pt x="158" y="275"/>
                  </a:cubicBezTo>
                  <a:cubicBezTo>
                    <a:pt x="158" y="275"/>
                    <a:pt x="158" y="275"/>
                    <a:pt x="158" y="275"/>
                  </a:cubicBezTo>
                  <a:cubicBezTo>
                    <a:pt x="104" y="275"/>
                    <a:pt x="104" y="275"/>
                    <a:pt x="104" y="275"/>
                  </a:cubicBezTo>
                  <a:close/>
                  <a:moveTo>
                    <a:pt x="128" y="380"/>
                  </a:moveTo>
                  <a:cubicBezTo>
                    <a:pt x="128" y="380"/>
                    <a:pt x="128" y="380"/>
                    <a:pt x="128" y="380"/>
                  </a:cubicBezTo>
                  <a:cubicBezTo>
                    <a:pt x="114" y="356"/>
                    <a:pt x="106" y="329"/>
                    <a:pt x="104" y="301"/>
                  </a:cubicBezTo>
                  <a:cubicBezTo>
                    <a:pt x="104" y="301"/>
                    <a:pt x="104" y="301"/>
                    <a:pt x="104" y="301"/>
                  </a:cubicBezTo>
                  <a:cubicBezTo>
                    <a:pt x="158" y="301"/>
                    <a:pt x="158" y="301"/>
                    <a:pt x="158" y="301"/>
                  </a:cubicBezTo>
                  <a:cubicBezTo>
                    <a:pt x="158" y="301"/>
                    <a:pt x="158" y="301"/>
                    <a:pt x="158" y="301"/>
                  </a:cubicBezTo>
                  <a:cubicBezTo>
                    <a:pt x="159" y="329"/>
                    <a:pt x="164" y="355"/>
                    <a:pt x="171" y="380"/>
                  </a:cubicBezTo>
                  <a:cubicBezTo>
                    <a:pt x="171" y="380"/>
                    <a:pt x="171" y="380"/>
                    <a:pt x="171" y="380"/>
                  </a:cubicBezTo>
                  <a:lnTo>
                    <a:pt x="128" y="380"/>
                  </a:lnTo>
                  <a:close/>
                  <a:moveTo>
                    <a:pt x="207" y="454"/>
                  </a:moveTo>
                  <a:cubicBezTo>
                    <a:pt x="184" y="442"/>
                    <a:pt x="163" y="426"/>
                    <a:pt x="147" y="407"/>
                  </a:cubicBezTo>
                  <a:cubicBezTo>
                    <a:pt x="146" y="406"/>
                    <a:pt x="146" y="406"/>
                    <a:pt x="146" y="406"/>
                  </a:cubicBezTo>
                  <a:cubicBezTo>
                    <a:pt x="180" y="406"/>
                    <a:pt x="180" y="406"/>
                    <a:pt x="180" y="406"/>
                  </a:cubicBezTo>
                  <a:cubicBezTo>
                    <a:pt x="181" y="406"/>
                    <a:pt x="181" y="406"/>
                    <a:pt x="181" y="406"/>
                  </a:cubicBezTo>
                  <a:cubicBezTo>
                    <a:pt x="188" y="424"/>
                    <a:pt x="197" y="439"/>
                    <a:pt x="208" y="453"/>
                  </a:cubicBezTo>
                  <a:cubicBezTo>
                    <a:pt x="209" y="455"/>
                    <a:pt x="209" y="455"/>
                    <a:pt x="209" y="455"/>
                  </a:cubicBezTo>
                  <a:lnTo>
                    <a:pt x="207" y="454"/>
                  </a:lnTo>
                  <a:close/>
                  <a:moveTo>
                    <a:pt x="275" y="471"/>
                  </a:moveTo>
                  <a:cubicBezTo>
                    <a:pt x="275" y="471"/>
                    <a:pt x="275" y="471"/>
                    <a:pt x="275" y="471"/>
                  </a:cubicBezTo>
                  <a:cubicBezTo>
                    <a:pt x="249" y="465"/>
                    <a:pt x="226" y="442"/>
                    <a:pt x="209" y="407"/>
                  </a:cubicBezTo>
                  <a:cubicBezTo>
                    <a:pt x="208" y="406"/>
                    <a:pt x="208" y="406"/>
                    <a:pt x="208" y="406"/>
                  </a:cubicBezTo>
                  <a:cubicBezTo>
                    <a:pt x="275" y="406"/>
                    <a:pt x="275" y="406"/>
                    <a:pt x="275" y="406"/>
                  </a:cubicBezTo>
                  <a:lnTo>
                    <a:pt x="275" y="471"/>
                  </a:lnTo>
                  <a:close/>
                  <a:moveTo>
                    <a:pt x="275" y="380"/>
                  </a:moveTo>
                  <a:cubicBezTo>
                    <a:pt x="198" y="380"/>
                    <a:pt x="198" y="380"/>
                    <a:pt x="198" y="380"/>
                  </a:cubicBezTo>
                  <a:cubicBezTo>
                    <a:pt x="198" y="380"/>
                    <a:pt x="198" y="380"/>
                    <a:pt x="198" y="380"/>
                  </a:cubicBezTo>
                  <a:cubicBezTo>
                    <a:pt x="190" y="356"/>
                    <a:pt x="185" y="329"/>
                    <a:pt x="184" y="301"/>
                  </a:cubicBezTo>
                  <a:cubicBezTo>
                    <a:pt x="184" y="301"/>
                    <a:pt x="184" y="301"/>
                    <a:pt x="184" y="301"/>
                  </a:cubicBezTo>
                  <a:cubicBezTo>
                    <a:pt x="275" y="301"/>
                    <a:pt x="275" y="301"/>
                    <a:pt x="275" y="301"/>
                  </a:cubicBezTo>
                  <a:lnTo>
                    <a:pt x="275" y="380"/>
                  </a:lnTo>
                  <a:close/>
                  <a:moveTo>
                    <a:pt x="275" y="275"/>
                  </a:moveTo>
                  <a:cubicBezTo>
                    <a:pt x="184" y="275"/>
                    <a:pt x="184" y="275"/>
                    <a:pt x="184" y="275"/>
                  </a:cubicBezTo>
                  <a:cubicBezTo>
                    <a:pt x="184" y="275"/>
                    <a:pt x="184" y="275"/>
                    <a:pt x="184" y="275"/>
                  </a:cubicBezTo>
                  <a:cubicBezTo>
                    <a:pt x="185" y="247"/>
                    <a:pt x="190" y="220"/>
                    <a:pt x="198" y="196"/>
                  </a:cubicBezTo>
                  <a:cubicBezTo>
                    <a:pt x="198" y="195"/>
                    <a:pt x="198" y="195"/>
                    <a:pt x="198" y="195"/>
                  </a:cubicBezTo>
                  <a:cubicBezTo>
                    <a:pt x="275" y="195"/>
                    <a:pt x="275" y="195"/>
                    <a:pt x="275" y="195"/>
                  </a:cubicBezTo>
                  <a:lnTo>
                    <a:pt x="275" y="275"/>
                  </a:lnTo>
                  <a:close/>
                  <a:moveTo>
                    <a:pt x="275" y="170"/>
                  </a:moveTo>
                  <a:cubicBezTo>
                    <a:pt x="208" y="170"/>
                    <a:pt x="208" y="170"/>
                    <a:pt x="208" y="170"/>
                  </a:cubicBezTo>
                  <a:cubicBezTo>
                    <a:pt x="209" y="169"/>
                    <a:pt x="209" y="169"/>
                    <a:pt x="209" y="169"/>
                  </a:cubicBezTo>
                  <a:cubicBezTo>
                    <a:pt x="226" y="134"/>
                    <a:pt x="249" y="111"/>
                    <a:pt x="275" y="105"/>
                  </a:cubicBezTo>
                  <a:cubicBezTo>
                    <a:pt x="275" y="105"/>
                    <a:pt x="275" y="105"/>
                    <a:pt x="275" y="105"/>
                  </a:cubicBezTo>
                  <a:lnTo>
                    <a:pt x="275" y="170"/>
                  </a:lnTo>
                  <a:close/>
                  <a:moveTo>
                    <a:pt x="369" y="122"/>
                  </a:moveTo>
                  <a:cubicBezTo>
                    <a:pt x="392" y="133"/>
                    <a:pt x="413" y="149"/>
                    <a:pt x="429" y="169"/>
                  </a:cubicBezTo>
                  <a:cubicBezTo>
                    <a:pt x="430" y="170"/>
                    <a:pt x="430" y="170"/>
                    <a:pt x="430" y="170"/>
                  </a:cubicBezTo>
                  <a:cubicBezTo>
                    <a:pt x="396" y="170"/>
                    <a:pt x="396" y="170"/>
                    <a:pt x="396" y="170"/>
                  </a:cubicBezTo>
                  <a:cubicBezTo>
                    <a:pt x="395" y="170"/>
                    <a:pt x="395" y="170"/>
                    <a:pt x="395" y="170"/>
                  </a:cubicBezTo>
                  <a:cubicBezTo>
                    <a:pt x="388" y="152"/>
                    <a:pt x="379" y="136"/>
                    <a:pt x="368" y="123"/>
                  </a:cubicBezTo>
                  <a:cubicBezTo>
                    <a:pt x="367" y="121"/>
                    <a:pt x="367" y="121"/>
                    <a:pt x="367" y="121"/>
                  </a:cubicBezTo>
                  <a:lnTo>
                    <a:pt x="369" y="122"/>
                  </a:lnTo>
                  <a:close/>
                  <a:moveTo>
                    <a:pt x="301" y="105"/>
                  </a:moveTo>
                  <a:cubicBezTo>
                    <a:pt x="301" y="105"/>
                    <a:pt x="301" y="105"/>
                    <a:pt x="301" y="105"/>
                  </a:cubicBezTo>
                  <a:cubicBezTo>
                    <a:pt x="327" y="111"/>
                    <a:pt x="350" y="134"/>
                    <a:pt x="367" y="169"/>
                  </a:cubicBezTo>
                  <a:cubicBezTo>
                    <a:pt x="368" y="170"/>
                    <a:pt x="368" y="170"/>
                    <a:pt x="368" y="170"/>
                  </a:cubicBezTo>
                  <a:cubicBezTo>
                    <a:pt x="301" y="170"/>
                    <a:pt x="301" y="170"/>
                    <a:pt x="301" y="170"/>
                  </a:cubicBezTo>
                  <a:lnTo>
                    <a:pt x="301" y="105"/>
                  </a:lnTo>
                  <a:close/>
                  <a:moveTo>
                    <a:pt x="301" y="195"/>
                  </a:moveTo>
                  <a:cubicBezTo>
                    <a:pt x="378" y="195"/>
                    <a:pt x="378" y="195"/>
                    <a:pt x="378" y="195"/>
                  </a:cubicBezTo>
                  <a:cubicBezTo>
                    <a:pt x="378" y="196"/>
                    <a:pt x="378" y="196"/>
                    <a:pt x="378" y="196"/>
                  </a:cubicBezTo>
                  <a:cubicBezTo>
                    <a:pt x="386" y="220"/>
                    <a:pt x="391" y="247"/>
                    <a:pt x="392" y="275"/>
                  </a:cubicBezTo>
                  <a:cubicBezTo>
                    <a:pt x="392" y="275"/>
                    <a:pt x="392" y="275"/>
                    <a:pt x="392" y="275"/>
                  </a:cubicBezTo>
                  <a:cubicBezTo>
                    <a:pt x="301" y="275"/>
                    <a:pt x="301" y="275"/>
                    <a:pt x="301" y="275"/>
                  </a:cubicBezTo>
                  <a:lnTo>
                    <a:pt x="301" y="195"/>
                  </a:lnTo>
                  <a:close/>
                  <a:moveTo>
                    <a:pt x="301" y="301"/>
                  </a:moveTo>
                  <a:cubicBezTo>
                    <a:pt x="392" y="301"/>
                    <a:pt x="392" y="301"/>
                    <a:pt x="392" y="301"/>
                  </a:cubicBezTo>
                  <a:cubicBezTo>
                    <a:pt x="392" y="301"/>
                    <a:pt x="392" y="301"/>
                    <a:pt x="392" y="301"/>
                  </a:cubicBezTo>
                  <a:cubicBezTo>
                    <a:pt x="391" y="329"/>
                    <a:pt x="386" y="355"/>
                    <a:pt x="378" y="380"/>
                  </a:cubicBezTo>
                  <a:cubicBezTo>
                    <a:pt x="378" y="380"/>
                    <a:pt x="378" y="380"/>
                    <a:pt x="378" y="380"/>
                  </a:cubicBezTo>
                  <a:cubicBezTo>
                    <a:pt x="301" y="380"/>
                    <a:pt x="301" y="380"/>
                    <a:pt x="301" y="380"/>
                  </a:cubicBezTo>
                  <a:lnTo>
                    <a:pt x="301" y="301"/>
                  </a:lnTo>
                  <a:close/>
                  <a:moveTo>
                    <a:pt x="301" y="471"/>
                  </a:moveTo>
                  <a:cubicBezTo>
                    <a:pt x="301" y="471"/>
                    <a:pt x="301" y="471"/>
                    <a:pt x="301" y="471"/>
                  </a:cubicBezTo>
                  <a:cubicBezTo>
                    <a:pt x="301" y="406"/>
                    <a:pt x="301" y="406"/>
                    <a:pt x="301" y="406"/>
                  </a:cubicBezTo>
                  <a:cubicBezTo>
                    <a:pt x="368" y="406"/>
                    <a:pt x="368" y="406"/>
                    <a:pt x="368" y="406"/>
                  </a:cubicBezTo>
                  <a:cubicBezTo>
                    <a:pt x="367" y="407"/>
                    <a:pt x="367" y="407"/>
                    <a:pt x="367" y="407"/>
                  </a:cubicBezTo>
                  <a:cubicBezTo>
                    <a:pt x="350" y="442"/>
                    <a:pt x="327" y="465"/>
                    <a:pt x="301" y="471"/>
                  </a:cubicBezTo>
                  <a:close/>
                  <a:moveTo>
                    <a:pt x="429" y="407"/>
                  </a:moveTo>
                  <a:cubicBezTo>
                    <a:pt x="413" y="426"/>
                    <a:pt x="392" y="442"/>
                    <a:pt x="369" y="454"/>
                  </a:cubicBezTo>
                  <a:cubicBezTo>
                    <a:pt x="367" y="455"/>
                    <a:pt x="367" y="455"/>
                    <a:pt x="367" y="455"/>
                  </a:cubicBezTo>
                  <a:cubicBezTo>
                    <a:pt x="368" y="453"/>
                    <a:pt x="368" y="453"/>
                    <a:pt x="368" y="453"/>
                  </a:cubicBezTo>
                  <a:cubicBezTo>
                    <a:pt x="379" y="439"/>
                    <a:pt x="388" y="424"/>
                    <a:pt x="395" y="406"/>
                  </a:cubicBezTo>
                  <a:cubicBezTo>
                    <a:pt x="396" y="406"/>
                    <a:pt x="396" y="406"/>
                    <a:pt x="396" y="406"/>
                  </a:cubicBezTo>
                  <a:cubicBezTo>
                    <a:pt x="430" y="406"/>
                    <a:pt x="430" y="406"/>
                    <a:pt x="430" y="406"/>
                  </a:cubicBezTo>
                  <a:lnTo>
                    <a:pt x="429" y="407"/>
                  </a:lnTo>
                  <a:close/>
                  <a:moveTo>
                    <a:pt x="472" y="301"/>
                  </a:moveTo>
                  <a:cubicBezTo>
                    <a:pt x="470" y="329"/>
                    <a:pt x="462" y="356"/>
                    <a:pt x="448" y="380"/>
                  </a:cubicBezTo>
                  <a:cubicBezTo>
                    <a:pt x="448" y="380"/>
                    <a:pt x="448" y="380"/>
                    <a:pt x="448" y="380"/>
                  </a:cubicBezTo>
                  <a:cubicBezTo>
                    <a:pt x="405" y="380"/>
                    <a:pt x="405" y="380"/>
                    <a:pt x="405" y="380"/>
                  </a:cubicBezTo>
                  <a:cubicBezTo>
                    <a:pt x="405" y="380"/>
                    <a:pt x="405" y="380"/>
                    <a:pt x="405" y="380"/>
                  </a:cubicBezTo>
                  <a:cubicBezTo>
                    <a:pt x="412" y="355"/>
                    <a:pt x="417" y="329"/>
                    <a:pt x="418" y="301"/>
                  </a:cubicBezTo>
                  <a:cubicBezTo>
                    <a:pt x="418" y="301"/>
                    <a:pt x="418" y="301"/>
                    <a:pt x="418" y="301"/>
                  </a:cubicBezTo>
                  <a:cubicBezTo>
                    <a:pt x="472" y="301"/>
                    <a:pt x="472" y="301"/>
                    <a:pt x="472" y="301"/>
                  </a:cubicBezTo>
                  <a:close/>
                  <a:moveTo>
                    <a:pt x="448" y="195"/>
                  </a:moveTo>
                  <a:cubicBezTo>
                    <a:pt x="462" y="220"/>
                    <a:pt x="470" y="246"/>
                    <a:pt x="472" y="275"/>
                  </a:cubicBezTo>
                  <a:cubicBezTo>
                    <a:pt x="472" y="275"/>
                    <a:pt x="472" y="275"/>
                    <a:pt x="472" y="275"/>
                  </a:cubicBezTo>
                  <a:cubicBezTo>
                    <a:pt x="418" y="275"/>
                    <a:pt x="418" y="275"/>
                    <a:pt x="418" y="275"/>
                  </a:cubicBezTo>
                  <a:cubicBezTo>
                    <a:pt x="418" y="275"/>
                    <a:pt x="418" y="275"/>
                    <a:pt x="418" y="275"/>
                  </a:cubicBezTo>
                  <a:cubicBezTo>
                    <a:pt x="417" y="247"/>
                    <a:pt x="412" y="221"/>
                    <a:pt x="405" y="196"/>
                  </a:cubicBezTo>
                  <a:cubicBezTo>
                    <a:pt x="405" y="195"/>
                    <a:pt x="405" y="195"/>
                    <a:pt x="405" y="195"/>
                  </a:cubicBezTo>
                  <a:cubicBezTo>
                    <a:pt x="448" y="195"/>
                    <a:pt x="448" y="195"/>
                    <a:pt x="448" y="195"/>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path>
              </a:pathLst>
            </a:custGeom>
            <a:grp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67" name="Freeform 13">
              <a:extLst>
                <a:ext uri="{FF2B5EF4-FFF2-40B4-BE49-F238E27FC236}">
                  <a16:creationId xmlns:a16="http://schemas.microsoft.com/office/drawing/2014/main" id="{B57BAF15-8A0C-456B-A347-5930226C997E}"/>
                </a:ext>
              </a:extLst>
            </p:cNvPr>
            <p:cNvSpPr>
              <a:spLocks noChangeAspect="1" noEditPoints="1"/>
            </p:cNvSpPr>
            <p:nvPr/>
          </p:nvSpPr>
          <p:spPr bwMode="auto">
            <a:xfrm>
              <a:off x="2485161" y="3528620"/>
              <a:ext cx="366901" cy="368535"/>
            </a:xfrm>
            <a:custGeom>
              <a:avLst/>
              <a:gdLst>
                <a:gd name="T0" fmla="*/ 0 w 576"/>
                <a:gd name="T1" fmla="*/ 576 h 576"/>
                <a:gd name="T2" fmla="*/ 576 w 576"/>
                <a:gd name="T3" fmla="*/ 0 h 576"/>
                <a:gd name="T4" fmla="*/ 460 w 576"/>
                <a:gd name="T5" fmla="*/ 398 h 576"/>
                <a:gd name="T6" fmla="*/ 498 w 576"/>
                <a:gd name="T7" fmla="*/ 247 h 576"/>
                <a:gd name="T8" fmla="*/ 378 w 576"/>
                <a:gd name="T9" fmla="*/ 195 h 576"/>
                <a:gd name="T10" fmla="*/ 338 w 576"/>
                <a:gd name="T11" fmla="*/ 213 h 576"/>
                <a:gd name="T12" fmla="*/ 357 w 576"/>
                <a:gd name="T13" fmla="*/ 228 h 576"/>
                <a:gd name="T14" fmla="*/ 446 w 576"/>
                <a:gd name="T15" fmla="*/ 219 h 576"/>
                <a:gd name="T16" fmla="*/ 474 w 576"/>
                <a:gd name="T17" fmla="*/ 375 h 576"/>
                <a:gd name="T18" fmla="*/ 436 w 576"/>
                <a:gd name="T19" fmla="*/ 552 h 576"/>
                <a:gd name="T20" fmla="*/ 387 w 576"/>
                <a:gd name="T21" fmla="*/ 375 h 576"/>
                <a:gd name="T22" fmla="*/ 265 w 576"/>
                <a:gd name="T23" fmla="*/ 342 h 576"/>
                <a:gd name="T24" fmla="*/ 187 w 576"/>
                <a:gd name="T25" fmla="*/ 387 h 576"/>
                <a:gd name="T26" fmla="*/ 265 w 576"/>
                <a:gd name="T27" fmla="*/ 431 h 576"/>
                <a:gd name="T28" fmla="*/ 363 w 576"/>
                <a:gd name="T29" fmla="*/ 398 h 576"/>
                <a:gd name="T30" fmla="*/ 212 w 576"/>
                <a:gd name="T31" fmla="*/ 552 h 576"/>
                <a:gd name="T32" fmla="*/ 188 w 576"/>
                <a:gd name="T33" fmla="*/ 416 h 576"/>
                <a:gd name="T34" fmla="*/ 139 w 576"/>
                <a:gd name="T35" fmla="*/ 552 h 576"/>
                <a:gd name="T36" fmla="*/ 101 w 576"/>
                <a:gd name="T37" fmla="*/ 375 h 576"/>
                <a:gd name="T38" fmla="*/ 130 w 576"/>
                <a:gd name="T39" fmla="*/ 219 h 576"/>
                <a:gd name="T40" fmla="*/ 226 w 576"/>
                <a:gd name="T41" fmla="*/ 247 h 576"/>
                <a:gd name="T42" fmla="*/ 343 w 576"/>
                <a:gd name="T43" fmla="*/ 297 h 576"/>
                <a:gd name="T44" fmla="*/ 327 w 576"/>
                <a:gd name="T45" fmla="*/ 347 h 576"/>
                <a:gd name="T46" fmla="*/ 327 w 576"/>
                <a:gd name="T47" fmla="*/ 224 h 576"/>
                <a:gd name="T48" fmla="*/ 343 w 576"/>
                <a:gd name="T49" fmla="*/ 274 h 576"/>
                <a:gd name="T50" fmla="*/ 250 w 576"/>
                <a:gd name="T51" fmla="*/ 247 h 576"/>
                <a:gd name="T52" fmla="*/ 130 w 576"/>
                <a:gd name="T53" fmla="*/ 195 h 576"/>
                <a:gd name="T54" fmla="*/ 77 w 576"/>
                <a:gd name="T55" fmla="*/ 398 h 576"/>
                <a:gd name="T56" fmla="*/ 116 w 576"/>
                <a:gd name="T57" fmla="*/ 552 h 576"/>
                <a:gd name="T58" fmla="*/ 23 w 576"/>
                <a:gd name="T59" fmla="*/ 24 h 576"/>
                <a:gd name="T60" fmla="*/ 552 w 576"/>
                <a:gd name="T61" fmla="*/ 552 h 576"/>
                <a:gd name="T62" fmla="*/ 460 w 576"/>
                <a:gd name="T63" fmla="*/ 398 h 576"/>
                <a:gd name="T64" fmla="*/ 116 w 576"/>
                <a:gd name="T65" fmla="*/ 125 h 576"/>
                <a:gd name="T66" fmla="*/ 212 w 576"/>
                <a:gd name="T67" fmla="*/ 125 h 576"/>
                <a:gd name="T68" fmla="*/ 164 w 576"/>
                <a:gd name="T69" fmla="*/ 149 h 576"/>
                <a:gd name="T70" fmla="*/ 164 w 576"/>
                <a:gd name="T71" fmla="*/ 99 h 576"/>
                <a:gd name="T72" fmla="*/ 164 w 576"/>
                <a:gd name="T73" fmla="*/ 149 h 576"/>
                <a:gd name="T74" fmla="*/ 364 w 576"/>
                <a:gd name="T75" fmla="*/ 125 h 576"/>
                <a:gd name="T76" fmla="*/ 460 w 576"/>
                <a:gd name="T77" fmla="*/ 125 h 576"/>
                <a:gd name="T78" fmla="*/ 436 w 576"/>
                <a:gd name="T79" fmla="*/ 125 h 576"/>
                <a:gd name="T80" fmla="*/ 388 w 576"/>
                <a:gd name="T81" fmla="*/ 125 h 576"/>
                <a:gd name="T82" fmla="*/ 436 w 576"/>
                <a:gd name="T83" fmla="*/ 12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60" y="398"/>
                  </a:moveTo>
                  <a:cubicBezTo>
                    <a:pt x="498" y="398"/>
                    <a:pt x="498" y="398"/>
                    <a:pt x="498" y="398"/>
                  </a:cubicBezTo>
                  <a:cubicBezTo>
                    <a:pt x="498" y="247"/>
                    <a:pt x="498" y="247"/>
                    <a:pt x="498" y="247"/>
                  </a:cubicBezTo>
                  <a:cubicBezTo>
                    <a:pt x="498" y="218"/>
                    <a:pt x="474" y="195"/>
                    <a:pt x="446" y="195"/>
                  </a:cubicBezTo>
                  <a:cubicBezTo>
                    <a:pt x="378" y="195"/>
                    <a:pt x="378" y="195"/>
                    <a:pt x="378" y="195"/>
                  </a:cubicBezTo>
                  <a:cubicBezTo>
                    <a:pt x="362" y="195"/>
                    <a:pt x="349" y="201"/>
                    <a:pt x="339" y="212"/>
                  </a:cubicBezTo>
                  <a:cubicBezTo>
                    <a:pt x="338" y="213"/>
                    <a:pt x="338" y="213"/>
                    <a:pt x="338" y="213"/>
                  </a:cubicBezTo>
                  <a:cubicBezTo>
                    <a:pt x="356" y="229"/>
                    <a:pt x="356" y="229"/>
                    <a:pt x="356" y="229"/>
                  </a:cubicBezTo>
                  <a:cubicBezTo>
                    <a:pt x="357" y="228"/>
                    <a:pt x="357" y="228"/>
                    <a:pt x="357" y="228"/>
                  </a:cubicBezTo>
                  <a:cubicBezTo>
                    <a:pt x="362" y="222"/>
                    <a:pt x="369" y="219"/>
                    <a:pt x="378" y="219"/>
                  </a:cubicBezTo>
                  <a:cubicBezTo>
                    <a:pt x="446" y="219"/>
                    <a:pt x="446" y="219"/>
                    <a:pt x="446" y="219"/>
                  </a:cubicBezTo>
                  <a:cubicBezTo>
                    <a:pt x="461" y="219"/>
                    <a:pt x="474" y="231"/>
                    <a:pt x="474" y="247"/>
                  </a:cubicBezTo>
                  <a:cubicBezTo>
                    <a:pt x="474" y="375"/>
                    <a:pt x="474" y="375"/>
                    <a:pt x="474" y="375"/>
                  </a:cubicBezTo>
                  <a:cubicBezTo>
                    <a:pt x="436" y="375"/>
                    <a:pt x="436" y="375"/>
                    <a:pt x="436" y="375"/>
                  </a:cubicBezTo>
                  <a:cubicBezTo>
                    <a:pt x="436" y="552"/>
                    <a:pt x="436" y="552"/>
                    <a:pt x="436" y="552"/>
                  </a:cubicBezTo>
                  <a:cubicBezTo>
                    <a:pt x="387" y="552"/>
                    <a:pt x="387" y="552"/>
                    <a:pt x="387" y="552"/>
                  </a:cubicBezTo>
                  <a:cubicBezTo>
                    <a:pt x="387" y="375"/>
                    <a:pt x="387" y="375"/>
                    <a:pt x="387" y="375"/>
                  </a:cubicBezTo>
                  <a:cubicBezTo>
                    <a:pt x="233" y="375"/>
                    <a:pt x="233" y="375"/>
                    <a:pt x="233" y="375"/>
                  </a:cubicBezTo>
                  <a:cubicBezTo>
                    <a:pt x="265" y="342"/>
                    <a:pt x="265" y="342"/>
                    <a:pt x="265" y="342"/>
                  </a:cubicBezTo>
                  <a:cubicBezTo>
                    <a:pt x="248" y="325"/>
                    <a:pt x="248" y="325"/>
                    <a:pt x="248" y="325"/>
                  </a:cubicBezTo>
                  <a:cubicBezTo>
                    <a:pt x="187" y="387"/>
                    <a:pt x="187" y="387"/>
                    <a:pt x="187" y="387"/>
                  </a:cubicBezTo>
                  <a:cubicBezTo>
                    <a:pt x="248" y="448"/>
                    <a:pt x="248" y="448"/>
                    <a:pt x="248" y="448"/>
                  </a:cubicBezTo>
                  <a:cubicBezTo>
                    <a:pt x="265" y="431"/>
                    <a:pt x="265" y="431"/>
                    <a:pt x="265" y="431"/>
                  </a:cubicBezTo>
                  <a:cubicBezTo>
                    <a:pt x="233" y="398"/>
                    <a:pt x="233" y="398"/>
                    <a:pt x="233" y="398"/>
                  </a:cubicBezTo>
                  <a:cubicBezTo>
                    <a:pt x="363" y="398"/>
                    <a:pt x="363" y="398"/>
                    <a:pt x="363" y="398"/>
                  </a:cubicBezTo>
                  <a:cubicBezTo>
                    <a:pt x="363" y="552"/>
                    <a:pt x="363" y="552"/>
                    <a:pt x="363" y="552"/>
                  </a:cubicBezTo>
                  <a:cubicBezTo>
                    <a:pt x="212" y="552"/>
                    <a:pt x="212" y="552"/>
                    <a:pt x="212" y="552"/>
                  </a:cubicBezTo>
                  <a:cubicBezTo>
                    <a:pt x="212" y="440"/>
                    <a:pt x="212" y="440"/>
                    <a:pt x="212" y="440"/>
                  </a:cubicBezTo>
                  <a:cubicBezTo>
                    <a:pt x="188" y="416"/>
                    <a:pt x="188" y="416"/>
                    <a:pt x="188" y="416"/>
                  </a:cubicBezTo>
                  <a:cubicBezTo>
                    <a:pt x="188" y="552"/>
                    <a:pt x="188" y="552"/>
                    <a:pt x="188" y="552"/>
                  </a:cubicBezTo>
                  <a:cubicBezTo>
                    <a:pt x="139" y="552"/>
                    <a:pt x="139" y="552"/>
                    <a:pt x="139" y="552"/>
                  </a:cubicBezTo>
                  <a:cubicBezTo>
                    <a:pt x="139" y="375"/>
                    <a:pt x="139" y="375"/>
                    <a:pt x="139" y="375"/>
                  </a:cubicBezTo>
                  <a:cubicBezTo>
                    <a:pt x="101" y="375"/>
                    <a:pt x="101" y="375"/>
                    <a:pt x="101" y="375"/>
                  </a:cubicBezTo>
                  <a:cubicBezTo>
                    <a:pt x="101" y="247"/>
                    <a:pt x="101" y="247"/>
                    <a:pt x="101" y="247"/>
                  </a:cubicBezTo>
                  <a:cubicBezTo>
                    <a:pt x="101" y="231"/>
                    <a:pt x="114" y="219"/>
                    <a:pt x="130" y="219"/>
                  </a:cubicBezTo>
                  <a:cubicBezTo>
                    <a:pt x="198" y="219"/>
                    <a:pt x="198" y="219"/>
                    <a:pt x="198" y="219"/>
                  </a:cubicBezTo>
                  <a:cubicBezTo>
                    <a:pt x="214" y="219"/>
                    <a:pt x="226" y="231"/>
                    <a:pt x="226" y="247"/>
                  </a:cubicBezTo>
                  <a:cubicBezTo>
                    <a:pt x="226" y="297"/>
                    <a:pt x="226" y="297"/>
                    <a:pt x="226" y="297"/>
                  </a:cubicBezTo>
                  <a:cubicBezTo>
                    <a:pt x="343" y="297"/>
                    <a:pt x="343" y="297"/>
                    <a:pt x="343" y="297"/>
                  </a:cubicBezTo>
                  <a:cubicBezTo>
                    <a:pt x="310" y="330"/>
                    <a:pt x="310" y="330"/>
                    <a:pt x="310" y="330"/>
                  </a:cubicBezTo>
                  <a:cubicBezTo>
                    <a:pt x="327" y="347"/>
                    <a:pt x="327" y="347"/>
                    <a:pt x="327" y="347"/>
                  </a:cubicBezTo>
                  <a:cubicBezTo>
                    <a:pt x="388" y="286"/>
                    <a:pt x="388" y="286"/>
                    <a:pt x="388" y="286"/>
                  </a:cubicBezTo>
                  <a:cubicBezTo>
                    <a:pt x="327" y="224"/>
                    <a:pt x="327" y="224"/>
                    <a:pt x="327" y="224"/>
                  </a:cubicBezTo>
                  <a:cubicBezTo>
                    <a:pt x="310" y="241"/>
                    <a:pt x="310" y="241"/>
                    <a:pt x="310" y="241"/>
                  </a:cubicBezTo>
                  <a:cubicBezTo>
                    <a:pt x="343" y="274"/>
                    <a:pt x="343" y="274"/>
                    <a:pt x="343" y="274"/>
                  </a:cubicBezTo>
                  <a:cubicBezTo>
                    <a:pt x="250" y="274"/>
                    <a:pt x="250" y="274"/>
                    <a:pt x="250" y="274"/>
                  </a:cubicBezTo>
                  <a:cubicBezTo>
                    <a:pt x="250" y="247"/>
                    <a:pt x="250" y="247"/>
                    <a:pt x="250" y="247"/>
                  </a:cubicBezTo>
                  <a:cubicBezTo>
                    <a:pt x="250" y="218"/>
                    <a:pt x="227" y="195"/>
                    <a:pt x="198" y="195"/>
                  </a:cubicBezTo>
                  <a:cubicBezTo>
                    <a:pt x="130" y="195"/>
                    <a:pt x="130" y="195"/>
                    <a:pt x="130" y="195"/>
                  </a:cubicBezTo>
                  <a:cubicBezTo>
                    <a:pt x="101" y="195"/>
                    <a:pt x="77" y="218"/>
                    <a:pt x="77" y="247"/>
                  </a:cubicBezTo>
                  <a:cubicBezTo>
                    <a:pt x="77" y="398"/>
                    <a:pt x="77" y="398"/>
                    <a:pt x="77" y="398"/>
                  </a:cubicBezTo>
                  <a:cubicBezTo>
                    <a:pt x="116" y="398"/>
                    <a:pt x="116" y="398"/>
                    <a:pt x="116" y="398"/>
                  </a:cubicBezTo>
                  <a:cubicBezTo>
                    <a:pt x="116" y="552"/>
                    <a:pt x="116" y="552"/>
                    <a:pt x="116" y="552"/>
                  </a:cubicBezTo>
                  <a:cubicBezTo>
                    <a:pt x="23" y="552"/>
                    <a:pt x="23" y="552"/>
                    <a:pt x="23" y="552"/>
                  </a:cubicBezTo>
                  <a:cubicBezTo>
                    <a:pt x="23" y="24"/>
                    <a:pt x="23" y="24"/>
                    <a:pt x="23" y="24"/>
                  </a:cubicBezTo>
                  <a:cubicBezTo>
                    <a:pt x="552" y="24"/>
                    <a:pt x="552" y="24"/>
                    <a:pt x="552" y="24"/>
                  </a:cubicBezTo>
                  <a:cubicBezTo>
                    <a:pt x="552" y="552"/>
                    <a:pt x="552" y="552"/>
                    <a:pt x="552" y="552"/>
                  </a:cubicBezTo>
                  <a:cubicBezTo>
                    <a:pt x="460" y="552"/>
                    <a:pt x="460" y="552"/>
                    <a:pt x="460" y="552"/>
                  </a:cubicBezTo>
                  <a:lnTo>
                    <a:pt x="460" y="398"/>
                  </a:lnTo>
                  <a:close/>
                  <a:moveTo>
                    <a:pt x="164" y="75"/>
                  </a:moveTo>
                  <a:cubicBezTo>
                    <a:pt x="137" y="75"/>
                    <a:pt x="116" y="97"/>
                    <a:pt x="116" y="125"/>
                  </a:cubicBezTo>
                  <a:cubicBezTo>
                    <a:pt x="116" y="151"/>
                    <a:pt x="137" y="173"/>
                    <a:pt x="164" y="173"/>
                  </a:cubicBezTo>
                  <a:cubicBezTo>
                    <a:pt x="190" y="173"/>
                    <a:pt x="212" y="151"/>
                    <a:pt x="212" y="125"/>
                  </a:cubicBezTo>
                  <a:cubicBezTo>
                    <a:pt x="212" y="97"/>
                    <a:pt x="190" y="75"/>
                    <a:pt x="164" y="75"/>
                  </a:cubicBezTo>
                  <a:close/>
                  <a:moveTo>
                    <a:pt x="164" y="149"/>
                  </a:moveTo>
                  <a:cubicBezTo>
                    <a:pt x="150" y="149"/>
                    <a:pt x="139" y="138"/>
                    <a:pt x="139" y="125"/>
                  </a:cubicBezTo>
                  <a:cubicBezTo>
                    <a:pt x="139" y="110"/>
                    <a:pt x="150" y="99"/>
                    <a:pt x="164" y="99"/>
                  </a:cubicBezTo>
                  <a:cubicBezTo>
                    <a:pt x="177" y="99"/>
                    <a:pt x="188" y="110"/>
                    <a:pt x="188" y="125"/>
                  </a:cubicBezTo>
                  <a:cubicBezTo>
                    <a:pt x="188" y="138"/>
                    <a:pt x="177" y="149"/>
                    <a:pt x="164" y="149"/>
                  </a:cubicBezTo>
                  <a:close/>
                  <a:moveTo>
                    <a:pt x="412" y="75"/>
                  </a:moveTo>
                  <a:cubicBezTo>
                    <a:pt x="386" y="75"/>
                    <a:pt x="364" y="97"/>
                    <a:pt x="364" y="125"/>
                  </a:cubicBezTo>
                  <a:cubicBezTo>
                    <a:pt x="364" y="151"/>
                    <a:pt x="386" y="173"/>
                    <a:pt x="412" y="173"/>
                  </a:cubicBezTo>
                  <a:cubicBezTo>
                    <a:pt x="439" y="173"/>
                    <a:pt x="460" y="151"/>
                    <a:pt x="460" y="125"/>
                  </a:cubicBezTo>
                  <a:cubicBezTo>
                    <a:pt x="460" y="97"/>
                    <a:pt x="439" y="75"/>
                    <a:pt x="412" y="75"/>
                  </a:cubicBezTo>
                  <a:close/>
                  <a:moveTo>
                    <a:pt x="436" y="125"/>
                  </a:moveTo>
                  <a:cubicBezTo>
                    <a:pt x="436" y="138"/>
                    <a:pt x="426" y="149"/>
                    <a:pt x="412" y="149"/>
                  </a:cubicBezTo>
                  <a:cubicBezTo>
                    <a:pt x="399" y="149"/>
                    <a:pt x="388" y="138"/>
                    <a:pt x="388" y="125"/>
                  </a:cubicBezTo>
                  <a:cubicBezTo>
                    <a:pt x="388" y="111"/>
                    <a:pt x="399" y="99"/>
                    <a:pt x="412" y="99"/>
                  </a:cubicBezTo>
                  <a:cubicBezTo>
                    <a:pt x="426" y="99"/>
                    <a:pt x="436" y="110"/>
                    <a:pt x="436" y="125"/>
                  </a:cubicBezTo>
                  <a:close/>
                </a:path>
              </a:pathLst>
            </a:custGeom>
            <a:grpFill/>
            <a:ln>
              <a:noFill/>
            </a:ln>
          </p:spPr>
          <p:txBody>
            <a:bodyPr vert="horz" wrap="square" lIns="91440" tIns="45720" rIns="91440" bIns="45720" numCol="1" anchor="t" anchorCtr="0" compatLnSpc="1">
              <a:prstTxWarp prst="textNoShape">
                <a:avLst/>
              </a:prstTxWarp>
            </a:bodyPr>
            <a:lstStyle/>
            <a:p>
              <a:endParaRPr lang="ja-JP" altLang="en-US" dirty="0">
                <a:solidFill>
                  <a:schemeClr val="accent1"/>
                </a:solidFill>
              </a:endParaRPr>
            </a:p>
          </p:txBody>
        </p:sp>
        <p:sp>
          <p:nvSpPr>
            <p:cNvPr id="69" name="Freeform 73">
              <a:extLst>
                <a:ext uri="{FF2B5EF4-FFF2-40B4-BE49-F238E27FC236}">
                  <a16:creationId xmlns:a16="http://schemas.microsoft.com/office/drawing/2014/main" id="{4153088C-328B-4D2B-B13E-151A2CFD8ADF}"/>
                </a:ext>
              </a:extLst>
            </p:cNvPr>
            <p:cNvSpPr>
              <a:spLocks noChangeAspect="1" noEditPoints="1"/>
            </p:cNvSpPr>
            <p:nvPr/>
          </p:nvSpPr>
          <p:spPr bwMode="auto">
            <a:xfrm>
              <a:off x="2500982" y="3976890"/>
              <a:ext cx="363586" cy="358843"/>
            </a:xfrm>
            <a:custGeom>
              <a:avLst/>
              <a:gdLst>
                <a:gd name="T0" fmla="*/ 6709 w 6709"/>
                <a:gd name="T1" fmla="*/ 0 h 6708"/>
                <a:gd name="T2" fmla="*/ 2508 w 6709"/>
                <a:gd name="T3" fmla="*/ 5788 h 6708"/>
                <a:gd name="T4" fmla="*/ 2430 w 6709"/>
                <a:gd name="T5" fmla="*/ 5806 h 6708"/>
                <a:gd name="T6" fmla="*/ 2342 w 6709"/>
                <a:gd name="T7" fmla="*/ 5764 h 6708"/>
                <a:gd name="T8" fmla="*/ 1534 w 6709"/>
                <a:gd name="T9" fmla="*/ 4892 h 6708"/>
                <a:gd name="T10" fmla="*/ 1536 w 6709"/>
                <a:gd name="T11" fmla="*/ 4802 h 6708"/>
                <a:gd name="T12" fmla="*/ 1658 w 6709"/>
                <a:gd name="T13" fmla="*/ 4404 h 6708"/>
                <a:gd name="T14" fmla="*/ 1504 w 6709"/>
                <a:gd name="T15" fmla="*/ 4280 h 6708"/>
                <a:gd name="T16" fmla="*/ 1388 w 6709"/>
                <a:gd name="T17" fmla="*/ 4084 h 6708"/>
                <a:gd name="T18" fmla="*/ 1868 w 6709"/>
                <a:gd name="T19" fmla="*/ 2096 h 6708"/>
                <a:gd name="T20" fmla="*/ 2684 w 6709"/>
                <a:gd name="T21" fmla="*/ 1736 h 6708"/>
                <a:gd name="T22" fmla="*/ 2958 w 6709"/>
                <a:gd name="T23" fmla="*/ 1754 h 6708"/>
                <a:gd name="T24" fmla="*/ 1732 w 6709"/>
                <a:gd name="T25" fmla="*/ 3102 h 6708"/>
                <a:gd name="T26" fmla="*/ 1572 w 6709"/>
                <a:gd name="T27" fmla="*/ 3390 h 6708"/>
                <a:gd name="T28" fmla="*/ 1608 w 6709"/>
                <a:gd name="T29" fmla="*/ 3674 h 6708"/>
                <a:gd name="T30" fmla="*/ 1740 w 6709"/>
                <a:gd name="T31" fmla="*/ 3848 h 6708"/>
                <a:gd name="T32" fmla="*/ 1978 w 6709"/>
                <a:gd name="T33" fmla="*/ 3956 h 6708"/>
                <a:gd name="T34" fmla="*/ 2278 w 6709"/>
                <a:gd name="T35" fmla="*/ 3910 h 6708"/>
                <a:gd name="T36" fmla="*/ 2882 w 6709"/>
                <a:gd name="T37" fmla="*/ 3398 h 6708"/>
                <a:gd name="T38" fmla="*/ 3172 w 6709"/>
                <a:gd name="T39" fmla="*/ 3238 h 6708"/>
                <a:gd name="T40" fmla="*/ 3377 w 6709"/>
                <a:gd name="T41" fmla="*/ 3228 h 6708"/>
                <a:gd name="T42" fmla="*/ 5341 w 6709"/>
                <a:gd name="T43" fmla="*/ 4200 h 6708"/>
                <a:gd name="T44" fmla="*/ 5373 w 6709"/>
                <a:gd name="T45" fmla="*/ 4246 h 6708"/>
                <a:gd name="T46" fmla="*/ 3985 w 6709"/>
                <a:gd name="T47" fmla="*/ 5558 h 6708"/>
                <a:gd name="T48" fmla="*/ 3889 w 6709"/>
                <a:gd name="T49" fmla="*/ 5616 h 6708"/>
                <a:gd name="T50" fmla="*/ 5215 w 6709"/>
                <a:gd name="T51" fmla="*/ 3814 h 6708"/>
                <a:gd name="T52" fmla="*/ 3661 w 6709"/>
                <a:gd name="T53" fmla="*/ 3014 h 6708"/>
                <a:gd name="T54" fmla="*/ 3399 w 6709"/>
                <a:gd name="T55" fmla="*/ 2942 h 6708"/>
                <a:gd name="T56" fmla="*/ 3142 w 6709"/>
                <a:gd name="T57" fmla="*/ 2950 h 6708"/>
                <a:gd name="T58" fmla="*/ 2894 w 6709"/>
                <a:gd name="T59" fmla="*/ 3042 h 6708"/>
                <a:gd name="T60" fmla="*/ 2192 w 6709"/>
                <a:gd name="T61" fmla="*/ 3626 h 6708"/>
                <a:gd name="T62" fmla="*/ 2082 w 6709"/>
                <a:gd name="T63" fmla="*/ 3676 h 6708"/>
                <a:gd name="T64" fmla="*/ 1948 w 6709"/>
                <a:gd name="T65" fmla="*/ 3646 h 6708"/>
                <a:gd name="T66" fmla="*/ 1868 w 6709"/>
                <a:gd name="T67" fmla="*/ 3556 h 6708"/>
                <a:gd name="T68" fmla="*/ 1854 w 6709"/>
                <a:gd name="T69" fmla="*/ 3438 h 6708"/>
                <a:gd name="T70" fmla="*/ 1920 w 6709"/>
                <a:gd name="T71" fmla="*/ 3316 h 6708"/>
                <a:gd name="T72" fmla="*/ 3493 w 6709"/>
                <a:gd name="T73" fmla="*/ 1978 h 6708"/>
                <a:gd name="T74" fmla="*/ 3707 w 6709"/>
                <a:gd name="T75" fmla="*/ 1956 h 6708"/>
                <a:gd name="T76" fmla="*/ 6423 w 6709"/>
                <a:gd name="T77" fmla="*/ 2402 h 6708"/>
                <a:gd name="T78" fmla="*/ 3891 w 6709"/>
                <a:gd name="T79" fmla="*/ 1710 h 6708"/>
                <a:gd name="T80" fmla="*/ 3675 w 6709"/>
                <a:gd name="T81" fmla="*/ 1668 h 6708"/>
                <a:gd name="T82" fmla="*/ 3457 w 6709"/>
                <a:gd name="T83" fmla="*/ 1692 h 6708"/>
                <a:gd name="T84" fmla="*/ 2982 w 6709"/>
                <a:gd name="T85" fmla="*/ 1466 h 6708"/>
                <a:gd name="T86" fmla="*/ 2588 w 6709"/>
                <a:gd name="T87" fmla="*/ 1462 h 6708"/>
                <a:gd name="T88" fmla="*/ 286 w 6709"/>
                <a:gd name="T89" fmla="*/ 286 h 6708"/>
                <a:gd name="T90" fmla="*/ 1088 w 6709"/>
                <a:gd name="T91" fmla="*/ 4076 h 6708"/>
                <a:gd name="T92" fmla="*/ 1182 w 6709"/>
                <a:gd name="T93" fmla="*/ 4318 h 6708"/>
                <a:gd name="T94" fmla="*/ 1342 w 6709"/>
                <a:gd name="T95" fmla="*/ 4522 h 6708"/>
                <a:gd name="T96" fmla="*/ 1264 w 6709"/>
                <a:gd name="T97" fmla="*/ 4716 h 6708"/>
                <a:gd name="T98" fmla="*/ 1266 w 6709"/>
                <a:gd name="T99" fmla="*/ 4988 h 6708"/>
                <a:gd name="T100" fmla="*/ 2146 w 6709"/>
                <a:gd name="T101" fmla="*/ 5976 h 6708"/>
                <a:gd name="T102" fmla="*/ 2410 w 6709"/>
                <a:gd name="T103" fmla="*/ 6090 h 6708"/>
                <a:gd name="T104" fmla="*/ 2588 w 6709"/>
                <a:gd name="T105" fmla="*/ 6066 h 6708"/>
                <a:gd name="T106" fmla="*/ 3677 w 6709"/>
                <a:gd name="T107" fmla="*/ 5848 h 6708"/>
                <a:gd name="T108" fmla="*/ 3855 w 6709"/>
                <a:gd name="T109" fmla="*/ 5902 h 6708"/>
                <a:gd name="T110" fmla="*/ 4003 w 6709"/>
                <a:gd name="T111" fmla="*/ 5886 h 6708"/>
                <a:gd name="T112" fmla="*/ 4153 w 6709"/>
                <a:gd name="T113" fmla="*/ 5800 h 6708"/>
                <a:gd name="T114" fmla="*/ 5583 w 6709"/>
                <a:gd name="T115" fmla="*/ 4476 h 6708"/>
                <a:gd name="T116" fmla="*/ 5657 w 6709"/>
                <a:gd name="T117" fmla="*/ 4210 h 6708"/>
                <a:gd name="T118" fmla="*/ 5559 w 6709"/>
                <a:gd name="T119" fmla="*/ 4010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09" h="6708">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grpFill/>
            <a:ln>
              <a:noFill/>
            </a:ln>
          </p:spPr>
          <p:txBody>
            <a:bodyPr vert="horz" wrap="square" lIns="78191" tIns="39096" rIns="78191" bIns="39096" numCol="1" anchor="t" anchorCtr="0" compatLnSpc="1">
              <a:prstTxWarp prst="textNoShape">
                <a:avLst/>
              </a:prstTxWarp>
            </a:bodyPr>
            <a:lstStyle/>
            <a:p>
              <a:endParaRPr lang="en-US" sz="1200" dirty="0"/>
            </a:p>
          </p:txBody>
        </p:sp>
        <p:sp>
          <p:nvSpPr>
            <p:cNvPr id="70" name="Freeform 25">
              <a:extLst>
                <a:ext uri="{FF2B5EF4-FFF2-40B4-BE49-F238E27FC236}">
                  <a16:creationId xmlns:a16="http://schemas.microsoft.com/office/drawing/2014/main" id="{73DC6FD6-C58B-4CFC-984C-140C80E93738}"/>
                </a:ext>
              </a:extLst>
            </p:cNvPr>
            <p:cNvSpPr>
              <a:spLocks noChangeAspect="1" noEditPoints="1"/>
            </p:cNvSpPr>
            <p:nvPr/>
          </p:nvSpPr>
          <p:spPr bwMode="auto">
            <a:xfrm>
              <a:off x="2479531" y="4426677"/>
              <a:ext cx="372531" cy="375253"/>
            </a:xfrm>
            <a:custGeom>
              <a:avLst/>
              <a:gdLst>
                <a:gd name="T0" fmla="*/ 351 w 576"/>
                <a:gd name="T1" fmla="*/ 112 h 576"/>
                <a:gd name="T2" fmla="*/ 338 w 576"/>
                <a:gd name="T3" fmla="*/ 73 h 576"/>
                <a:gd name="T4" fmla="*/ 209 w 576"/>
                <a:gd name="T5" fmla="*/ 86 h 576"/>
                <a:gd name="T6" fmla="*/ 146 w 576"/>
                <a:gd name="T7" fmla="*/ 112 h 576"/>
                <a:gd name="T8" fmla="*/ 414 w 576"/>
                <a:gd name="T9" fmla="*/ 300 h 576"/>
                <a:gd name="T10" fmla="*/ 234 w 576"/>
                <a:gd name="T11" fmla="*/ 98 h 576"/>
                <a:gd name="T12" fmla="*/ 326 w 576"/>
                <a:gd name="T13" fmla="*/ 112 h 576"/>
                <a:gd name="T14" fmla="*/ 234 w 576"/>
                <a:gd name="T15" fmla="*/ 98 h 576"/>
                <a:gd name="T16" fmla="*/ 338 w 576"/>
                <a:gd name="T17" fmla="*/ 136 h 576"/>
                <a:gd name="T18" fmla="*/ 389 w 576"/>
                <a:gd name="T19" fmla="*/ 165 h 576"/>
                <a:gd name="T20" fmla="*/ 171 w 576"/>
                <a:gd name="T21" fmla="*/ 165 h 576"/>
                <a:gd name="T22" fmla="*/ 221 w 576"/>
                <a:gd name="T23" fmla="*/ 136 h 576"/>
                <a:gd name="T24" fmla="*/ 171 w 576"/>
                <a:gd name="T25" fmla="*/ 191 h 576"/>
                <a:gd name="T26" fmla="*/ 389 w 576"/>
                <a:gd name="T27" fmla="*/ 191 h 576"/>
                <a:gd name="T28" fmla="*/ 171 w 576"/>
                <a:gd name="T29" fmla="*/ 275 h 576"/>
                <a:gd name="T30" fmla="*/ 0 w 576"/>
                <a:gd name="T31" fmla="*/ 0 h 576"/>
                <a:gd name="T32" fmla="*/ 159 w 576"/>
                <a:gd name="T33" fmla="*/ 576 h 576"/>
                <a:gd name="T34" fmla="*/ 160 w 576"/>
                <a:gd name="T35" fmla="*/ 576 h 576"/>
                <a:gd name="T36" fmla="*/ 576 w 576"/>
                <a:gd name="T37" fmla="*/ 0 h 576"/>
                <a:gd name="T38" fmla="*/ 179 w 576"/>
                <a:gd name="T39" fmla="*/ 394 h 576"/>
                <a:gd name="T40" fmla="*/ 199 w 576"/>
                <a:gd name="T41" fmla="*/ 379 h 576"/>
                <a:gd name="T42" fmla="*/ 323 w 576"/>
                <a:gd name="T43" fmla="*/ 379 h 576"/>
                <a:gd name="T44" fmla="*/ 344 w 576"/>
                <a:gd name="T45" fmla="*/ 406 h 576"/>
                <a:gd name="T46" fmla="*/ 325 w 576"/>
                <a:gd name="T47" fmla="*/ 411 h 576"/>
                <a:gd name="T48" fmla="*/ 211 w 576"/>
                <a:gd name="T49" fmla="*/ 410 h 576"/>
                <a:gd name="T50" fmla="*/ 320 w 576"/>
                <a:gd name="T51" fmla="*/ 435 h 576"/>
                <a:gd name="T52" fmla="*/ 337 w 576"/>
                <a:gd name="T53" fmla="*/ 435 h 576"/>
                <a:gd name="T54" fmla="*/ 399 w 576"/>
                <a:gd name="T55" fmla="*/ 396 h 576"/>
                <a:gd name="T56" fmla="*/ 485 w 576"/>
                <a:gd name="T57" fmla="*/ 310 h 576"/>
                <a:gd name="T58" fmla="*/ 508 w 576"/>
                <a:gd name="T59" fmla="*/ 309 h 576"/>
                <a:gd name="T60" fmla="*/ 464 w 576"/>
                <a:gd name="T61" fmla="*/ 373 h 576"/>
                <a:gd name="T62" fmla="*/ 376 w 576"/>
                <a:gd name="T63" fmla="*/ 459 h 576"/>
                <a:gd name="T64" fmla="*/ 226 w 576"/>
                <a:gd name="T65" fmla="*/ 477 h 576"/>
                <a:gd name="T66" fmla="*/ 25 w 576"/>
                <a:gd name="T67" fmla="*/ 552 h 576"/>
                <a:gd name="T68" fmla="*/ 551 w 576"/>
                <a:gd name="T69" fmla="*/ 552 h 576"/>
                <a:gd name="T70" fmla="*/ 236 w 576"/>
                <a:gd name="T71" fmla="*/ 502 h 576"/>
                <a:gd name="T72" fmla="*/ 394 w 576"/>
                <a:gd name="T73" fmla="*/ 476 h 576"/>
                <a:gd name="T74" fmla="*/ 482 w 576"/>
                <a:gd name="T75" fmla="*/ 391 h 576"/>
                <a:gd name="T76" fmla="*/ 528 w 576"/>
                <a:gd name="T77" fmla="*/ 293 h 576"/>
                <a:gd name="T78" fmla="*/ 468 w 576"/>
                <a:gd name="T79" fmla="*/ 292 h 576"/>
                <a:gd name="T80" fmla="*/ 381 w 576"/>
                <a:gd name="T81" fmla="*/ 379 h 576"/>
                <a:gd name="T82" fmla="*/ 367 w 576"/>
                <a:gd name="T83" fmla="*/ 374 h 576"/>
                <a:gd name="T84" fmla="*/ 199 w 576"/>
                <a:gd name="T85" fmla="*/ 355 h 576"/>
                <a:gd name="T86" fmla="*/ 161 w 576"/>
                <a:gd name="T87" fmla="*/ 377 h 576"/>
                <a:gd name="T88" fmla="*/ 25 w 576"/>
                <a:gd name="T89" fmla="*/ 25 h 576"/>
                <a:gd name="T90" fmla="*/ 551 w 576"/>
                <a:gd name="T91"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6" h="576">
                  <a:moveTo>
                    <a:pt x="414" y="112"/>
                  </a:moveTo>
                  <a:cubicBezTo>
                    <a:pt x="351" y="112"/>
                    <a:pt x="351" y="112"/>
                    <a:pt x="351" y="112"/>
                  </a:cubicBezTo>
                  <a:cubicBezTo>
                    <a:pt x="351" y="86"/>
                    <a:pt x="351" y="86"/>
                    <a:pt x="351" y="86"/>
                  </a:cubicBezTo>
                  <a:cubicBezTo>
                    <a:pt x="351" y="79"/>
                    <a:pt x="345" y="73"/>
                    <a:pt x="338" y="73"/>
                  </a:cubicBezTo>
                  <a:cubicBezTo>
                    <a:pt x="221" y="73"/>
                    <a:pt x="221" y="73"/>
                    <a:pt x="221" y="73"/>
                  </a:cubicBezTo>
                  <a:cubicBezTo>
                    <a:pt x="215" y="73"/>
                    <a:pt x="209" y="79"/>
                    <a:pt x="209" y="86"/>
                  </a:cubicBezTo>
                  <a:cubicBezTo>
                    <a:pt x="209" y="112"/>
                    <a:pt x="209" y="112"/>
                    <a:pt x="209" y="112"/>
                  </a:cubicBezTo>
                  <a:cubicBezTo>
                    <a:pt x="146" y="112"/>
                    <a:pt x="146" y="112"/>
                    <a:pt x="146" y="112"/>
                  </a:cubicBezTo>
                  <a:cubicBezTo>
                    <a:pt x="146" y="300"/>
                    <a:pt x="146" y="300"/>
                    <a:pt x="146" y="300"/>
                  </a:cubicBezTo>
                  <a:cubicBezTo>
                    <a:pt x="414" y="300"/>
                    <a:pt x="414" y="300"/>
                    <a:pt x="414" y="300"/>
                  </a:cubicBezTo>
                  <a:lnTo>
                    <a:pt x="414" y="112"/>
                  </a:lnTo>
                  <a:close/>
                  <a:moveTo>
                    <a:pt x="234" y="98"/>
                  </a:moveTo>
                  <a:cubicBezTo>
                    <a:pt x="326" y="98"/>
                    <a:pt x="326" y="98"/>
                    <a:pt x="326" y="98"/>
                  </a:cubicBezTo>
                  <a:cubicBezTo>
                    <a:pt x="326" y="112"/>
                    <a:pt x="326" y="112"/>
                    <a:pt x="326" y="112"/>
                  </a:cubicBezTo>
                  <a:cubicBezTo>
                    <a:pt x="234" y="112"/>
                    <a:pt x="234" y="112"/>
                    <a:pt x="234" y="112"/>
                  </a:cubicBezTo>
                  <a:lnTo>
                    <a:pt x="234" y="98"/>
                  </a:lnTo>
                  <a:close/>
                  <a:moveTo>
                    <a:pt x="221" y="136"/>
                  </a:moveTo>
                  <a:cubicBezTo>
                    <a:pt x="338" y="136"/>
                    <a:pt x="338" y="136"/>
                    <a:pt x="338" y="136"/>
                  </a:cubicBezTo>
                  <a:cubicBezTo>
                    <a:pt x="389" y="136"/>
                    <a:pt x="389" y="136"/>
                    <a:pt x="389" y="136"/>
                  </a:cubicBezTo>
                  <a:cubicBezTo>
                    <a:pt x="389" y="165"/>
                    <a:pt x="389" y="165"/>
                    <a:pt x="389" y="165"/>
                  </a:cubicBezTo>
                  <a:cubicBezTo>
                    <a:pt x="280" y="197"/>
                    <a:pt x="280" y="197"/>
                    <a:pt x="280" y="197"/>
                  </a:cubicBezTo>
                  <a:cubicBezTo>
                    <a:pt x="171" y="165"/>
                    <a:pt x="171" y="165"/>
                    <a:pt x="171" y="165"/>
                  </a:cubicBezTo>
                  <a:cubicBezTo>
                    <a:pt x="171" y="136"/>
                    <a:pt x="171" y="136"/>
                    <a:pt x="171" y="136"/>
                  </a:cubicBezTo>
                  <a:lnTo>
                    <a:pt x="221" y="136"/>
                  </a:lnTo>
                  <a:close/>
                  <a:moveTo>
                    <a:pt x="171" y="275"/>
                  </a:moveTo>
                  <a:cubicBezTo>
                    <a:pt x="171" y="191"/>
                    <a:pt x="171" y="191"/>
                    <a:pt x="171" y="191"/>
                  </a:cubicBezTo>
                  <a:cubicBezTo>
                    <a:pt x="280" y="222"/>
                    <a:pt x="280" y="222"/>
                    <a:pt x="280" y="222"/>
                  </a:cubicBezTo>
                  <a:cubicBezTo>
                    <a:pt x="389" y="191"/>
                    <a:pt x="389" y="191"/>
                    <a:pt x="389" y="191"/>
                  </a:cubicBezTo>
                  <a:cubicBezTo>
                    <a:pt x="389" y="275"/>
                    <a:pt x="389" y="275"/>
                    <a:pt x="389" y="275"/>
                  </a:cubicBezTo>
                  <a:lnTo>
                    <a:pt x="171" y="275"/>
                  </a:lnTo>
                  <a:close/>
                  <a:moveTo>
                    <a:pt x="576" y="0"/>
                  </a:moveTo>
                  <a:cubicBezTo>
                    <a:pt x="0" y="0"/>
                    <a:pt x="0" y="0"/>
                    <a:pt x="0" y="0"/>
                  </a:cubicBezTo>
                  <a:cubicBezTo>
                    <a:pt x="0" y="576"/>
                    <a:pt x="0" y="576"/>
                    <a:pt x="0" y="576"/>
                  </a:cubicBezTo>
                  <a:cubicBezTo>
                    <a:pt x="159" y="576"/>
                    <a:pt x="159" y="576"/>
                    <a:pt x="159" y="576"/>
                  </a:cubicBezTo>
                  <a:cubicBezTo>
                    <a:pt x="160" y="576"/>
                    <a:pt x="160" y="576"/>
                    <a:pt x="160" y="576"/>
                  </a:cubicBezTo>
                  <a:cubicBezTo>
                    <a:pt x="160" y="576"/>
                    <a:pt x="160" y="576"/>
                    <a:pt x="160" y="576"/>
                  </a:cubicBezTo>
                  <a:cubicBezTo>
                    <a:pt x="576" y="576"/>
                    <a:pt x="576" y="576"/>
                    <a:pt x="576" y="576"/>
                  </a:cubicBezTo>
                  <a:lnTo>
                    <a:pt x="576" y="0"/>
                  </a:lnTo>
                  <a:close/>
                  <a:moveTo>
                    <a:pt x="25" y="547"/>
                  </a:moveTo>
                  <a:cubicBezTo>
                    <a:pt x="44" y="527"/>
                    <a:pt x="167" y="406"/>
                    <a:pt x="179" y="394"/>
                  </a:cubicBezTo>
                  <a:cubicBezTo>
                    <a:pt x="181" y="392"/>
                    <a:pt x="184" y="389"/>
                    <a:pt x="186" y="387"/>
                  </a:cubicBezTo>
                  <a:cubicBezTo>
                    <a:pt x="192" y="380"/>
                    <a:pt x="193" y="379"/>
                    <a:pt x="199" y="379"/>
                  </a:cubicBezTo>
                  <a:cubicBezTo>
                    <a:pt x="322" y="379"/>
                    <a:pt x="322" y="379"/>
                    <a:pt x="322" y="379"/>
                  </a:cubicBezTo>
                  <a:cubicBezTo>
                    <a:pt x="323" y="379"/>
                    <a:pt x="323" y="379"/>
                    <a:pt x="323" y="379"/>
                  </a:cubicBezTo>
                  <a:cubicBezTo>
                    <a:pt x="324" y="379"/>
                    <a:pt x="340" y="377"/>
                    <a:pt x="345" y="386"/>
                  </a:cubicBezTo>
                  <a:cubicBezTo>
                    <a:pt x="348" y="391"/>
                    <a:pt x="347" y="400"/>
                    <a:pt x="344" y="406"/>
                  </a:cubicBezTo>
                  <a:cubicBezTo>
                    <a:pt x="343" y="407"/>
                    <a:pt x="342" y="408"/>
                    <a:pt x="340" y="409"/>
                  </a:cubicBezTo>
                  <a:cubicBezTo>
                    <a:pt x="334" y="411"/>
                    <a:pt x="329" y="411"/>
                    <a:pt x="325" y="411"/>
                  </a:cubicBezTo>
                  <a:cubicBezTo>
                    <a:pt x="323" y="410"/>
                    <a:pt x="321" y="410"/>
                    <a:pt x="320" y="410"/>
                  </a:cubicBezTo>
                  <a:cubicBezTo>
                    <a:pt x="211" y="410"/>
                    <a:pt x="211" y="410"/>
                    <a:pt x="211" y="410"/>
                  </a:cubicBezTo>
                  <a:cubicBezTo>
                    <a:pt x="211" y="435"/>
                    <a:pt x="211" y="435"/>
                    <a:pt x="211" y="435"/>
                  </a:cubicBezTo>
                  <a:cubicBezTo>
                    <a:pt x="320" y="435"/>
                    <a:pt x="320" y="435"/>
                    <a:pt x="320" y="435"/>
                  </a:cubicBezTo>
                  <a:cubicBezTo>
                    <a:pt x="321" y="435"/>
                    <a:pt x="322" y="435"/>
                    <a:pt x="324" y="435"/>
                  </a:cubicBezTo>
                  <a:cubicBezTo>
                    <a:pt x="328" y="435"/>
                    <a:pt x="333" y="435"/>
                    <a:pt x="337" y="435"/>
                  </a:cubicBezTo>
                  <a:cubicBezTo>
                    <a:pt x="342" y="435"/>
                    <a:pt x="346" y="434"/>
                    <a:pt x="350" y="432"/>
                  </a:cubicBezTo>
                  <a:cubicBezTo>
                    <a:pt x="363" y="428"/>
                    <a:pt x="379" y="418"/>
                    <a:pt x="399" y="396"/>
                  </a:cubicBezTo>
                  <a:cubicBezTo>
                    <a:pt x="432" y="359"/>
                    <a:pt x="468" y="326"/>
                    <a:pt x="482" y="313"/>
                  </a:cubicBezTo>
                  <a:cubicBezTo>
                    <a:pt x="485" y="310"/>
                    <a:pt x="485" y="310"/>
                    <a:pt x="485" y="310"/>
                  </a:cubicBezTo>
                  <a:cubicBezTo>
                    <a:pt x="488" y="307"/>
                    <a:pt x="495" y="304"/>
                    <a:pt x="500" y="304"/>
                  </a:cubicBezTo>
                  <a:cubicBezTo>
                    <a:pt x="504" y="305"/>
                    <a:pt x="506" y="306"/>
                    <a:pt x="508" y="309"/>
                  </a:cubicBezTo>
                  <a:cubicBezTo>
                    <a:pt x="516" y="318"/>
                    <a:pt x="508" y="330"/>
                    <a:pt x="507" y="332"/>
                  </a:cubicBezTo>
                  <a:cubicBezTo>
                    <a:pt x="503" y="335"/>
                    <a:pt x="485" y="353"/>
                    <a:pt x="464" y="373"/>
                  </a:cubicBezTo>
                  <a:cubicBezTo>
                    <a:pt x="429" y="407"/>
                    <a:pt x="385" y="450"/>
                    <a:pt x="377" y="459"/>
                  </a:cubicBezTo>
                  <a:cubicBezTo>
                    <a:pt x="376" y="459"/>
                    <a:pt x="376" y="459"/>
                    <a:pt x="376" y="459"/>
                  </a:cubicBezTo>
                  <a:cubicBezTo>
                    <a:pt x="370" y="466"/>
                    <a:pt x="360" y="477"/>
                    <a:pt x="339" y="477"/>
                  </a:cubicBezTo>
                  <a:cubicBezTo>
                    <a:pt x="226" y="477"/>
                    <a:pt x="226" y="477"/>
                    <a:pt x="226" y="477"/>
                  </a:cubicBezTo>
                  <a:cubicBezTo>
                    <a:pt x="150" y="552"/>
                    <a:pt x="150" y="552"/>
                    <a:pt x="150" y="552"/>
                  </a:cubicBezTo>
                  <a:cubicBezTo>
                    <a:pt x="25" y="552"/>
                    <a:pt x="25" y="552"/>
                    <a:pt x="25" y="552"/>
                  </a:cubicBezTo>
                  <a:lnTo>
                    <a:pt x="25" y="547"/>
                  </a:lnTo>
                  <a:close/>
                  <a:moveTo>
                    <a:pt x="551" y="552"/>
                  </a:moveTo>
                  <a:cubicBezTo>
                    <a:pt x="185" y="552"/>
                    <a:pt x="185" y="552"/>
                    <a:pt x="185" y="552"/>
                  </a:cubicBezTo>
                  <a:cubicBezTo>
                    <a:pt x="236" y="502"/>
                    <a:pt x="236" y="502"/>
                    <a:pt x="236" y="502"/>
                  </a:cubicBezTo>
                  <a:cubicBezTo>
                    <a:pt x="339" y="502"/>
                    <a:pt x="339" y="502"/>
                    <a:pt x="339" y="502"/>
                  </a:cubicBezTo>
                  <a:cubicBezTo>
                    <a:pt x="370" y="502"/>
                    <a:pt x="386" y="484"/>
                    <a:pt x="394" y="476"/>
                  </a:cubicBezTo>
                  <a:cubicBezTo>
                    <a:pt x="395" y="476"/>
                    <a:pt x="395" y="476"/>
                    <a:pt x="395" y="476"/>
                  </a:cubicBezTo>
                  <a:cubicBezTo>
                    <a:pt x="402" y="468"/>
                    <a:pt x="448" y="423"/>
                    <a:pt x="482" y="391"/>
                  </a:cubicBezTo>
                  <a:cubicBezTo>
                    <a:pt x="503" y="369"/>
                    <a:pt x="521" y="352"/>
                    <a:pt x="524" y="349"/>
                  </a:cubicBezTo>
                  <a:cubicBezTo>
                    <a:pt x="535" y="338"/>
                    <a:pt x="544" y="313"/>
                    <a:pt x="528" y="293"/>
                  </a:cubicBezTo>
                  <a:cubicBezTo>
                    <a:pt x="521" y="285"/>
                    <a:pt x="512" y="281"/>
                    <a:pt x="502" y="280"/>
                  </a:cubicBezTo>
                  <a:cubicBezTo>
                    <a:pt x="488" y="279"/>
                    <a:pt x="475" y="286"/>
                    <a:pt x="468" y="292"/>
                  </a:cubicBezTo>
                  <a:cubicBezTo>
                    <a:pt x="465" y="295"/>
                    <a:pt x="465" y="295"/>
                    <a:pt x="465" y="295"/>
                  </a:cubicBezTo>
                  <a:cubicBezTo>
                    <a:pt x="451" y="308"/>
                    <a:pt x="414" y="342"/>
                    <a:pt x="381" y="379"/>
                  </a:cubicBezTo>
                  <a:cubicBezTo>
                    <a:pt x="377" y="383"/>
                    <a:pt x="374" y="386"/>
                    <a:pt x="371" y="389"/>
                  </a:cubicBezTo>
                  <a:cubicBezTo>
                    <a:pt x="370" y="384"/>
                    <a:pt x="369" y="379"/>
                    <a:pt x="367" y="374"/>
                  </a:cubicBezTo>
                  <a:cubicBezTo>
                    <a:pt x="357" y="356"/>
                    <a:pt x="334" y="353"/>
                    <a:pt x="321" y="355"/>
                  </a:cubicBezTo>
                  <a:cubicBezTo>
                    <a:pt x="199" y="355"/>
                    <a:pt x="199" y="355"/>
                    <a:pt x="199" y="355"/>
                  </a:cubicBezTo>
                  <a:cubicBezTo>
                    <a:pt x="182" y="355"/>
                    <a:pt x="175" y="362"/>
                    <a:pt x="168" y="370"/>
                  </a:cubicBezTo>
                  <a:cubicBezTo>
                    <a:pt x="166" y="372"/>
                    <a:pt x="164" y="374"/>
                    <a:pt x="161" y="377"/>
                  </a:cubicBezTo>
                  <a:cubicBezTo>
                    <a:pt x="152" y="386"/>
                    <a:pt x="65" y="473"/>
                    <a:pt x="25" y="513"/>
                  </a:cubicBezTo>
                  <a:cubicBezTo>
                    <a:pt x="25" y="25"/>
                    <a:pt x="25" y="25"/>
                    <a:pt x="25" y="25"/>
                  </a:cubicBezTo>
                  <a:cubicBezTo>
                    <a:pt x="551" y="25"/>
                    <a:pt x="551" y="25"/>
                    <a:pt x="551" y="25"/>
                  </a:cubicBezTo>
                  <a:lnTo>
                    <a:pt x="551" y="552"/>
                  </a:lnTo>
                  <a:close/>
                </a:path>
              </a:pathLst>
            </a:custGeom>
            <a:grpFill/>
            <a:ln>
              <a:noFill/>
            </a:ln>
          </p:spPr>
          <p:txBody>
            <a:bodyPr vert="horz" wrap="square" lIns="91440" tIns="45720" rIns="91440" bIns="45720" numCol="1" anchor="t" anchorCtr="0" compatLnSpc="1">
              <a:prstTxWarp prst="textNoShape">
                <a:avLst/>
              </a:prstTxWarp>
            </a:bodyPr>
            <a:lstStyle/>
            <a:p>
              <a:endParaRPr lang="ja-JP" altLang="en-US" sz="700" b="1" dirty="0">
                <a:solidFill>
                  <a:schemeClr val="accent1"/>
                </a:solidFill>
              </a:endParaRPr>
            </a:p>
          </p:txBody>
        </p:sp>
        <p:sp>
          <p:nvSpPr>
            <p:cNvPr id="71" name="Freeform 104">
              <a:extLst>
                <a:ext uri="{FF2B5EF4-FFF2-40B4-BE49-F238E27FC236}">
                  <a16:creationId xmlns:a16="http://schemas.microsoft.com/office/drawing/2014/main" id="{09BD7539-7C06-442A-A09B-1472E3941FE9}"/>
                </a:ext>
              </a:extLst>
            </p:cNvPr>
            <p:cNvSpPr>
              <a:spLocks noChangeAspect="1" noEditPoints="1"/>
            </p:cNvSpPr>
            <p:nvPr/>
          </p:nvSpPr>
          <p:spPr bwMode="auto">
            <a:xfrm>
              <a:off x="2491603" y="4929120"/>
              <a:ext cx="373802" cy="376533"/>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grp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72" name="Freeform 125">
              <a:extLst>
                <a:ext uri="{FF2B5EF4-FFF2-40B4-BE49-F238E27FC236}">
                  <a16:creationId xmlns:a16="http://schemas.microsoft.com/office/drawing/2014/main" id="{AF331D87-8501-4E4C-82A9-06CA40277507}"/>
                </a:ext>
              </a:extLst>
            </p:cNvPr>
            <p:cNvSpPr>
              <a:spLocks noChangeAspect="1" noEditPoints="1"/>
            </p:cNvSpPr>
            <p:nvPr/>
          </p:nvSpPr>
          <p:spPr bwMode="auto">
            <a:xfrm>
              <a:off x="2498504" y="5424706"/>
              <a:ext cx="366901" cy="36958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229 w 576"/>
                <a:gd name="T11" fmla="*/ 475 h 576"/>
                <a:gd name="T12" fmla="*/ 139 w 576"/>
                <a:gd name="T13" fmla="*/ 355 h 576"/>
                <a:gd name="T14" fmla="*/ 128 w 576"/>
                <a:gd name="T15" fmla="*/ 349 h 576"/>
                <a:gd name="T16" fmla="*/ 118 w 576"/>
                <a:gd name="T17" fmla="*/ 372 h 576"/>
                <a:gd name="T18" fmla="*/ 79 w 576"/>
                <a:gd name="T19" fmla="*/ 304 h 576"/>
                <a:gd name="T20" fmla="*/ 156 w 576"/>
                <a:gd name="T21" fmla="*/ 280 h 576"/>
                <a:gd name="T22" fmla="*/ 146 w 576"/>
                <a:gd name="T23" fmla="*/ 302 h 576"/>
                <a:gd name="T24" fmla="*/ 159 w 576"/>
                <a:gd name="T25" fmla="*/ 307 h 576"/>
                <a:gd name="T26" fmla="*/ 276 w 576"/>
                <a:gd name="T27" fmla="*/ 444 h 576"/>
                <a:gd name="T28" fmla="*/ 262 w 576"/>
                <a:gd name="T29" fmla="*/ 552 h 576"/>
                <a:gd name="T30" fmla="*/ 242 w 576"/>
                <a:gd name="T31" fmla="*/ 552 h 576"/>
                <a:gd name="T32" fmla="*/ 229 w 576"/>
                <a:gd name="T33" fmla="*/ 475 h 576"/>
                <a:gd name="T34" fmla="*/ 242 w 576"/>
                <a:gd name="T35" fmla="*/ 166 h 576"/>
                <a:gd name="T36" fmla="*/ 287 w 576"/>
                <a:gd name="T37" fmla="*/ 104 h 576"/>
                <a:gd name="T38" fmla="*/ 332 w 576"/>
                <a:gd name="T39" fmla="*/ 166 h 576"/>
                <a:gd name="T40" fmla="*/ 309 w 576"/>
                <a:gd name="T41" fmla="*/ 166 h 576"/>
                <a:gd name="T42" fmla="*/ 309 w 576"/>
                <a:gd name="T43" fmla="*/ 371 h 576"/>
                <a:gd name="T44" fmla="*/ 289 w 576"/>
                <a:gd name="T45" fmla="*/ 409 h 576"/>
                <a:gd name="T46" fmla="*/ 265 w 576"/>
                <a:gd name="T47" fmla="*/ 364 h 576"/>
                <a:gd name="T48" fmla="*/ 265 w 576"/>
                <a:gd name="T49" fmla="*/ 166 h 576"/>
                <a:gd name="T50" fmla="*/ 242 w 576"/>
                <a:gd name="T51" fmla="*/ 166 h 576"/>
                <a:gd name="T52" fmla="*/ 423 w 576"/>
                <a:gd name="T53" fmla="*/ 280 h 576"/>
                <a:gd name="T54" fmla="*/ 500 w 576"/>
                <a:gd name="T55" fmla="*/ 304 h 576"/>
                <a:gd name="T56" fmla="*/ 461 w 576"/>
                <a:gd name="T57" fmla="*/ 372 h 576"/>
                <a:gd name="T58" fmla="*/ 451 w 576"/>
                <a:gd name="T59" fmla="*/ 349 h 576"/>
                <a:gd name="T60" fmla="*/ 440 w 576"/>
                <a:gd name="T61" fmla="*/ 355 h 576"/>
                <a:gd name="T62" fmla="*/ 350 w 576"/>
                <a:gd name="T63" fmla="*/ 475 h 576"/>
                <a:gd name="T64" fmla="*/ 337 w 576"/>
                <a:gd name="T65" fmla="*/ 552 h 576"/>
                <a:gd name="T66" fmla="*/ 286 w 576"/>
                <a:gd name="T67" fmla="*/ 552 h 576"/>
                <a:gd name="T68" fmla="*/ 420 w 576"/>
                <a:gd name="T69" fmla="*/ 307 h 576"/>
                <a:gd name="T70" fmla="*/ 433 w 576"/>
                <a:gd name="T71" fmla="*/ 302 h 576"/>
                <a:gd name="T72" fmla="*/ 423 w 576"/>
                <a:gd name="T73" fmla="*/ 280 h 576"/>
                <a:gd name="T74" fmla="*/ 551 w 576"/>
                <a:gd name="T75" fmla="*/ 552 h 576"/>
                <a:gd name="T76" fmla="*/ 362 w 576"/>
                <a:gd name="T77" fmla="*/ 552 h 576"/>
                <a:gd name="T78" fmla="*/ 440 w 576"/>
                <a:gd name="T79" fmla="*/ 383 h 576"/>
                <a:gd name="T80" fmla="*/ 459 w 576"/>
                <a:gd name="T81" fmla="*/ 426 h 576"/>
                <a:gd name="T82" fmla="*/ 536 w 576"/>
                <a:gd name="T83" fmla="*/ 290 h 576"/>
                <a:gd name="T84" fmla="*/ 380 w 576"/>
                <a:gd name="T85" fmla="*/ 240 h 576"/>
                <a:gd name="T86" fmla="*/ 400 w 576"/>
                <a:gd name="T87" fmla="*/ 289 h 576"/>
                <a:gd name="T88" fmla="*/ 334 w 576"/>
                <a:gd name="T89" fmla="*/ 339 h 576"/>
                <a:gd name="T90" fmla="*/ 334 w 576"/>
                <a:gd name="T91" fmla="*/ 190 h 576"/>
                <a:gd name="T92" fmla="*/ 379 w 576"/>
                <a:gd name="T93" fmla="*/ 190 h 576"/>
                <a:gd name="T94" fmla="*/ 288 w 576"/>
                <a:gd name="T95" fmla="*/ 62 h 576"/>
                <a:gd name="T96" fmla="*/ 194 w 576"/>
                <a:gd name="T97" fmla="*/ 190 h 576"/>
                <a:gd name="T98" fmla="*/ 240 w 576"/>
                <a:gd name="T99" fmla="*/ 190 h 576"/>
                <a:gd name="T100" fmla="*/ 240 w 576"/>
                <a:gd name="T101" fmla="*/ 334 h 576"/>
                <a:gd name="T102" fmla="*/ 179 w 576"/>
                <a:gd name="T103" fmla="*/ 289 h 576"/>
                <a:gd name="T104" fmla="*/ 199 w 576"/>
                <a:gd name="T105" fmla="*/ 240 h 576"/>
                <a:gd name="T106" fmla="*/ 43 w 576"/>
                <a:gd name="T107" fmla="*/ 290 h 576"/>
                <a:gd name="T108" fmla="*/ 120 w 576"/>
                <a:gd name="T109" fmla="*/ 426 h 576"/>
                <a:gd name="T110" fmla="*/ 139 w 576"/>
                <a:gd name="T111" fmla="*/ 383 h 576"/>
                <a:gd name="T112" fmla="*/ 217 w 576"/>
                <a:gd name="T113" fmla="*/ 552 h 576"/>
                <a:gd name="T114" fmla="*/ 25 w 576"/>
                <a:gd name="T115" fmla="*/ 552 h 576"/>
                <a:gd name="T116" fmla="*/ 25 w 576"/>
                <a:gd name="T117" fmla="*/ 25 h 576"/>
                <a:gd name="T118" fmla="*/ 551 w 576"/>
                <a:gd name="T119" fmla="*/ 25 h 576"/>
                <a:gd name="T120" fmla="*/ 551 w 576"/>
                <a:gd name="T121"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229" y="475"/>
                  </a:moveTo>
                  <a:cubicBezTo>
                    <a:pt x="213" y="418"/>
                    <a:pt x="182" y="376"/>
                    <a:pt x="139" y="355"/>
                  </a:cubicBezTo>
                  <a:cubicBezTo>
                    <a:pt x="128" y="349"/>
                    <a:pt x="128" y="349"/>
                    <a:pt x="128" y="349"/>
                  </a:cubicBezTo>
                  <a:cubicBezTo>
                    <a:pt x="118" y="372"/>
                    <a:pt x="118" y="372"/>
                    <a:pt x="118" y="372"/>
                  </a:cubicBezTo>
                  <a:cubicBezTo>
                    <a:pt x="79" y="304"/>
                    <a:pt x="79" y="304"/>
                    <a:pt x="79" y="304"/>
                  </a:cubicBezTo>
                  <a:cubicBezTo>
                    <a:pt x="156" y="280"/>
                    <a:pt x="156" y="280"/>
                    <a:pt x="156" y="280"/>
                  </a:cubicBezTo>
                  <a:cubicBezTo>
                    <a:pt x="146" y="302"/>
                    <a:pt x="146" y="302"/>
                    <a:pt x="146" y="302"/>
                  </a:cubicBezTo>
                  <a:cubicBezTo>
                    <a:pt x="159" y="307"/>
                    <a:pt x="159" y="307"/>
                    <a:pt x="159" y="307"/>
                  </a:cubicBezTo>
                  <a:cubicBezTo>
                    <a:pt x="159" y="307"/>
                    <a:pt x="241" y="336"/>
                    <a:pt x="276" y="444"/>
                  </a:cubicBezTo>
                  <a:cubicBezTo>
                    <a:pt x="267" y="474"/>
                    <a:pt x="262" y="510"/>
                    <a:pt x="262" y="552"/>
                  </a:cubicBezTo>
                  <a:cubicBezTo>
                    <a:pt x="242" y="552"/>
                    <a:pt x="242" y="552"/>
                    <a:pt x="242" y="552"/>
                  </a:cubicBezTo>
                  <a:cubicBezTo>
                    <a:pt x="241" y="542"/>
                    <a:pt x="240" y="511"/>
                    <a:pt x="229" y="475"/>
                  </a:cubicBezTo>
                  <a:close/>
                  <a:moveTo>
                    <a:pt x="242" y="166"/>
                  </a:moveTo>
                  <a:cubicBezTo>
                    <a:pt x="287" y="104"/>
                    <a:pt x="287" y="104"/>
                    <a:pt x="287" y="104"/>
                  </a:cubicBezTo>
                  <a:cubicBezTo>
                    <a:pt x="332" y="166"/>
                    <a:pt x="332" y="166"/>
                    <a:pt x="332" y="166"/>
                  </a:cubicBezTo>
                  <a:cubicBezTo>
                    <a:pt x="309" y="166"/>
                    <a:pt x="309" y="166"/>
                    <a:pt x="309" y="166"/>
                  </a:cubicBezTo>
                  <a:cubicBezTo>
                    <a:pt x="309" y="371"/>
                    <a:pt x="309" y="371"/>
                    <a:pt x="309" y="371"/>
                  </a:cubicBezTo>
                  <a:cubicBezTo>
                    <a:pt x="302" y="382"/>
                    <a:pt x="295" y="395"/>
                    <a:pt x="289" y="409"/>
                  </a:cubicBezTo>
                  <a:cubicBezTo>
                    <a:pt x="282" y="392"/>
                    <a:pt x="274" y="377"/>
                    <a:pt x="265" y="364"/>
                  </a:cubicBezTo>
                  <a:cubicBezTo>
                    <a:pt x="265" y="166"/>
                    <a:pt x="265" y="166"/>
                    <a:pt x="265" y="166"/>
                  </a:cubicBezTo>
                  <a:lnTo>
                    <a:pt x="242" y="166"/>
                  </a:lnTo>
                  <a:close/>
                  <a:moveTo>
                    <a:pt x="423" y="280"/>
                  </a:moveTo>
                  <a:cubicBezTo>
                    <a:pt x="500" y="304"/>
                    <a:pt x="500" y="304"/>
                    <a:pt x="500" y="304"/>
                  </a:cubicBezTo>
                  <a:cubicBezTo>
                    <a:pt x="461" y="372"/>
                    <a:pt x="461" y="372"/>
                    <a:pt x="461" y="372"/>
                  </a:cubicBezTo>
                  <a:cubicBezTo>
                    <a:pt x="451" y="349"/>
                    <a:pt x="451" y="349"/>
                    <a:pt x="451" y="349"/>
                  </a:cubicBezTo>
                  <a:cubicBezTo>
                    <a:pt x="440" y="355"/>
                    <a:pt x="440" y="355"/>
                    <a:pt x="440" y="355"/>
                  </a:cubicBezTo>
                  <a:cubicBezTo>
                    <a:pt x="397" y="376"/>
                    <a:pt x="366" y="418"/>
                    <a:pt x="350" y="475"/>
                  </a:cubicBezTo>
                  <a:cubicBezTo>
                    <a:pt x="339" y="511"/>
                    <a:pt x="338" y="542"/>
                    <a:pt x="337" y="552"/>
                  </a:cubicBezTo>
                  <a:cubicBezTo>
                    <a:pt x="286" y="552"/>
                    <a:pt x="286" y="552"/>
                    <a:pt x="286" y="552"/>
                  </a:cubicBezTo>
                  <a:cubicBezTo>
                    <a:pt x="287" y="355"/>
                    <a:pt x="415" y="309"/>
                    <a:pt x="420" y="307"/>
                  </a:cubicBezTo>
                  <a:cubicBezTo>
                    <a:pt x="433" y="302"/>
                    <a:pt x="433" y="302"/>
                    <a:pt x="433" y="302"/>
                  </a:cubicBezTo>
                  <a:lnTo>
                    <a:pt x="423" y="280"/>
                  </a:lnTo>
                  <a:close/>
                  <a:moveTo>
                    <a:pt x="551" y="552"/>
                  </a:moveTo>
                  <a:cubicBezTo>
                    <a:pt x="362" y="552"/>
                    <a:pt x="362" y="552"/>
                    <a:pt x="362" y="552"/>
                  </a:cubicBezTo>
                  <a:cubicBezTo>
                    <a:pt x="363" y="533"/>
                    <a:pt x="370" y="428"/>
                    <a:pt x="440" y="383"/>
                  </a:cubicBezTo>
                  <a:cubicBezTo>
                    <a:pt x="459" y="426"/>
                    <a:pt x="459" y="426"/>
                    <a:pt x="459" y="426"/>
                  </a:cubicBezTo>
                  <a:cubicBezTo>
                    <a:pt x="536" y="290"/>
                    <a:pt x="536" y="290"/>
                    <a:pt x="536" y="290"/>
                  </a:cubicBezTo>
                  <a:cubicBezTo>
                    <a:pt x="380" y="240"/>
                    <a:pt x="380" y="240"/>
                    <a:pt x="380" y="240"/>
                  </a:cubicBezTo>
                  <a:cubicBezTo>
                    <a:pt x="400" y="289"/>
                    <a:pt x="400" y="289"/>
                    <a:pt x="400" y="289"/>
                  </a:cubicBezTo>
                  <a:cubicBezTo>
                    <a:pt x="385" y="296"/>
                    <a:pt x="360" y="311"/>
                    <a:pt x="334" y="339"/>
                  </a:cubicBezTo>
                  <a:cubicBezTo>
                    <a:pt x="334" y="190"/>
                    <a:pt x="334" y="190"/>
                    <a:pt x="334" y="190"/>
                  </a:cubicBezTo>
                  <a:cubicBezTo>
                    <a:pt x="379" y="190"/>
                    <a:pt x="379" y="190"/>
                    <a:pt x="379" y="190"/>
                  </a:cubicBezTo>
                  <a:cubicBezTo>
                    <a:pt x="288" y="62"/>
                    <a:pt x="288" y="62"/>
                    <a:pt x="288" y="62"/>
                  </a:cubicBezTo>
                  <a:cubicBezTo>
                    <a:pt x="194" y="190"/>
                    <a:pt x="194" y="190"/>
                    <a:pt x="194" y="190"/>
                  </a:cubicBezTo>
                  <a:cubicBezTo>
                    <a:pt x="240" y="190"/>
                    <a:pt x="240" y="190"/>
                    <a:pt x="240" y="190"/>
                  </a:cubicBezTo>
                  <a:cubicBezTo>
                    <a:pt x="240" y="334"/>
                    <a:pt x="240" y="334"/>
                    <a:pt x="240" y="334"/>
                  </a:cubicBezTo>
                  <a:cubicBezTo>
                    <a:pt x="216" y="309"/>
                    <a:pt x="193" y="295"/>
                    <a:pt x="179" y="289"/>
                  </a:cubicBezTo>
                  <a:cubicBezTo>
                    <a:pt x="199" y="240"/>
                    <a:pt x="199" y="240"/>
                    <a:pt x="199" y="240"/>
                  </a:cubicBezTo>
                  <a:cubicBezTo>
                    <a:pt x="43" y="290"/>
                    <a:pt x="43" y="290"/>
                    <a:pt x="43" y="290"/>
                  </a:cubicBezTo>
                  <a:cubicBezTo>
                    <a:pt x="120" y="426"/>
                    <a:pt x="120" y="426"/>
                    <a:pt x="120" y="426"/>
                  </a:cubicBezTo>
                  <a:cubicBezTo>
                    <a:pt x="139" y="383"/>
                    <a:pt x="139" y="383"/>
                    <a:pt x="139" y="383"/>
                  </a:cubicBezTo>
                  <a:cubicBezTo>
                    <a:pt x="209" y="428"/>
                    <a:pt x="216" y="533"/>
                    <a:pt x="217"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p:spPr>
          <p:txBody>
            <a:bodyPr vert="horz" wrap="square" lIns="91440" tIns="45720" rIns="91440" bIns="45720" numCol="1" anchor="t" anchorCtr="0" compatLnSpc="1">
              <a:prstTxWarp prst="textNoShape">
                <a:avLst/>
              </a:prstTxWarp>
            </a:bodyPr>
            <a:lstStyle/>
            <a:p>
              <a:endParaRPr lang="ja-JP" altLang="en-US" b="1">
                <a:solidFill>
                  <a:schemeClr val="accent1"/>
                </a:solidFill>
              </a:endParaRPr>
            </a:p>
          </p:txBody>
        </p:sp>
        <p:sp>
          <p:nvSpPr>
            <p:cNvPr id="73" name="Freeform 101">
              <a:extLst>
                <a:ext uri="{FF2B5EF4-FFF2-40B4-BE49-F238E27FC236}">
                  <a16:creationId xmlns:a16="http://schemas.microsoft.com/office/drawing/2014/main" id="{A8132E5C-B9BE-41EF-8B35-3A57FDAA7174}"/>
                </a:ext>
              </a:extLst>
            </p:cNvPr>
            <p:cNvSpPr>
              <a:spLocks noChangeAspect="1" noEditPoints="1"/>
            </p:cNvSpPr>
            <p:nvPr/>
          </p:nvSpPr>
          <p:spPr bwMode="auto">
            <a:xfrm>
              <a:off x="2501925" y="5951879"/>
              <a:ext cx="373407" cy="368535"/>
            </a:xfrm>
            <a:custGeom>
              <a:avLst/>
              <a:gdLst>
                <a:gd name="T0" fmla="*/ 2338 w 6673"/>
                <a:gd name="T1" fmla="*/ 1482 h 6672"/>
                <a:gd name="T2" fmla="*/ 2802 w 6673"/>
                <a:gd name="T3" fmla="*/ 1294 h 6672"/>
                <a:gd name="T4" fmla="*/ 3160 w 6673"/>
                <a:gd name="T5" fmla="*/ 1688 h 6672"/>
                <a:gd name="T6" fmla="*/ 2926 w 6673"/>
                <a:gd name="T7" fmla="*/ 2130 h 6672"/>
                <a:gd name="T8" fmla="*/ 2424 w 6673"/>
                <a:gd name="T9" fmla="*/ 2082 h 6672"/>
                <a:gd name="T10" fmla="*/ 4183 w 6673"/>
                <a:gd name="T11" fmla="*/ 5708 h 6672"/>
                <a:gd name="T12" fmla="*/ 5643 w 6673"/>
                <a:gd name="T13" fmla="*/ 2460 h 6672"/>
                <a:gd name="T14" fmla="*/ 5891 w 6673"/>
                <a:gd name="T15" fmla="*/ 2146 h 6672"/>
                <a:gd name="T16" fmla="*/ 5941 w 6673"/>
                <a:gd name="T17" fmla="*/ 1752 h 6672"/>
                <a:gd name="T18" fmla="*/ 5733 w 6673"/>
                <a:gd name="T19" fmla="*/ 1344 h 6672"/>
                <a:gd name="T20" fmla="*/ 5325 w 6673"/>
                <a:gd name="T21" fmla="*/ 1136 h 6672"/>
                <a:gd name="T22" fmla="*/ 4895 w 6673"/>
                <a:gd name="T23" fmla="*/ 1200 h 6672"/>
                <a:gd name="T24" fmla="*/ 4567 w 6673"/>
                <a:gd name="T25" fmla="*/ 1512 h 6672"/>
                <a:gd name="T26" fmla="*/ 4481 w 6673"/>
                <a:gd name="T27" fmla="*/ 1930 h 6672"/>
                <a:gd name="T28" fmla="*/ 4629 w 6673"/>
                <a:gd name="T29" fmla="*/ 2308 h 6672"/>
                <a:gd name="T30" fmla="*/ 4949 w 6673"/>
                <a:gd name="T31" fmla="*/ 2548 h 6672"/>
                <a:gd name="T32" fmla="*/ 4137 w 6673"/>
                <a:gd name="T33" fmla="*/ 3810 h 6672"/>
                <a:gd name="T34" fmla="*/ 4487 w 6673"/>
                <a:gd name="T35" fmla="*/ 3612 h 6672"/>
                <a:gd name="T36" fmla="*/ 4681 w 6673"/>
                <a:gd name="T37" fmla="*/ 3258 h 6672"/>
                <a:gd name="T38" fmla="*/ 4653 w 6673"/>
                <a:gd name="T39" fmla="*/ 2844 h 6672"/>
                <a:gd name="T40" fmla="*/ 4373 w 6673"/>
                <a:gd name="T41" fmla="*/ 2486 h 6672"/>
                <a:gd name="T42" fmla="*/ 3963 w 6673"/>
                <a:gd name="T43" fmla="*/ 2362 h 6672"/>
                <a:gd name="T44" fmla="*/ 3523 w 6673"/>
                <a:gd name="T45" fmla="*/ 2508 h 6672"/>
                <a:gd name="T46" fmla="*/ 3260 w 6673"/>
                <a:gd name="T47" fmla="*/ 2878 h 6672"/>
                <a:gd name="T48" fmla="*/ 3252 w 6673"/>
                <a:gd name="T49" fmla="*/ 3290 h 6672"/>
                <a:gd name="T50" fmla="*/ 3461 w 6673"/>
                <a:gd name="T51" fmla="*/ 3634 h 6672"/>
                <a:gd name="T52" fmla="*/ 3821 w 6673"/>
                <a:gd name="T53" fmla="*/ 3818 h 6672"/>
                <a:gd name="T54" fmla="*/ 3064 w 6673"/>
                <a:gd name="T55" fmla="*/ 2380 h 6672"/>
                <a:gd name="T56" fmla="*/ 3349 w 6673"/>
                <a:gd name="T57" fmla="*/ 2102 h 6672"/>
                <a:gd name="T58" fmla="*/ 3447 w 6673"/>
                <a:gd name="T59" fmla="*/ 1734 h 6672"/>
                <a:gd name="T60" fmla="*/ 3300 w 6673"/>
                <a:gd name="T61" fmla="*/ 1294 h 6672"/>
                <a:gd name="T62" fmla="*/ 2930 w 6673"/>
                <a:gd name="T63" fmla="*/ 1032 h 6672"/>
                <a:gd name="T64" fmla="*/ 2492 w 6673"/>
                <a:gd name="T65" fmla="*/ 1032 h 6672"/>
                <a:gd name="T66" fmla="*/ 2122 w 6673"/>
                <a:gd name="T67" fmla="*/ 1294 h 6672"/>
                <a:gd name="T68" fmla="*/ 1976 w 6673"/>
                <a:gd name="T69" fmla="*/ 1734 h 6672"/>
                <a:gd name="T70" fmla="*/ 2076 w 6673"/>
                <a:gd name="T71" fmla="*/ 2102 h 6672"/>
                <a:gd name="T72" fmla="*/ 2364 w 6673"/>
                <a:gd name="T73" fmla="*/ 2382 h 6672"/>
                <a:gd name="T74" fmla="*/ 1774 w 6673"/>
                <a:gd name="T75" fmla="*/ 3812 h 6672"/>
                <a:gd name="T76" fmla="*/ 2188 w 6673"/>
                <a:gd name="T77" fmla="*/ 3262 h 6672"/>
                <a:gd name="T78" fmla="*/ 2108 w 6673"/>
                <a:gd name="T79" fmla="*/ 2798 h 6672"/>
                <a:gd name="T80" fmla="*/ 1780 w 6673"/>
                <a:gd name="T81" fmla="*/ 2486 h 6672"/>
                <a:gd name="T82" fmla="*/ 1348 w 6673"/>
                <a:gd name="T83" fmla="*/ 2422 h 6672"/>
                <a:gd name="T84" fmla="*/ 942 w 6673"/>
                <a:gd name="T85" fmla="*/ 2628 h 6672"/>
                <a:gd name="T86" fmla="*/ 734 w 6673"/>
                <a:gd name="T87" fmla="*/ 3036 h 6672"/>
                <a:gd name="T88" fmla="*/ 790 w 6673"/>
                <a:gd name="T89" fmla="*/ 3450 h 6672"/>
                <a:gd name="T90" fmla="*/ 1072 w 6673"/>
                <a:gd name="T91" fmla="*/ 3772 h 6672"/>
                <a:gd name="T92" fmla="*/ 284 w 6673"/>
                <a:gd name="T93" fmla="*/ 6388 h 6672"/>
                <a:gd name="T94" fmla="*/ 4895 w 6673"/>
                <a:gd name="T95" fmla="*/ 2182 h 6672"/>
                <a:gd name="T96" fmla="*/ 4799 w 6673"/>
                <a:gd name="T97" fmla="*/ 1688 h 6672"/>
                <a:gd name="T98" fmla="*/ 5213 w 6673"/>
                <a:gd name="T99" fmla="*/ 1412 h 6672"/>
                <a:gd name="T100" fmla="*/ 5643 w 6673"/>
                <a:gd name="T101" fmla="*/ 1730 h 6672"/>
                <a:gd name="T102" fmla="*/ 5499 w 6673"/>
                <a:gd name="T103" fmla="*/ 2210 h 6672"/>
                <a:gd name="T104" fmla="*/ 3829 w 6673"/>
                <a:gd name="T105" fmla="*/ 3526 h 6672"/>
                <a:gd name="T106" fmla="*/ 3513 w 6673"/>
                <a:gd name="T107" fmla="*/ 3096 h 6672"/>
                <a:gd name="T108" fmla="*/ 3787 w 6673"/>
                <a:gd name="T109" fmla="*/ 2682 h 6672"/>
                <a:gd name="T110" fmla="*/ 4281 w 6673"/>
                <a:gd name="T111" fmla="*/ 2778 h 6672"/>
                <a:gd name="T112" fmla="*/ 4379 w 6673"/>
                <a:gd name="T113" fmla="*/ 3272 h 6672"/>
                <a:gd name="T114" fmla="*/ 3963 w 6673"/>
                <a:gd name="T115" fmla="*/ 3548 h 6672"/>
                <a:gd name="T116" fmla="*/ 1246 w 6673"/>
                <a:gd name="T117" fmla="*/ 2752 h 6672"/>
                <a:gd name="T118" fmla="*/ 1748 w 6673"/>
                <a:gd name="T119" fmla="*/ 2800 h 6672"/>
                <a:gd name="T120" fmla="*/ 1892 w 6673"/>
                <a:gd name="T121" fmla="*/ 3282 h 6672"/>
                <a:gd name="T122" fmla="*/ 1460 w 6673"/>
                <a:gd name="T123" fmla="*/ 3598 h 6672"/>
                <a:gd name="T124" fmla="*/ 1046 w 6673"/>
                <a:gd name="T125" fmla="*/ 3324 h 6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73" h="6672">
                  <a:moveTo>
                    <a:pt x="0" y="0"/>
                  </a:moveTo>
                  <a:lnTo>
                    <a:pt x="0" y="6672"/>
                  </a:lnTo>
                  <a:lnTo>
                    <a:pt x="6673" y="6672"/>
                  </a:lnTo>
                  <a:lnTo>
                    <a:pt x="6673" y="0"/>
                  </a:lnTo>
                  <a:lnTo>
                    <a:pt x="0" y="0"/>
                  </a:lnTo>
                  <a:close/>
                  <a:moveTo>
                    <a:pt x="2260" y="1734"/>
                  </a:moveTo>
                  <a:lnTo>
                    <a:pt x="2260" y="1734"/>
                  </a:lnTo>
                  <a:lnTo>
                    <a:pt x="2264" y="1688"/>
                  </a:lnTo>
                  <a:lnTo>
                    <a:pt x="2270" y="1644"/>
                  </a:lnTo>
                  <a:lnTo>
                    <a:pt x="2280" y="1600"/>
                  </a:lnTo>
                  <a:lnTo>
                    <a:pt x="2296" y="1560"/>
                  </a:lnTo>
                  <a:lnTo>
                    <a:pt x="2316" y="1520"/>
                  </a:lnTo>
                  <a:lnTo>
                    <a:pt x="2338" y="1482"/>
                  </a:lnTo>
                  <a:lnTo>
                    <a:pt x="2364" y="1448"/>
                  </a:lnTo>
                  <a:lnTo>
                    <a:pt x="2392" y="1416"/>
                  </a:lnTo>
                  <a:lnTo>
                    <a:pt x="2424" y="1386"/>
                  </a:lnTo>
                  <a:lnTo>
                    <a:pt x="2460" y="1360"/>
                  </a:lnTo>
                  <a:lnTo>
                    <a:pt x="2496" y="1338"/>
                  </a:lnTo>
                  <a:lnTo>
                    <a:pt x="2536" y="1320"/>
                  </a:lnTo>
                  <a:lnTo>
                    <a:pt x="2578" y="1304"/>
                  </a:lnTo>
                  <a:lnTo>
                    <a:pt x="2620" y="1294"/>
                  </a:lnTo>
                  <a:lnTo>
                    <a:pt x="2666" y="1286"/>
                  </a:lnTo>
                  <a:lnTo>
                    <a:pt x="2712" y="1284"/>
                  </a:lnTo>
                  <a:lnTo>
                    <a:pt x="2712" y="1284"/>
                  </a:lnTo>
                  <a:lnTo>
                    <a:pt x="2758" y="1286"/>
                  </a:lnTo>
                  <a:lnTo>
                    <a:pt x="2802" y="1294"/>
                  </a:lnTo>
                  <a:lnTo>
                    <a:pt x="2846" y="1304"/>
                  </a:lnTo>
                  <a:lnTo>
                    <a:pt x="2886" y="1320"/>
                  </a:lnTo>
                  <a:lnTo>
                    <a:pt x="2926" y="1338"/>
                  </a:lnTo>
                  <a:lnTo>
                    <a:pt x="2964" y="1360"/>
                  </a:lnTo>
                  <a:lnTo>
                    <a:pt x="2998" y="1386"/>
                  </a:lnTo>
                  <a:lnTo>
                    <a:pt x="3030" y="1416"/>
                  </a:lnTo>
                  <a:lnTo>
                    <a:pt x="3058" y="1448"/>
                  </a:lnTo>
                  <a:lnTo>
                    <a:pt x="3084" y="1482"/>
                  </a:lnTo>
                  <a:lnTo>
                    <a:pt x="3108" y="1520"/>
                  </a:lnTo>
                  <a:lnTo>
                    <a:pt x="3126" y="1560"/>
                  </a:lnTo>
                  <a:lnTo>
                    <a:pt x="3142" y="1600"/>
                  </a:lnTo>
                  <a:lnTo>
                    <a:pt x="3152" y="1644"/>
                  </a:lnTo>
                  <a:lnTo>
                    <a:pt x="3160" y="1688"/>
                  </a:lnTo>
                  <a:lnTo>
                    <a:pt x="3162" y="1734"/>
                  </a:lnTo>
                  <a:lnTo>
                    <a:pt x="3162" y="1734"/>
                  </a:lnTo>
                  <a:lnTo>
                    <a:pt x="3160" y="1780"/>
                  </a:lnTo>
                  <a:lnTo>
                    <a:pt x="3152" y="1826"/>
                  </a:lnTo>
                  <a:lnTo>
                    <a:pt x="3142" y="1868"/>
                  </a:lnTo>
                  <a:lnTo>
                    <a:pt x="3126" y="1910"/>
                  </a:lnTo>
                  <a:lnTo>
                    <a:pt x="3108" y="1950"/>
                  </a:lnTo>
                  <a:lnTo>
                    <a:pt x="3084" y="1986"/>
                  </a:lnTo>
                  <a:lnTo>
                    <a:pt x="3058" y="2022"/>
                  </a:lnTo>
                  <a:lnTo>
                    <a:pt x="3030" y="2054"/>
                  </a:lnTo>
                  <a:lnTo>
                    <a:pt x="2998" y="2082"/>
                  </a:lnTo>
                  <a:lnTo>
                    <a:pt x="2964" y="2108"/>
                  </a:lnTo>
                  <a:lnTo>
                    <a:pt x="2926" y="2130"/>
                  </a:lnTo>
                  <a:lnTo>
                    <a:pt x="2886" y="2150"/>
                  </a:lnTo>
                  <a:lnTo>
                    <a:pt x="2846" y="2164"/>
                  </a:lnTo>
                  <a:lnTo>
                    <a:pt x="2802" y="2176"/>
                  </a:lnTo>
                  <a:lnTo>
                    <a:pt x="2758" y="2182"/>
                  </a:lnTo>
                  <a:lnTo>
                    <a:pt x="2712" y="2186"/>
                  </a:lnTo>
                  <a:lnTo>
                    <a:pt x="2712" y="2186"/>
                  </a:lnTo>
                  <a:lnTo>
                    <a:pt x="2666" y="2182"/>
                  </a:lnTo>
                  <a:lnTo>
                    <a:pt x="2620" y="2176"/>
                  </a:lnTo>
                  <a:lnTo>
                    <a:pt x="2578" y="2164"/>
                  </a:lnTo>
                  <a:lnTo>
                    <a:pt x="2536" y="2150"/>
                  </a:lnTo>
                  <a:lnTo>
                    <a:pt x="2496" y="2130"/>
                  </a:lnTo>
                  <a:lnTo>
                    <a:pt x="2460" y="2108"/>
                  </a:lnTo>
                  <a:lnTo>
                    <a:pt x="2424" y="2082"/>
                  </a:lnTo>
                  <a:lnTo>
                    <a:pt x="2392" y="2054"/>
                  </a:lnTo>
                  <a:lnTo>
                    <a:pt x="2364" y="2022"/>
                  </a:lnTo>
                  <a:lnTo>
                    <a:pt x="2338" y="1986"/>
                  </a:lnTo>
                  <a:lnTo>
                    <a:pt x="2316" y="1950"/>
                  </a:lnTo>
                  <a:lnTo>
                    <a:pt x="2296" y="1910"/>
                  </a:lnTo>
                  <a:lnTo>
                    <a:pt x="2280" y="1868"/>
                  </a:lnTo>
                  <a:lnTo>
                    <a:pt x="2270" y="1826"/>
                  </a:lnTo>
                  <a:lnTo>
                    <a:pt x="2264" y="1780"/>
                  </a:lnTo>
                  <a:lnTo>
                    <a:pt x="2260" y="1734"/>
                  </a:lnTo>
                  <a:lnTo>
                    <a:pt x="2260" y="1734"/>
                  </a:lnTo>
                  <a:close/>
                  <a:moveTo>
                    <a:pt x="6389" y="6388"/>
                  </a:moveTo>
                  <a:lnTo>
                    <a:pt x="4183" y="6388"/>
                  </a:lnTo>
                  <a:lnTo>
                    <a:pt x="4183" y="5708"/>
                  </a:lnTo>
                  <a:lnTo>
                    <a:pt x="5355" y="4732"/>
                  </a:lnTo>
                  <a:lnTo>
                    <a:pt x="5355" y="2584"/>
                  </a:lnTo>
                  <a:lnTo>
                    <a:pt x="5355" y="2584"/>
                  </a:lnTo>
                  <a:lnTo>
                    <a:pt x="5387" y="2578"/>
                  </a:lnTo>
                  <a:lnTo>
                    <a:pt x="5419" y="2568"/>
                  </a:lnTo>
                  <a:lnTo>
                    <a:pt x="5449" y="2560"/>
                  </a:lnTo>
                  <a:lnTo>
                    <a:pt x="5479" y="2548"/>
                  </a:lnTo>
                  <a:lnTo>
                    <a:pt x="5507" y="2536"/>
                  </a:lnTo>
                  <a:lnTo>
                    <a:pt x="5535" y="2524"/>
                  </a:lnTo>
                  <a:lnTo>
                    <a:pt x="5563" y="2510"/>
                  </a:lnTo>
                  <a:lnTo>
                    <a:pt x="5591" y="2494"/>
                  </a:lnTo>
                  <a:lnTo>
                    <a:pt x="5617" y="2476"/>
                  </a:lnTo>
                  <a:lnTo>
                    <a:pt x="5643" y="2460"/>
                  </a:lnTo>
                  <a:lnTo>
                    <a:pt x="5667" y="2440"/>
                  </a:lnTo>
                  <a:lnTo>
                    <a:pt x="5691" y="2420"/>
                  </a:lnTo>
                  <a:lnTo>
                    <a:pt x="5715" y="2400"/>
                  </a:lnTo>
                  <a:lnTo>
                    <a:pt x="5737" y="2378"/>
                  </a:lnTo>
                  <a:lnTo>
                    <a:pt x="5759" y="2356"/>
                  </a:lnTo>
                  <a:lnTo>
                    <a:pt x="5779" y="2332"/>
                  </a:lnTo>
                  <a:lnTo>
                    <a:pt x="5799" y="2308"/>
                  </a:lnTo>
                  <a:lnTo>
                    <a:pt x="5817" y="2282"/>
                  </a:lnTo>
                  <a:lnTo>
                    <a:pt x="5833" y="2258"/>
                  </a:lnTo>
                  <a:lnTo>
                    <a:pt x="5851" y="2230"/>
                  </a:lnTo>
                  <a:lnTo>
                    <a:pt x="5865" y="2204"/>
                  </a:lnTo>
                  <a:lnTo>
                    <a:pt x="5879" y="2174"/>
                  </a:lnTo>
                  <a:lnTo>
                    <a:pt x="5891" y="2146"/>
                  </a:lnTo>
                  <a:lnTo>
                    <a:pt x="5903" y="2116"/>
                  </a:lnTo>
                  <a:lnTo>
                    <a:pt x="5913" y="2086"/>
                  </a:lnTo>
                  <a:lnTo>
                    <a:pt x="5923" y="2056"/>
                  </a:lnTo>
                  <a:lnTo>
                    <a:pt x="5931" y="2026"/>
                  </a:lnTo>
                  <a:lnTo>
                    <a:pt x="5937" y="1994"/>
                  </a:lnTo>
                  <a:lnTo>
                    <a:pt x="5943" y="1962"/>
                  </a:lnTo>
                  <a:lnTo>
                    <a:pt x="5945" y="1930"/>
                  </a:lnTo>
                  <a:lnTo>
                    <a:pt x="5947" y="1896"/>
                  </a:lnTo>
                  <a:lnTo>
                    <a:pt x="5949" y="1864"/>
                  </a:lnTo>
                  <a:lnTo>
                    <a:pt x="5949" y="1864"/>
                  </a:lnTo>
                  <a:lnTo>
                    <a:pt x="5947" y="1826"/>
                  </a:lnTo>
                  <a:lnTo>
                    <a:pt x="5945" y="1788"/>
                  </a:lnTo>
                  <a:lnTo>
                    <a:pt x="5941" y="1752"/>
                  </a:lnTo>
                  <a:lnTo>
                    <a:pt x="5933" y="1716"/>
                  </a:lnTo>
                  <a:lnTo>
                    <a:pt x="5925" y="1680"/>
                  </a:lnTo>
                  <a:lnTo>
                    <a:pt x="5915" y="1644"/>
                  </a:lnTo>
                  <a:lnTo>
                    <a:pt x="5903" y="1610"/>
                  </a:lnTo>
                  <a:lnTo>
                    <a:pt x="5891" y="1578"/>
                  </a:lnTo>
                  <a:lnTo>
                    <a:pt x="5877" y="1544"/>
                  </a:lnTo>
                  <a:lnTo>
                    <a:pt x="5859" y="1512"/>
                  </a:lnTo>
                  <a:lnTo>
                    <a:pt x="5843" y="1482"/>
                  </a:lnTo>
                  <a:lnTo>
                    <a:pt x="5823" y="1452"/>
                  </a:lnTo>
                  <a:lnTo>
                    <a:pt x="5803" y="1424"/>
                  </a:lnTo>
                  <a:lnTo>
                    <a:pt x="5781" y="1396"/>
                  </a:lnTo>
                  <a:lnTo>
                    <a:pt x="5757" y="1368"/>
                  </a:lnTo>
                  <a:lnTo>
                    <a:pt x="5733" y="1344"/>
                  </a:lnTo>
                  <a:lnTo>
                    <a:pt x="5707" y="1320"/>
                  </a:lnTo>
                  <a:lnTo>
                    <a:pt x="5681" y="1296"/>
                  </a:lnTo>
                  <a:lnTo>
                    <a:pt x="5653" y="1274"/>
                  </a:lnTo>
                  <a:lnTo>
                    <a:pt x="5625" y="1254"/>
                  </a:lnTo>
                  <a:lnTo>
                    <a:pt x="5595" y="1234"/>
                  </a:lnTo>
                  <a:lnTo>
                    <a:pt x="5563" y="1216"/>
                  </a:lnTo>
                  <a:lnTo>
                    <a:pt x="5531" y="1200"/>
                  </a:lnTo>
                  <a:lnTo>
                    <a:pt x="5499" y="1186"/>
                  </a:lnTo>
                  <a:lnTo>
                    <a:pt x="5465" y="1172"/>
                  </a:lnTo>
                  <a:lnTo>
                    <a:pt x="5431" y="1160"/>
                  </a:lnTo>
                  <a:lnTo>
                    <a:pt x="5397" y="1150"/>
                  </a:lnTo>
                  <a:lnTo>
                    <a:pt x="5361" y="1142"/>
                  </a:lnTo>
                  <a:lnTo>
                    <a:pt x="5325" y="1136"/>
                  </a:lnTo>
                  <a:lnTo>
                    <a:pt x="5289" y="1132"/>
                  </a:lnTo>
                  <a:lnTo>
                    <a:pt x="5251" y="1128"/>
                  </a:lnTo>
                  <a:lnTo>
                    <a:pt x="5213" y="1128"/>
                  </a:lnTo>
                  <a:lnTo>
                    <a:pt x="5213" y="1128"/>
                  </a:lnTo>
                  <a:lnTo>
                    <a:pt x="5175" y="1128"/>
                  </a:lnTo>
                  <a:lnTo>
                    <a:pt x="5139" y="1132"/>
                  </a:lnTo>
                  <a:lnTo>
                    <a:pt x="5101" y="1136"/>
                  </a:lnTo>
                  <a:lnTo>
                    <a:pt x="5065" y="1142"/>
                  </a:lnTo>
                  <a:lnTo>
                    <a:pt x="5029" y="1150"/>
                  </a:lnTo>
                  <a:lnTo>
                    <a:pt x="4995" y="1160"/>
                  </a:lnTo>
                  <a:lnTo>
                    <a:pt x="4961" y="1172"/>
                  </a:lnTo>
                  <a:lnTo>
                    <a:pt x="4927" y="1186"/>
                  </a:lnTo>
                  <a:lnTo>
                    <a:pt x="4895" y="1200"/>
                  </a:lnTo>
                  <a:lnTo>
                    <a:pt x="4863" y="1216"/>
                  </a:lnTo>
                  <a:lnTo>
                    <a:pt x="4833" y="1234"/>
                  </a:lnTo>
                  <a:lnTo>
                    <a:pt x="4803" y="1254"/>
                  </a:lnTo>
                  <a:lnTo>
                    <a:pt x="4773" y="1274"/>
                  </a:lnTo>
                  <a:lnTo>
                    <a:pt x="4747" y="1296"/>
                  </a:lnTo>
                  <a:lnTo>
                    <a:pt x="4719" y="1320"/>
                  </a:lnTo>
                  <a:lnTo>
                    <a:pt x="4693" y="1344"/>
                  </a:lnTo>
                  <a:lnTo>
                    <a:pt x="4669" y="1368"/>
                  </a:lnTo>
                  <a:lnTo>
                    <a:pt x="4647" y="1396"/>
                  </a:lnTo>
                  <a:lnTo>
                    <a:pt x="4625" y="1424"/>
                  </a:lnTo>
                  <a:lnTo>
                    <a:pt x="4603" y="1452"/>
                  </a:lnTo>
                  <a:lnTo>
                    <a:pt x="4585" y="1482"/>
                  </a:lnTo>
                  <a:lnTo>
                    <a:pt x="4567" y="1512"/>
                  </a:lnTo>
                  <a:lnTo>
                    <a:pt x="4551" y="1544"/>
                  </a:lnTo>
                  <a:lnTo>
                    <a:pt x="4537" y="1578"/>
                  </a:lnTo>
                  <a:lnTo>
                    <a:pt x="4523" y="1610"/>
                  </a:lnTo>
                  <a:lnTo>
                    <a:pt x="4511" y="1644"/>
                  </a:lnTo>
                  <a:lnTo>
                    <a:pt x="4501" y="1680"/>
                  </a:lnTo>
                  <a:lnTo>
                    <a:pt x="4493" y="1716"/>
                  </a:lnTo>
                  <a:lnTo>
                    <a:pt x="4487" y="1752"/>
                  </a:lnTo>
                  <a:lnTo>
                    <a:pt x="4483" y="1788"/>
                  </a:lnTo>
                  <a:lnTo>
                    <a:pt x="4479" y="1826"/>
                  </a:lnTo>
                  <a:lnTo>
                    <a:pt x="4479" y="1864"/>
                  </a:lnTo>
                  <a:lnTo>
                    <a:pt x="4479" y="1864"/>
                  </a:lnTo>
                  <a:lnTo>
                    <a:pt x="4479" y="1896"/>
                  </a:lnTo>
                  <a:lnTo>
                    <a:pt x="4481" y="1930"/>
                  </a:lnTo>
                  <a:lnTo>
                    <a:pt x="4485" y="1962"/>
                  </a:lnTo>
                  <a:lnTo>
                    <a:pt x="4489" y="1994"/>
                  </a:lnTo>
                  <a:lnTo>
                    <a:pt x="4497" y="2026"/>
                  </a:lnTo>
                  <a:lnTo>
                    <a:pt x="4505" y="2056"/>
                  </a:lnTo>
                  <a:lnTo>
                    <a:pt x="4513" y="2086"/>
                  </a:lnTo>
                  <a:lnTo>
                    <a:pt x="4523" y="2116"/>
                  </a:lnTo>
                  <a:lnTo>
                    <a:pt x="4535" y="2146"/>
                  </a:lnTo>
                  <a:lnTo>
                    <a:pt x="4547" y="2174"/>
                  </a:lnTo>
                  <a:lnTo>
                    <a:pt x="4561" y="2204"/>
                  </a:lnTo>
                  <a:lnTo>
                    <a:pt x="4577" y="2230"/>
                  </a:lnTo>
                  <a:lnTo>
                    <a:pt x="4593" y="2258"/>
                  </a:lnTo>
                  <a:lnTo>
                    <a:pt x="4611" y="2282"/>
                  </a:lnTo>
                  <a:lnTo>
                    <a:pt x="4629" y="2308"/>
                  </a:lnTo>
                  <a:lnTo>
                    <a:pt x="4649" y="2332"/>
                  </a:lnTo>
                  <a:lnTo>
                    <a:pt x="4669" y="2356"/>
                  </a:lnTo>
                  <a:lnTo>
                    <a:pt x="4689" y="2378"/>
                  </a:lnTo>
                  <a:lnTo>
                    <a:pt x="4713" y="2400"/>
                  </a:lnTo>
                  <a:lnTo>
                    <a:pt x="4735" y="2420"/>
                  </a:lnTo>
                  <a:lnTo>
                    <a:pt x="4759" y="2440"/>
                  </a:lnTo>
                  <a:lnTo>
                    <a:pt x="4785" y="2460"/>
                  </a:lnTo>
                  <a:lnTo>
                    <a:pt x="4809" y="2476"/>
                  </a:lnTo>
                  <a:lnTo>
                    <a:pt x="4837" y="2494"/>
                  </a:lnTo>
                  <a:lnTo>
                    <a:pt x="4863" y="2510"/>
                  </a:lnTo>
                  <a:lnTo>
                    <a:pt x="4891" y="2524"/>
                  </a:lnTo>
                  <a:lnTo>
                    <a:pt x="4919" y="2536"/>
                  </a:lnTo>
                  <a:lnTo>
                    <a:pt x="4949" y="2548"/>
                  </a:lnTo>
                  <a:lnTo>
                    <a:pt x="4979" y="2560"/>
                  </a:lnTo>
                  <a:lnTo>
                    <a:pt x="5009" y="2568"/>
                  </a:lnTo>
                  <a:lnTo>
                    <a:pt x="5039" y="2578"/>
                  </a:lnTo>
                  <a:lnTo>
                    <a:pt x="5071" y="2584"/>
                  </a:lnTo>
                  <a:lnTo>
                    <a:pt x="5071" y="4600"/>
                  </a:lnTo>
                  <a:lnTo>
                    <a:pt x="3899" y="5576"/>
                  </a:lnTo>
                  <a:lnTo>
                    <a:pt x="3899" y="6388"/>
                  </a:lnTo>
                  <a:lnTo>
                    <a:pt x="3567" y="6388"/>
                  </a:lnTo>
                  <a:lnTo>
                    <a:pt x="3567" y="4988"/>
                  </a:lnTo>
                  <a:lnTo>
                    <a:pt x="4105" y="4526"/>
                  </a:lnTo>
                  <a:lnTo>
                    <a:pt x="4105" y="3818"/>
                  </a:lnTo>
                  <a:lnTo>
                    <a:pt x="4105" y="3818"/>
                  </a:lnTo>
                  <a:lnTo>
                    <a:pt x="4137" y="3810"/>
                  </a:lnTo>
                  <a:lnTo>
                    <a:pt x="4167" y="3802"/>
                  </a:lnTo>
                  <a:lnTo>
                    <a:pt x="4197" y="3792"/>
                  </a:lnTo>
                  <a:lnTo>
                    <a:pt x="4227" y="3782"/>
                  </a:lnTo>
                  <a:lnTo>
                    <a:pt x="4257" y="3770"/>
                  </a:lnTo>
                  <a:lnTo>
                    <a:pt x="4285" y="3756"/>
                  </a:lnTo>
                  <a:lnTo>
                    <a:pt x="4313" y="3742"/>
                  </a:lnTo>
                  <a:lnTo>
                    <a:pt x="4341" y="3726"/>
                  </a:lnTo>
                  <a:lnTo>
                    <a:pt x="4367" y="3710"/>
                  </a:lnTo>
                  <a:lnTo>
                    <a:pt x="4393" y="3692"/>
                  </a:lnTo>
                  <a:lnTo>
                    <a:pt x="4417" y="3674"/>
                  </a:lnTo>
                  <a:lnTo>
                    <a:pt x="4441" y="3654"/>
                  </a:lnTo>
                  <a:lnTo>
                    <a:pt x="4465" y="3634"/>
                  </a:lnTo>
                  <a:lnTo>
                    <a:pt x="4487" y="3612"/>
                  </a:lnTo>
                  <a:lnTo>
                    <a:pt x="4507" y="3590"/>
                  </a:lnTo>
                  <a:lnTo>
                    <a:pt x="4529" y="3566"/>
                  </a:lnTo>
                  <a:lnTo>
                    <a:pt x="4547" y="3542"/>
                  </a:lnTo>
                  <a:lnTo>
                    <a:pt x="4565" y="3516"/>
                  </a:lnTo>
                  <a:lnTo>
                    <a:pt x="4583" y="3490"/>
                  </a:lnTo>
                  <a:lnTo>
                    <a:pt x="4599" y="3464"/>
                  </a:lnTo>
                  <a:lnTo>
                    <a:pt x="4615" y="3436"/>
                  </a:lnTo>
                  <a:lnTo>
                    <a:pt x="4629" y="3408"/>
                  </a:lnTo>
                  <a:lnTo>
                    <a:pt x="4641" y="3380"/>
                  </a:lnTo>
                  <a:lnTo>
                    <a:pt x="4653" y="3350"/>
                  </a:lnTo>
                  <a:lnTo>
                    <a:pt x="4663" y="3320"/>
                  </a:lnTo>
                  <a:lnTo>
                    <a:pt x="4673" y="3290"/>
                  </a:lnTo>
                  <a:lnTo>
                    <a:pt x="4681" y="3258"/>
                  </a:lnTo>
                  <a:lnTo>
                    <a:pt x="4687" y="3228"/>
                  </a:lnTo>
                  <a:lnTo>
                    <a:pt x="4691" y="3196"/>
                  </a:lnTo>
                  <a:lnTo>
                    <a:pt x="4695" y="3162"/>
                  </a:lnTo>
                  <a:lnTo>
                    <a:pt x="4697" y="3130"/>
                  </a:lnTo>
                  <a:lnTo>
                    <a:pt x="4699" y="3096"/>
                  </a:lnTo>
                  <a:lnTo>
                    <a:pt x="4699" y="3096"/>
                  </a:lnTo>
                  <a:lnTo>
                    <a:pt x="4697" y="3058"/>
                  </a:lnTo>
                  <a:lnTo>
                    <a:pt x="4695" y="3022"/>
                  </a:lnTo>
                  <a:lnTo>
                    <a:pt x="4689" y="2984"/>
                  </a:lnTo>
                  <a:lnTo>
                    <a:pt x="4683" y="2948"/>
                  </a:lnTo>
                  <a:lnTo>
                    <a:pt x="4675" y="2912"/>
                  </a:lnTo>
                  <a:lnTo>
                    <a:pt x="4665" y="2878"/>
                  </a:lnTo>
                  <a:lnTo>
                    <a:pt x="4653" y="2844"/>
                  </a:lnTo>
                  <a:lnTo>
                    <a:pt x="4641" y="2810"/>
                  </a:lnTo>
                  <a:lnTo>
                    <a:pt x="4625" y="2778"/>
                  </a:lnTo>
                  <a:lnTo>
                    <a:pt x="4609" y="2746"/>
                  </a:lnTo>
                  <a:lnTo>
                    <a:pt x="4591" y="2716"/>
                  </a:lnTo>
                  <a:lnTo>
                    <a:pt x="4573" y="2686"/>
                  </a:lnTo>
                  <a:lnTo>
                    <a:pt x="4551" y="2656"/>
                  </a:lnTo>
                  <a:lnTo>
                    <a:pt x="4531" y="2630"/>
                  </a:lnTo>
                  <a:lnTo>
                    <a:pt x="4507" y="2602"/>
                  </a:lnTo>
                  <a:lnTo>
                    <a:pt x="4483" y="2576"/>
                  </a:lnTo>
                  <a:lnTo>
                    <a:pt x="4457" y="2552"/>
                  </a:lnTo>
                  <a:lnTo>
                    <a:pt x="4431" y="2530"/>
                  </a:lnTo>
                  <a:lnTo>
                    <a:pt x="4403" y="2508"/>
                  </a:lnTo>
                  <a:lnTo>
                    <a:pt x="4373" y="2486"/>
                  </a:lnTo>
                  <a:lnTo>
                    <a:pt x="4343" y="2468"/>
                  </a:lnTo>
                  <a:lnTo>
                    <a:pt x="4313" y="2450"/>
                  </a:lnTo>
                  <a:lnTo>
                    <a:pt x="4281" y="2434"/>
                  </a:lnTo>
                  <a:lnTo>
                    <a:pt x="4249" y="2420"/>
                  </a:lnTo>
                  <a:lnTo>
                    <a:pt x="4215" y="2406"/>
                  </a:lnTo>
                  <a:lnTo>
                    <a:pt x="4181" y="2394"/>
                  </a:lnTo>
                  <a:lnTo>
                    <a:pt x="4147" y="2384"/>
                  </a:lnTo>
                  <a:lnTo>
                    <a:pt x="4111" y="2376"/>
                  </a:lnTo>
                  <a:lnTo>
                    <a:pt x="4075" y="2370"/>
                  </a:lnTo>
                  <a:lnTo>
                    <a:pt x="4037" y="2366"/>
                  </a:lnTo>
                  <a:lnTo>
                    <a:pt x="4001" y="2362"/>
                  </a:lnTo>
                  <a:lnTo>
                    <a:pt x="3963" y="2362"/>
                  </a:lnTo>
                  <a:lnTo>
                    <a:pt x="3963" y="2362"/>
                  </a:lnTo>
                  <a:lnTo>
                    <a:pt x="3925" y="2362"/>
                  </a:lnTo>
                  <a:lnTo>
                    <a:pt x="3887" y="2366"/>
                  </a:lnTo>
                  <a:lnTo>
                    <a:pt x="3851" y="2370"/>
                  </a:lnTo>
                  <a:lnTo>
                    <a:pt x="3815" y="2376"/>
                  </a:lnTo>
                  <a:lnTo>
                    <a:pt x="3779" y="2384"/>
                  </a:lnTo>
                  <a:lnTo>
                    <a:pt x="3745" y="2394"/>
                  </a:lnTo>
                  <a:lnTo>
                    <a:pt x="3711" y="2406"/>
                  </a:lnTo>
                  <a:lnTo>
                    <a:pt x="3677" y="2420"/>
                  </a:lnTo>
                  <a:lnTo>
                    <a:pt x="3645" y="2434"/>
                  </a:lnTo>
                  <a:lnTo>
                    <a:pt x="3613" y="2450"/>
                  </a:lnTo>
                  <a:lnTo>
                    <a:pt x="3581" y="2468"/>
                  </a:lnTo>
                  <a:lnTo>
                    <a:pt x="3553" y="2486"/>
                  </a:lnTo>
                  <a:lnTo>
                    <a:pt x="3523" y="2508"/>
                  </a:lnTo>
                  <a:lnTo>
                    <a:pt x="3495" y="2530"/>
                  </a:lnTo>
                  <a:lnTo>
                    <a:pt x="3469" y="2552"/>
                  </a:lnTo>
                  <a:lnTo>
                    <a:pt x="3443" y="2576"/>
                  </a:lnTo>
                  <a:lnTo>
                    <a:pt x="3419" y="2602"/>
                  </a:lnTo>
                  <a:lnTo>
                    <a:pt x="3395" y="2630"/>
                  </a:lnTo>
                  <a:lnTo>
                    <a:pt x="3373" y="2656"/>
                  </a:lnTo>
                  <a:lnTo>
                    <a:pt x="3353" y="2686"/>
                  </a:lnTo>
                  <a:lnTo>
                    <a:pt x="3334" y="2716"/>
                  </a:lnTo>
                  <a:lnTo>
                    <a:pt x="3316" y="2746"/>
                  </a:lnTo>
                  <a:lnTo>
                    <a:pt x="3300" y="2778"/>
                  </a:lnTo>
                  <a:lnTo>
                    <a:pt x="3284" y="2810"/>
                  </a:lnTo>
                  <a:lnTo>
                    <a:pt x="3272" y="2844"/>
                  </a:lnTo>
                  <a:lnTo>
                    <a:pt x="3260" y="2878"/>
                  </a:lnTo>
                  <a:lnTo>
                    <a:pt x="3250" y="2912"/>
                  </a:lnTo>
                  <a:lnTo>
                    <a:pt x="3242" y="2948"/>
                  </a:lnTo>
                  <a:lnTo>
                    <a:pt x="3236" y="2984"/>
                  </a:lnTo>
                  <a:lnTo>
                    <a:pt x="3230" y="3022"/>
                  </a:lnTo>
                  <a:lnTo>
                    <a:pt x="3228" y="3058"/>
                  </a:lnTo>
                  <a:lnTo>
                    <a:pt x="3226" y="3096"/>
                  </a:lnTo>
                  <a:lnTo>
                    <a:pt x="3226" y="3096"/>
                  </a:lnTo>
                  <a:lnTo>
                    <a:pt x="3228" y="3130"/>
                  </a:lnTo>
                  <a:lnTo>
                    <a:pt x="3230" y="3162"/>
                  </a:lnTo>
                  <a:lnTo>
                    <a:pt x="3234" y="3196"/>
                  </a:lnTo>
                  <a:lnTo>
                    <a:pt x="3238" y="3228"/>
                  </a:lnTo>
                  <a:lnTo>
                    <a:pt x="3244" y="3258"/>
                  </a:lnTo>
                  <a:lnTo>
                    <a:pt x="3252" y="3290"/>
                  </a:lnTo>
                  <a:lnTo>
                    <a:pt x="3262" y="3320"/>
                  </a:lnTo>
                  <a:lnTo>
                    <a:pt x="3272" y="3350"/>
                  </a:lnTo>
                  <a:lnTo>
                    <a:pt x="3284" y="3380"/>
                  </a:lnTo>
                  <a:lnTo>
                    <a:pt x="3296" y="3408"/>
                  </a:lnTo>
                  <a:lnTo>
                    <a:pt x="3310" y="3436"/>
                  </a:lnTo>
                  <a:lnTo>
                    <a:pt x="3326" y="3464"/>
                  </a:lnTo>
                  <a:lnTo>
                    <a:pt x="3343" y="3490"/>
                  </a:lnTo>
                  <a:lnTo>
                    <a:pt x="3359" y="3516"/>
                  </a:lnTo>
                  <a:lnTo>
                    <a:pt x="3379" y="3542"/>
                  </a:lnTo>
                  <a:lnTo>
                    <a:pt x="3397" y="3566"/>
                  </a:lnTo>
                  <a:lnTo>
                    <a:pt x="3417" y="3590"/>
                  </a:lnTo>
                  <a:lnTo>
                    <a:pt x="3439" y="3612"/>
                  </a:lnTo>
                  <a:lnTo>
                    <a:pt x="3461" y="3634"/>
                  </a:lnTo>
                  <a:lnTo>
                    <a:pt x="3485" y="3654"/>
                  </a:lnTo>
                  <a:lnTo>
                    <a:pt x="3509" y="3674"/>
                  </a:lnTo>
                  <a:lnTo>
                    <a:pt x="3533" y="3692"/>
                  </a:lnTo>
                  <a:lnTo>
                    <a:pt x="3559" y="3710"/>
                  </a:lnTo>
                  <a:lnTo>
                    <a:pt x="3585" y="3726"/>
                  </a:lnTo>
                  <a:lnTo>
                    <a:pt x="3613" y="3742"/>
                  </a:lnTo>
                  <a:lnTo>
                    <a:pt x="3641" y="3756"/>
                  </a:lnTo>
                  <a:lnTo>
                    <a:pt x="3669" y="3770"/>
                  </a:lnTo>
                  <a:lnTo>
                    <a:pt x="3699" y="3782"/>
                  </a:lnTo>
                  <a:lnTo>
                    <a:pt x="3729" y="3792"/>
                  </a:lnTo>
                  <a:lnTo>
                    <a:pt x="3759" y="3802"/>
                  </a:lnTo>
                  <a:lnTo>
                    <a:pt x="3789" y="3810"/>
                  </a:lnTo>
                  <a:lnTo>
                    <a:pt x="3821" y="3818"/>
                  </a:lnTo>
                  <a:lnTo>
                    <a:pt x="3821" y="4394"/>
                  </a:lnTo>
                  <a:lnTo>
                    <a:pt x="3282" y="4858"/>
                  </a:lnTo>
                  <a:lnTo>
                    <a:pt x="3282" y="6388"/>
                  </a:lnTo>
                  <a:lnTo>
                    <a:pt x="2948" y="6388"/>
                  </a:lnTo>
                  <a:lnTo>
                    <a:pt x="2856" y="2456"/>
                  </a:lnTo>
                  <a:lnTo>
                    <a:pt x="2856" y="2456"/>
                  </a:lnTo>
                  <a:lnTo>
                    <a:pt x="2888" y="2448"/>
                  </a:lnTo>
                  <a:lnTo>
                    <a:pt x="2918" y="2440"/>
                  </a:lnTo>
                  <a:lnTo>
                    <a:pt x="2948" y="2430"/>
                  </a:lnTo>
                  <a:lnTo>
                    <a:pt x="2978" y="2420"/>
                  </a:lnTo>
                  <a:lnTo>
                    <a:pt x="3008" y="2408"/>
                  </a:lnTo>
                  <a:lnTo>
                    <a:pt x="3036" y="2394"/>
                  </a:lnTo>
                  <a:lnTo>
                    <a:pt x="3064" y="2380"/>
                  </a:lnTo>
                  <a:lnTo>
                    <a:pt x="3090" y="2364"/>
                  </a:lnTo>
                  <a:lnTo>
                    <a:pt x="3116" y="2348"/>
                  </a:lnTo>
                  <a:lnTo>
                    <a:pt x="3142" y="2330"/>
                  </a:lnTo>
                  <a:lnTo>
                    <a:pt x="3168" y="2310"/>
                  </a:lnTo>
                  <a:lnTo>
                    <a:pt x="3190" y="2292"/>
                  </a:lnTo>
                  <a:lnTo>
                    <a:pt x="3214" y="2270"/>
                  </a:lnTo>
                  <a:lnTo>
                    <a:pt x="3236" y="2248"/>
                  </a:lnTo>
                  <a:lnTo>
                    <a:pt x="3258" y="2226"/>
                  </a:lnTo>
                  <a:lnTo>
                    <a:pt x="3278" y="2202"/>
                  </a:lnTo>
                  <a:lnTo>
                    <a:pt x="3296" y="2178"/>
                  </a:lnTo>
                  <a:lnTo>
                    <a:pt x="3316" y="2154"/>
                  </a:lnTo>
                  <a:lnTo>
                    <a:pt x="3332" y="2128"/>
                  </a:lnTo>
                  <a:lnTo>
                    <a:pt x="3349" y="2102"/>
                  </a:lnTo>
                  <a:lnTo>
                    <a:pt x="3365" y="2074"/>
                  </a:lnTo>
                  <a:lnTo>
                    <a:pt x="3379" y="2046"/>
                  </a:lnTo>
                  <a:lnTo>
                    <a:pt x="3391" y="2016"/>
                  </a:lnTo>
                  <a:lnTo>
                    <a:pt x="3403" y="1988"/>
                  </a:lnTo>
                  <a:lnTo>
                    <a:pt x="3413" y="1958"/>
                  </a:lnTo>
                  <a:lnTo>
                    <a:pt x="3421" y="1928"/>
                  </a:lnTo>
                  <a:lnTo>
                    <a:pt x="3429" y="1896"/>
                  </a:lnTo>
                  <a:lnTo>
                    <a:pt x="3435" y="1864"/>
                  </a:lnTo>
                  <a:lnTo>
                    <a:pt x="3441" y="1832"/>
                  </a:lnTo>
                  <a:lnTo>
                    <a:pt x="3445" y="1800"/>
                  </a:lnTo>
                  <a:lnTo>
                    <a:pt x="3447" y="1768"/>
                  </a:lnTo>
                  <a:lnTo>
                    <a:pt x="3447" y="1734"/>
                  </a:lnTo>
                  <a:lnTo>
                    <a:pt x="3447" y="1734"/>
                  </a:lnTo>
                  <a:lnTo>
                    <a:pt x="3447" y="1696"/>
                  </a:lnTo>
                  <a:lnTo>
                    <a:pt x="3443" y="1660"/>
                  </a:lnTo>
                  <a:lnTo>
                    <a:pt x="3439" y="1622"/>
                  </a:lnTo>
                  <a:lnTo>
                    <a:pt x="3433" y="1586"/>
                  </a:lnTo>
                  <a:lnTo>
                    <a:pt x="3425" y="1552"/>
                  </a:lnTo>
                  <a:lnTo>
                    <a:pt x="3415" y="1516"/>
                  </a:lnTo>
                  <a:lnTo>
                    <a:pt x="3403" y="1482"/>
                  </a:lnTo>
                  <a:lnTo>
                    <a:pt x="3389" y="1448"/>
                  </a:lnTo>
                  <a:lnTo>
                    <a:pt x="3375" y="1416"/>
                  </a:lnTo>
                  <a:lnTo>
                    <a:pt x="3359" y="1384"/>
                  </a:lnTo>
                  <a:lnTo>
                    <a:pt x="3341" y="1354"/>
                  </a:lnTo>
                  <a:lnTo>
                    <a:pt x="3320" y="1324"/>
                  </a:lnTo>
                  <a:lnTo>
                    <a:pt x="3300" y="1294"/>
                  </a:lnTo>
                  <a:lnTo>
                    <a:pt x="3278" y="1268"/>
                  </a:lnTo>
                  <a:lnTo>
                    <a:pt x="3256" y="1240"/>
                  </a:lnTo>
                  <a:lnTo>
                    <a:pt x="3230" y="1214"/>
                  </a:lnTo>
                  <a:lnTo>
                    <a:pt x="3206" y="1190"/>
                  </a:lnTo>
                  <a:lnTo>
                    <a:pt x="3178" y="1168"/>
                  </a:lnTo>
                  <a:lnTo>
                    <a:pt x="3150" y="1146"/>
                  </a:lnTo>
                  <a:lnTo>
                    <a:pt x="3122" y="1126"/>
                  </a:lnTo>
                  <a:lnTo>
                    <a:pt x="3092" y="1106"/>
                  </a:lnTo>
                  <a:lnTo>
                    <a:pt x="3062" y="1088"/>
                  </a:lnTo>
                  <a:lnTo>
                    <a:pt x="3030" y="1072"/>
                  </a:lnTo>
                  <a:lnTo>
                    <a:pt x="2998" y="1058"/>
                  </a:lnTo>
                  <a:lnTo>
                    <a:pt x="2964" y="1044"/>
                  </a:lnTo>
                  <a:lnTo>
                    <a:pt x="2930" y="1032"/>
                  </a:lnTo>
                  <a:lnTo>
                    <a:pt x="2894" y="1022"/>
                  </a:lnTo>
                  <a:lnTo>
                    <a:pt x="2860" y="1014"/>
                  </a:lnTo>
                  <a:lnTo>
                    <a:pt x="2824" y="1008"/>
                  </a:lnTo>
                  <a:lnTo>
                    <a:pt x="2786" y="1004"/>
                  </a:lnTo>
                  <a:lnTo>
                    <a:pt x="2750" y="1000"/>
                  </a:lnTo>
                  <a:lnTo>
                    <a:pt x="2712" y="1000"/>
                  </a:lnTo>
                  <a:lnTo>
                    <a:pt x="2712" y="1000"/>
                  </a:lnTo>
                  <a:lnTo>
                    <a:pt x="2674" y="1000"/>
                  </a:lnTo>
                  <a:lnTo>
                    <a:pt x="2636" y="1004"/>
                  </a:lnTo>
                  <a:lnTo>
                    <a:pt x="2600" y="1008"/>
                  </a:lnTo>
                  <a:lnTo>
                    <a:pt x="2564" y="1014"/>
                  </a:lnTo>
                  <a:lnTo>
                    <a:pt x="2528" y="1022"/>
                  </a:lnTo>
                  <a:lnTo>
                    <a:pt x="2492" y="1032"/>
                  </a:lnTo>
                  <a:lnTo>
                    <a:pt x="2458" y="1044"/>
                  </a:lnTo>
                  <a:lnTo>
                    <a:pt x="2426" y="1058"/>
                  </a:lnTo>
                  <a:lnTo>
                    <a:pt x="2392" y="1072"/>
                  </a:lnTo>
                  <a:lnTo>
                    <a:pt x="2362" y="1088"/>
                  </a:lnTo>
                  <a:lnTo>
                    <a:pt x="2330" y="1106"/>
                  </a:lnTo>
                  <a:lnTo>
                    <a:pt x="2300" y="1126"/>
                  </a:lnTo>
                  <a:lnTo>
                    <a:pt x="2272" y="1146"/>
                  </a:lnTo>
                  <a:lnTo>
                    <a:pt x="2244" y="1168"/>
                  </a:lnTo>
                  <a:lnTo>
                    <a:pt x="2218" y="1190"/>
                  </a:lnTo>
                  <a:lnTo>
                    <a:pt x="2192" y="1214"/>
                  </a:lnTo>
                  <a:lnTo>
                    <a:pt x="2168" y="1240"/>
                  </a:lnTo>
                  <a:lnTo>
                    <a:pt x="2144" y="1268"/>
                  </a:lnTo>
                  <a:lnTo>
                    <a:pt x="2122" y="1294"/>
                  </a:lnTo>
                  <a:lnTo>
                    <a:pt x="2102" y="1324"/>
                  </a:lnTo>
                  <a:lnTo>
                    <a:pt x="2082" y="1354"/>
                  </a:lnTo>
                  <a:lnTo>
                    <a:pt x="2066" y="1384"/>
                  </a:lnTo>
                  <a:lnTo>
                    <a:pt x="2048" y="1416"/>
                  </a:lnTo>
                  <a:lnTo>
                    <a:pt x="2034" y="1448"/>
                  </a:lnTo>
                  <a:lnTo>
                    <a:pt x="2020" y="1482"/>
                  </a:lnTo>
                  <a:lnTo>
                    <a:pt x="2010" y="1516"/>
                  </a:lnTo>
                  <a:lnTo>
                    <a:pt x="2000" y="1552"/>
                  </a:lnTo>
                  <a:lnTo>
                    <a:pt x="1992" y="1586"/>
                  </a:lnTo>
                  <a:lnTo>
                    <a:pt x="1984" y="1622"/>
                  </a:lnTo>
                  <a:lnTo>
                    <a:pt x="1980" y="1660"/>
                  </a:lnTo>
                  <a:lnTo>
                    <a:pt x="1978" y="1696"/>
                  </a:lnTo>
                  <a:lnTo>
                    <a:pt x="1976" y="1734"/>
                  </a:lnTo>
                  <a:lnTo>
                    <a:pt x="1976" y="1734"/>
                  </a:lnTo>
                  <a:lnTo>
                    <a:pt x="1976" y="1768"/>
                  </a:lnTo>
                  <a:lnTo>
                    <a:pt x="1980" y="1800"/>
                  </a:lnTo>
                  <a:lnTo>
                    <a:pt x="1982" y="1834"/>
                  </a:lnTo>
                  <a:lnTo>
                    <a:pt x="1988" y="1866"/>
                  </a:lnTo>
                  <a:lnTo>
                    <a:pt x="1994" y="1898"/>
                  </a:lnTo>
                  <a:lnTo>
                    <a:pt x="2002" y="1928"/>
                  </a:lnTo>
                  <a:lnTo>
                    <a:pt x="2012" y="1958"/>
                  </a:lnTo>
                  <a:lnTo>
                    <a:pt x="2022" y="1990"/>
                  </a:lnTo>
                  <a:lnTo>
                    <a:pt x="2034" y="2018"/>
                  </a:lnTo>
                  <a:lnTo>
                    <a:pt x="2046" y="2048"/>
                  </a:lnTo>
                  <a:lnTo>
                    <a:pt x="2060" y="2076"/>
                  </a:lnTo>
                  <a:lnTo>
                    <a:pt x="2076" y="2102"/>
                  </a:lnTo>
                  <a:lnTo>
                    <a:pt x="2092" y="2130"/>
                  </a:lnTo>
                  <a:lnTo>
                    <a:pt x="2110" y="2156"/>
                  </a:lnTo>
                  <a:lnTo>
                    <a:pt x="2128" y="2180"/>
                  </a:lnTo>
                  <a:lnTo>
                    <a:pt x="2146" y="2204"/>
                  </a:lnTo>
                  <a:lnTo>
                    <a:pt x="2168" y="2228"/>
                  </a:lnTo>
                  <a:lnTo>
                    <a:pt x="2188" y="2252"/>
                  </a:lnTo>
                  <a:lnTo>
                    <a:pt x="2212" y="2272"/>
                  </a:lnTo>
                  <a:lnTo>
                    <a:pt x="2234" y="2294"/>
                  </a:lnTo>
                  <a:lnTo>
                    <a:pt x="2258" y="2314"/>
                  </a:lnTo>
                  <a:lnTo>
                    <a:pt x="2284" y="2332"/>
                  </a:lnTo>
                  <a:lnTo>
                    <a:pt x="2310" y="2350"/>
                  </a:lnTo>
                  <a:lnTo>
                    <a:pt x="2336" y="2366"/>
                  </a:lnTo>
                  <a:lnTo>
                    <a:pt x="2364" y="2382"/>
                  </a:lnTo>
                  <a:lnTo>
                    <a:pt x="2392" y="2396"/>
                  </a:lnTo>
                  <a:lnTo>
                    <a:pt x="2420" y="2410"/>
                  </a:lnTo>
                  <a:lnTo>
                    <a:pt x="2450" y="2422"/>
                  </a:lnTo>
                  <a:lnTo>
                    <a:pt x="2480" y="2432"/>
                  </a:lnTo>
                  <a:lnTo>
                    <a:pt x="2510" y="2442"/>
                  </a:lnTo>
                  <a:lnTo>
                    <a:pt x="2540" y="2450"/>
                  </a:lnTo>
                  <a:lnTo>
                    <a:pt x="2572" y="2456"/>
                  </a:lnTo>
                  <a:lnTo>
                    <a:pt x="2662" y="6388"/>
                  </a:lnTo>
                  <a:lnTo>
                    <a:pt x="2332" y="6388"/>
                  </a:lnTo>
                  <a:lnTo>
                    <a:pt x="2332" y="4562"/>
                  </a:lnTo>
                  <a:lnTo>
                    <a:pt x="1724" y="3834"/>
                  </a:lnTo>
                  <a:lnTo>
                    <a:pt x="1724" y="3834"/>
                  </a:lnTo>
                  <a:lnTo>
                    <a:pt x="1774" y="3812"/>
                  </a:lnTo>
                  <a:lnTo>
                    <a:pt x="1824" y="3786"/>
                  </a:lnTo>
                  <a:lnTo>
                    <a:pt x="1870" y="3758"/>
                  </a:lnTo>
                  <a:lnTo>
                    <a:pt x="1914" y="3726"/>
                  </a:lnTo>
                  <a:lnTo>
                    <a:pt x="1956" y="3690"/>
                  </a:lnTo>
                  <a:lnTo>
                    <a:pt x="1994" y="3652"/>
                  </a:lnTo>
                  <a:lnTo>
                    <a:pt x="2030" y="3612"/>
                  </a:lnTo>
                  <a:lnTo>
                    <a:pt x="2064" y="3568"/>
                  </a:lnTo>
                  <a:lnTo>
                    <a:pt x="2092" y="3522"/>
                  </a:lnTo>
                  <a:lnTo>
                    <a:pt x="2120" y="3474"/>
                  </a:lnTo>
                  <a:lnTo>
                    <a:pt x="2142" y="3424"/>
                  </a:lnTo>
                  <a:lnTo>
                    <a:pt x="2160" y="3372"/>
                  </a:lnTo>
                  <a:lnTo>
                    <a:pt x="2176" y="3318"/>
                  </a:lnTo>
                  <a:lnTo>
                    <a:pt x="2188" y="3262"/>
                  </a:lnTo>
                  <a:lnTo>
                    <a:pt x="2194" y="3206"/>
                  </a:lnTo>
                  <a:lnTo>
                    <a:pt x="2196" y="3148"/>
                  </a:lnTo>
                  <a:lnTo>
                    <a:pt x="2196" y="3148"/>
                  </a:lnTo>
                  <a:lnTo>
                    <a:pt x="2196" y="3110"/>
                  </a:lnTo>
                  <a:lnTo>
                    <a:pt x="2192" y="3072"/>
                  </a:lnTo>
                  <a:lnTo>
                    <a:pt x="2188" y="3036"/>
                  </a:lnTo>
                  <a:lnTo>
                    <a:pt x="2182" y="3000"/>
                  </a:lnTo>
                  <a:lnTo>
                    <a:pt x="2172" y="2964"/>
                  </a:lnTo>
                  <a:lnTo>
                    <a:pt x="2162" y="2930"/>
                  </a:lnTo>
                  <a:lnTo>
                    <a:pt x="2152" y="2896"/>
                  </a:lnTo>
                  <a:lnTo>
                    <a:pt x="2138" y="2862"/>
                  </a:lnTo>
                  <a:lnTo>
                    <a:pt x="2124" y="2830"/>
                  </a:lnTo>
                  <a:lnTo>
                    <a:pt x="2108" y="2798"/>
                  </a:lnTo>
                  <a:lnTo>
                    <a:pt x="2090" y="2766"/>
                  </a:lnTo>
                  <a:lnTo>
                    <a:pt x="2070" y="2738"/>
                  </a:lnTo>
                  <a:lnTo>
                    <a:pt x="2050" y="2708"/>
                  </a:lnTo>
                  <a:lnTo>
                    <a:pt x="2028" y="2680"/>
                  </a:lnTo>
                  <a:lnTo>
                    <a:pt x="2004" y="2654"/>
                  </a:lnTo>
                  <a:lnTo>
                    <a:pt x="1980" y="2628"/>
                  </a:lnTo>
                  <a:lnTo>
                    <a:pt x="1954" y="2604"/>
                  </a:lnTo>
                  <a:lnTo>
                    <a:pt x="1928" y="2580"/>
                  </a:lnTo>
                  <a:lnTo>
                    <a:pt x="1900" y="2558"/>
                  </a:lnTo>
                  <a:lnTo>
                    <a:pt x="1872" y="2538"/>
                  </a:lnTo>
                  <a:lnTo>
                    <a:pt x="1842" y="2520"/>
                  </a:lnTo>
                  <a:lnTo>
                    <a:pt x="1810" y="2502"/>
                  </a:lnTo>
                  <a:lnTo>
                    <a:pt x="1780" y="2486"/>
                  </a:lnTo>
                  <a:lnTo>
                    <a:pt x="1746" y="2470"/>
                  </a:lnTo>
                  <a:lnTo>
                    <a:pt x="1714" y="2458"/>
                  </a:lnTo>
                  <a:lnTo>
                    <a:pt x="1680" y="2446"/>
                  </a:lnTo>
                  <a:lnTo>
                    <a:pt x="1644" y="2436"/>
                  </a:lnTo>
                  <a:lnTo>
                    <a:pt x="1608" y="2428"/>
                  </a:lnTo>
                  <a:lnTo>
                    <a:pt x="1572" y="2422"/>
                  </a:lnTo>
                  <a:lnTo>
                    <a:pt x="1536" y="2416"/>
                  </a:lnTo>
                  <a:lnTo>
                    <a:pt x="1498" y="2414"/>
                  </a:lnTo>
                  <a:lnTo>
                    <a:pt x="1460" y="2412"/>
                  </a:lnTo>
                  <a:lnTo>
                    <a:pt x="1460" y="2412"/>
                  </a:lnTo>
                  <a:lnTo>
                    <a:pt x="1424" y="2414"/>
                  </a:lnTo>
                  <a:lnTo>
                    <a:pt x="1386" y="2416"/>
                  </a:lnTo>
                  <a:lnTo>
                    <a:pt x="1348" y="2422"/>
                  </a:lnTo>
                  <a:lnTo>
                    <a:pt x="1312" y="2428"/>
                  </a:lnTo>
                  <a:lnTo>
                    <a:pt x="1278" y="2436"/>
                  </a:lnTo>
                  <a:lnTo>
                    <a:pt x="1242" y="2446"/>
                  </a:lnTo>
                  <a:lnTo>
                    <a:pt x="1208" y="2458"/>
                  </a:lnTo>
                  <a:lnTo>
                    <a:pt x="1174" y="2470"/>
                  </a:lnTo>
                  <a:lnTo>
                    <a:pt x="1142" y="2486"/>
                  </a:lnTo>
                  <a:lnTo>
                    <a:pt x="1110" y="2502"/>
                  </a:lnTo>
                  <a:lnTo>
                    <a:pt x="1080" y="2520"/>
                  </a:lnTo>
                  <a:lnTo>
                    <a:pt x="1050" y="2538"/>
                  </a:lnTo>
                  <a:lnTo>
                    <a:pt x="1022" y="2558"/>
                  </a:lnTo>
                  <a:lnTo>
                    <a:pt x="994" y="2580"/>
                  </a:lnTo>
                  <a:lnTo>
                    <a:pt x="966" y="2604"/>
                  </a:lnTo>
                  <a:lnTo>
                    <a:pt x="942" y="2628"/>
                  </a:lnTo>
                  <a:lnTo>
                    <a:pt x="916" y="2654"/>
                  </a:lnTo>
                  <a:lnTo>
                    <a:pt x="894" y="2680"/>
                  </a:lnTo>
                  <a:lnTo>
                    <a:pt x="872" y="2708"/>
                  </a:lnTo>
                  <a:lnTo>
                    <a:pt x="852" y="2738"/>
                  </a:lnTo>
                  <a:lnTo>
                    <a:pt x="832" y="2766"/>
                  </a:lnTo>
                  <a:lnTo>
                    <a:pt x="814" y="2798"/>
                  </a:lnTo>
                  <a:lnTo>
                    <a:pt x="798" y="2830"/>
                  </a:lnTo>
                  <a:lnTo>
                    <a:pt x="784" y="2862"/>
                  </a:lnTo>
                  <a:lnTo>
                    <a:pt x="770" y="2896"/>
                  </a:lnTo>
                  <a:lnTo>
                    <a:pt x="758" y="2930"/>
                  </a:lnTo>
                  <a:lnTo>
                    <a:pt x="748" y="2964"/>
                  </a:lnTo>
                  <a:lnTo>
                    <a:pt x="740" y="3000"/>
                  </a:lnTo>
                  <a:lnTo>
                    <a:pt x="734" y="3036"/>
                  </a:lnTo>
                  <a:lnTo>
                    <a:pt x="730" y="3072"/>
                  </a:lnTo>
                  <a:lnTo>
                    <a:pt x="726" y="3110"/>
                  </a:lnTo>
                  <a:lnTo>
                    <a:pt x="726" y="3148"/>
                  </a:lnTo>
                  <a:lnTo>
                    <a:pt x="726" y="3148"/>
                  </a:lnTo>
                  <a:lnTo>
                    <a:pt x="726" y="3184"/>
                  </a:lnTo>
                  <a:lnTo>
                    <a:pt x="730" y="3218"/>
                  </a:lnTo>
                  <a:lnTo>
                    <a:pt x="734" y="3254"/>
                  </a:lnTo>
                  <a:lnTo>
                    <a:pt x="738" y="3288"/>
                  </a:lnTo>
                  <a:lnTo>
                    <a:pt x="746" y="3322"/>
                  </a:lnTo>
                  <a:lnTo>
                    <a:pt x="756" y="3354"/>
                  </a:lnTo>
                  <a:lnTo>
                    <a:pt x="766" y="3386"/>
                  </a:lnTo>
                  <a:lnTo>
                    <a:pt x="778" y="3418"/>
                  </a:lnTo>
                  <a:lnTo>
                    <a:pt x="790" y="3450"/>
                  </a:lnTo>
                  <a:lnTo>
                    <a:pt x="804" y="3480"/>
                  </a:lnTo>
                  <a:lnTo>
                    <a:pt x="820" y="3510"/>
                  </a:lnTo>
                  <a:lnTo>
                    <a:pt x="838" y="3538"/>
                  </a:lnTo>
                  <a:lnTo>
                    <a:pt x="856" y="3566"/>
                  </a:lnTo>
                  <a:lnTo>
                    <a:pt x="876" y="3592"/>
                  </a:lnTo>
                  <a:lnTo>
                    <a:pt x="896" y="3618"/>
                  </a:lnTo>
                  <a:lnTo>
                    <a:pt x="918" y="3644"/>
                  </a:lnTo>
                  <a:lnTo>
                    <a:pt x="942" y="3668"/>
                  </a:lnTo>
                  <a:lnTo>
                    <a:pt x="966" y="3690"/>
                  </a:lnTo>
                  <a:lnTo>
                    <a:pt x="990" y="3712"/>
                  </a:lnTo>
                  <a:lnTo>
                    <a:pt x="1016" y="3734"/>
                  </a:lnTo>
                  <a:lnTo>
                    <a:pt x="1044" y="3752"/>
                  </a:lnTo>
                  <a:lnTo>
                    <a:pt x="1072" y="3772"/>
                  </a:lnTo>
                  <a:lnTo>
                    <a:pt x="1100" y="3788"/>
                  </a:lnTo>
                  <a:lnTo>
                    <a:pt x="1130" y="3804"/>
                  </a:lnTo>
                  <a:lnTo>
                    <a:pt x="1160" y="3818"/>
                  </a:lnTo>
                  <a:lnTo>
                    <a:pt x="1192" y="3832"/>
                  </a:lnTo>
                  <a:lnTo>
                    <a:pt x="1224" y="3844"/>
                  </a:lnTo>
                  <a:lnTo>
                    <a:pt x="1256" y="3854"/>
                  </a:lnTo>
                  <a:lnTo>
                    <a:pt x="1288" y="3862"/>
                  </a:lnTo>
                  <a:lnTo>
                    <a:pt x="1322" y="3870"/>
                  </a:lnTo>
                  <a:lnTo>
                    <a:pt x="1356" y="3876"/>
                  </a:lnTo>
                  <a:lnTo>
                    <a:pt x="1392" y="3880"/>
                  </a:lnTo>
                  <a:lnTo>
                    <a:pt x="2048" y="4666"/>
                  </a:lnTo>
                  <a:lnTo>
                    <a:pt x="2048" y="6388"/>
                  </a:lnTo>
                  <a:lnTo>
                    <a:pt x="284" y="6388"/>
                  </a:lnTo>
                  <a:lnTo>
                    <a:pt x="284" y="284"/>
                  </a:lnTo>
                  <a:lnTo>
                    <a:pt x="6389" y="284"/>
                  </a:lnTo>
                  <a:lnTo>
                    <a:pt x="6389" y="6388"/>
                  </a:lnTo>
                  <a:close/>
                  <a:moveTo>
                    <a:pt x="5213" y="2314"/>
                  </a:moveTo>
                  <a:lnTo>
                    <a:pt x="5213" y="2314"/>
                  </a:lnTo>
                  <a:lnTo>
                    <a:pt x="5167" y="2312"/>
                  </a:lnTo>
                  <a:lnTo>
                    <a:pt x="5123" y="2304"/>
                  </a:lnTo>
                  <a:lnTo>
                    <a:pt x="5079" y="2294"/>
                  </a:lnTo>
                  <a:lnTo>
                    <a:pt x="5039" y="2278"/>
                  </a:lnTo>
                  <a:lnTo>
                    <a:pt x="4999" y="2260"/>
                  </a:lnTo>
                  <a:lnTo>
                    <a:pt x="4961" y="2236"/>
                  </a:lnTo>
                  <a:lnTo>
                    <a:pt x="4927" y="2210"/>
                  </a:lnTo>
                  <a:lnTo>
                    <a:pt x="4895" y="2182"/>
                  </a:lnTo>
                  <a:lnTo>
                    <a:pt x="4865" y="2150"/>
                  </a:lnTo>
                  <a:lnTo>
                    <a:pt x="4839" y="2114"/>
                  </a:lnTo>
                  <a:lnTo>
                    <a:pt x="4817" y="2078"/>
                  </a:lnTo>
                  <a:lnTo>
                    <a:pt x="4799" y="2038"/>
                  </a:lnTo>
                  <a:lnTo>
                    <a:pt x="4783" y="1996"/>
                  </a:lnTo>
                  <a:lnTo>
                    <a:pt x="4771" y="1954"/>
                  </a:lnTo>
                  <a:lnTo>
                    <a:pt x="4765" y="1910"/>
                  </a:lnTo>
                  <a:lnTo>
                    <a:pt x="4763" y="1864"/>
                  </a:lnTo>
                  <a:lnTo>
                    <a:pt x="4763" y="1864"/>
                  </a:lnTo>
                  <a:lnTo>
                    <a:pt x="4765" y="1818"/>
                  </a:lnTo>
                  <a:lnTo>
                    <a:pt x="4771" y="1772"/>
                  </a:lnTo>
                  <a:lnTo>
                    <a:pt x="4783" y="1730"/>
                  </a:lnTo>
                  <a:lnTo>
                    <a:pt x="4799" y="1688"/>
                  </a:lnTo>
                  <a:lnTo>
                    <a:pt x="4817" y="1648"/>
                  </a:lnTo>
                  <a:lnTo>
                    <a:pt x="4839" y="1612"/>
                  </a:lnTo>
                  <a:lnTo>
                    <a:pt x="4865" y="1576"/>
                  </a:lnTo>
                  <a:lnTo>
                    <a:pt x="4895" y="1544"/>
                  </a:lnTo>
                  <a:lnTo>
                    <a:pt x="4927" y="1516"/>
                  </a:lnTo>
                  <a:lnTo>
                    <a:pt x="4961" y="1490"/>
                  </a:lnTo>
                  <a:lnTo>
                    <a:pt x="4999" y="1466"/>
                  </a:lnTo>
                  <a:lnTo>
                    <a:pt x="5039" y="1448"/>
                  </a:lnTo>
                  <a:lnTo>
                    <a:pt x="5079" y="1432"/>
                  </a:lnTo>
                  <a:lnTo>
                    <a:pt x="5123" y="1422"/>
                  </a:lnTo>
                  <a:lnTo>
                    <a:pt x="5167" y="1414"/>
                  </a:lnTo>
                  <a:lnTo>
                    <a:pt x="5213" y="1412"/>
                  </a:lnTo>
                  <a:lnTo>
                    <a:pt x="5213" y="1412"/>
                  </a:lnTo>
                  <a:lnTo>
                    <a:pt x="5259" y="1414"/>
                  </a:lnTo>
                  <a:lnTo>
                    <a:pt x="5305" y="1422"/>
                  </a:lnTo>
                  <a:lnTo>
                    <a:pt x="5347" y="1432"/>
                  </a:lnTo>
                  <a:lnTo>
                    <a:pt x="5389" y="1448"/>
                  </a:lnTo>
                  <a:lnTo>
                    <a:pt x="5429" y="1466"/>
                  </a:lnTo>
                  <a:lnTo>
                    <a:pt x="5465" y="1490"/>
                  </a:lnTo>
                  <a:lnTo>
                    <a:pt x="5499" y="1516"/>
                  </a:lnTo>
                  <a:lnTo>
                    <a:pt x="5531" y="1544"/>
                  </a:lnTo>
                  <a:lnTo>
                    <a:pt x="5561" y="1576"/>
                  </a:lnTo>
                  <a:lnTo>
                    <a:pt x="5587" y="1612"/>
                  </a:lnTo>
                  <a:lnTo>
                    <a:pt x="5609" y="1648"/>
                  </a:lnTo>
                  <a:lnTo>
                    <a:pt x="5629" y="1688"/>
                  </a:lnTo>
                  <a:lnTo>
                    <a:pt x="5643" y="1730"/>
                  </a:lnTo>
                  <a:lnTo>
                    <a:pt x="5655" y="1772"/>
                  </a:lnTo>
                  <a:lnTo>
                    <a:pt x="5661" y="1818"/>
                  </a:lnTo>
                  <a:lnTo>
                    <a:pt x="5665" y="1864"/>
                  </a:lnTo>
                  <a:lnTo>
                    <a:pt x="5665" y="1864"/>
                  </a:lnTo>
                  <a:lnTo>
                    <a:pt x="5661" y="1910"/>
                  </a:lnTo>
                  <a:lnTo>
                    <a:pt x="5655" y="1954"/>
                  </a:lnTo>
                  <a:lnTo>
                    <a:pt x="5643" y="1996"/>
                  </a:lnTo>
                  <a:lnTo>
                    <a:pt x="5629" y="2038"/>
                  </a:lnTo>
                  <a:lnTo>
                    <a:pt x="5609" y="2078"/>
                  </a:lnTo>
                  <a:lnTo>
                    <a:pt x="5587" y="2114"/>
                  </a:lnTo>
                  <a:lnTo>
                    <a:pt x="5561" y="2150"/>
                  </a:lnTo>
                  <a:lnTo>
                    <a:pt x="5531" y="2182"/>
                  </a:lnTo>
                  <a:lnTo>
                    <a:pt x="5499" y="2210"/>
                  </a:lnTo>
                  <a:lnTo>
                    <a:pt x="5465" y="2236"/>
                  </a:lnTo>
                  <a:lnTo>
                    <a:pt x="5429" y="2260"/>
                  </a:lnTo>
                  <a:lnTo>
                    <a:pt x="5389" y="2278"/>
                  </a:lnTo>
                  <a:lnTo>
                    <a:pt x="5347" y="2294"/>
                  </a:lnTo>
                  <a:lnTo>
                    <a:pt x="5305" y="2304"/>
                  </a:lnTo>
                  <a:lnTo>
                    <a:pt x="5259" y="2312"/>
                  </a:lnTo>
                  <a:lnTo>
                    <a:pt x="5213" y="2314"/>
                  </a:lnTo>
                  <a:lnTo>
                    <a:pt x="5213" y="2314"/>
                  </a:lnTo>
                  <a:close/>
                  <a:moveTo>
                    <a:pt x="3963" y="3548"/>
                  </a:moveTo>
                  <a:lnTo>
                    <a:pt x="3963" y="3548"/>
                  </a:lnTo>
                  <a:lnTo>
                    <a:pt x="3917" y="3544"/>
                  </a:lnTo>
                  <a:lnTo>
                    <a:pt x="3873" y="3538"/>
                  </a:lnTo>
                  <a:lnTo>
                    <a:pt x="3829" y="3526"/>
                  </a:lnTo>
                  <a:lnTo>
                    <a:pt x="3787" y="3512"/>
                  </a:lnTo>
                  <a:lnTo>
                    <a:pt x="3749" y="3492"/>
                  </a:lnTo>
                  <a:lnTo>
                    <a:pt x="3711" y="3470"/>
                  </a:lnTo>
                  <a:lnTo>
                    <a:pt x="3677" y="3444"/>
                  </a:lnTo>
                  <a:lnTo>
                    <a:pt x="3645" y="3414"/>
                  </a:lnTo>
                  <a:lnTo>
                    <a:pt x="3615" y="3382"/>
                  </a:lnTo>
                  <a:lnTo>
                    <a:pt x="3589" y="3348"/>
                  </a:lnTo>
                  <a:lnTo>
                    <a:pt x="3567" y="3312"/>
                  </a:lnTo>
                  <a:lnTo>
                    <a:pt x="3547" y="3272"/>
                  </a:lnTo>
                  <a:lnTo>
                    <a:pt x="3533" y="3230"/>
                  </a:lnTo>
                  <a:lnTo>
                    <a:pt x="3521" y="3188"/>
                  </a:lnTo>
                  <a:lnTo>
                    <a:pt x="3515" y="3142"/>
                  </a:lnTo>
                  <a:lnTo>
                    <a:pt x="3513" y="3096"/>
                  </a:lnTo>
                  <a:lnTo>
                    <a:pt x="3513" y="3096"/>
                  </a:lnTo>
                  <a:lnTo>
                    <a:pt x="3515" y="3050"/>
                  </a:lnTo>
                  <a:lnTo>
                    <a:pt x="3521" y="3006"/>
                  </a:lnTo>
                  <a:lnTo>
                    <a:pt x="3533" y="2962"/>
                  </a:lnTo>
                  <a:lnTo>
                    <a:pt x="3547" y="2922"/>
                  </a:lnTo>
                  <a:lnTo>
                    <a:pt x="3567" y="2882"/>
                  </a:lnTo>
                  <a:lnTo>
                    <a:pt x="3589" y="2844"/>
                  </a:lnTo>
                  <a:lnTo>
                    <a:pt x="3615" y="2810"/>
                  </a:lnTo>
                  <a:lnTo>
                    <a:pt x="3645" y="2778"/>
                  </a:lnTo>
                  <a:lnTo>
                    <a:pt x="3677" y="2748"/>
                  </a:lnTo>
                  <a:lnTo>
                    <a:pt x="3711" y="2722"/>
                  </a:lnTo>
                  <a:lnTo>
                    <a:pt x="3749" y="2700"/>
                  </a:lnTo>
                  <a:lnTo>
                    <a:pt x="3787" y="2682"/>
                  </a:lnTo>
                  <a:lnTo>
                    <a:pt x="3829" y="2666"/>
                  </a:lnTo>
                  <a:lnTo>
                    <a:pt x="3873" y="2654"/>
                  </a:lnTo>
                  <a:lnTo>
                    <a:pt x="3917" y="2648"/>
                  </a:lnTo>
                  <a:lnTo>
                    <a:pt x="3963" y="2646"/>
                  </a:lnTo>
                  <a:lnTo>
                    <a:pt x="3963" y="2646"/>
                  </a:lnTo>
                  <a:lnTo>
                    <a:pt x="4009" y="2648"/>
                  </a:lnTo>
                  <a:lnTo>
                    <a:pt x="4053" y="2654"/>
                  </a:lnTo>
                  <a:lnTo>
                    <a:pt x="4097" y="2666"/>
                  </a:lnTo>
                  <a:lnTo>
                    <a:pt x="4139" y="2682"/>
                  </a:lnTo>
                  <a:lnTo>
                    <a:pt x="4177" y="2700"/>
                  </a:lnTo>
                  <a:lnTo>
                    <a:pt x="4215" y="2722"/>
                  </a:lnTo>
                  <a:lnTo>
                    <a:pt x="4249" y="2748"/>
                  </a:lnTo>
                  <a:lnTo>
                    <a:pt x="4281" y="2778"/>
                  </a:lnTo>
                  <a:lnTo>
                    <a:pt x="4311" y="2810"/>
                  </a:lnTo>
                  <a:lnTo>
                    <a:pt x="4337" y="2844"/>
                  </a:lnTo>
                  <a:lnTo>
                    <a:pt x="4359" y="2882"/>
                  </a:lnTo>
                  <a:lnTo>
                    <a:pt x="4379" y="2922"/>
                  </a:lnTo>
                  <a:lnTo>
                    <a:pt x="4393" y="2962"/>
                  </a:lnTo>
                  <a:lnTo>
                    <a:pt x="4405" y="3006"/>
                  </a:lnTo>
                  <a:lnTo>
                    <a:pt x="4411" y="3050"/>
                  </a:lnTo>
                  <a:lnTo>
                    <a:pt x="4413" y="3096"/>
                  </a:lnTo>
                  <a:lnTo>
                    <a:pt x="4413" y="3096"/>
                  </a:lnTo>
                  <a:lnTo>
                    <a:pt x="4411" y="3142"/>
                  </a:lnTo>
                  <a:lnTo>
                    <a:pt x="4405" y="3188"/>
                  </a:lnTo>
                  <a:lnTo>
                    <a:pt x="4393" y="3230"/>
                  </a:lnTo>
                  <a:lnTo>
                    <a:pt x="4379" y="3272"/>
                  </a:lnTo>
                  <a:lnTo>
                    <a:pt x="4359" y="3312"/>
                  </a:lnTo>
                  <a:lnTo>
                    <a:pt x="4337" y="3348"/>
                  </a:lnTo>
                  <a:lnTo>
                    <a:pt x="4311" y="3382"/>
                  </a:lnTo>
                  <a:lnTo>
                    <a:pt x="4281" y="3414"/>
                  </a:lnTo>
                  <a:lnTo>
                    <a:pt x="4249" y="3444"/>
                  </a:lnTo>
                  <a:lnTo>
                    <a:pt x="4215" y="3470"/>
                  </a:lnTo>
                  <a:lnTo>
                    <a:pt x="4177" y="3492"/>
                  </a:lnTo>
                  <a:lnTo>
                    <a:pt x="4139" y="3512"/>
                  </a:lnTo>
                  <a:lnTo>
                    <a:pt x="4097" y="3526"/>
                  </a:lnTo>
                  <a:lnTo>
                    <a:pt x="4053" y="3538"/>
                  </a:lnTo>
                  <a:lnTo>
                    <a:pt x="4009" y="3544"/>
                  </a:lnTo>
                  <a:lnTo>
                    <a:pt x="3963" y="3548"/>
                  </a:lnTo>
                  <a:lnTo>
                    <a:pt x="3963" y="3548"/>
                  </a:lnTo>
                  <a:close/>
                  <a:moveTo>
                    <a:pt x="1010" y="3148"/>
                  </a:moveTo>
                  <a:lnTo>
                    <a:pt x="1010" y="3148"/>
                  </a:lnTo>
                  <a:lnTo>
                    <a:pt x="1012" y="3102"/>
                  </a:lnTo>
                  <a:lnTo>
                    <a:pt x="1020" y="3058"/>
                  </a:lnTo>
                  <a:lnTo>
                    <a:pt x="1030" y="3014"/>
                  </a:lnTo>
                  <a:lnTo>
                    <a:pt x="1046" y="2972"/>
                  </a:lnTo>
                  <a:lnTo>
                    <a:pt x="1064" y="2934"/>
                  </a:lnTo>
                  <a:lnTo>
                    <a:pt x="1088" y="2896"/>
                  </a:lnTo>
                  <a:lnTo>
                    <a:pt x="1114" y="2862"/>
                  </a:lnTo>
                  <a:lnTo>
                    <a:pt x="1142" y="2830"/>
                  </a:lnTo>
                  <a:lnTo>
                    <a:pt x="1174" y="2800"/>
                  </a:lnTo>
                  <a:lnTo>
                    <a:pt x="1210" y="2774"/>
                  </a:lnTo>
                  <a:lnTo>
                    <a:pt x="1246" y="2752"/>
                  </a:lnTo>
                  <a:lnTo>
                    <a:pt x="1286" y="2732"/>
                  </a:lnTo>
                  <a:lnTo>
                    <a:pt x="1326" y="2718"/>
                  </a:lnTo>
                  <a:lnTo>
                    <a:pt x="1370" y="2706"/>
                  </a:lnTo>
                  <a:lnTo>
                    <a:pt x="1414" y="2700"/>
                  </a:lnTo>
                  <a:lnTo>
                    <a:pt x="1460" y="2698"/>
                  </a:lnTo>
                  <a:lnTo>
                    <a:pt x="1460" y="2698"/>
                  </a:lnTo>
                  <a:lnTo>
                    <a:pt x="1506" y="2700"/>
                  </a:lnTo>
                  <a:lnTo>
                    <a:pt x="1552" y="2706"/>
                  </a:lnTo>
                  <a:lnTo>
                    <a:pt x="1594" y="2718"/>
                  </a:lnTo>
                  <a:lnTo>
                    <a:pt x="1636" y="2732"/>
                  </a:lnTo>
                  <a:lnTo>
                    <a:pt x="1676" y="2752"/>
                  </a:lnTo>
                  <a:lnTo>
                    <a:pt x="1712" y="2774"/>
                  </a:lnTo>
                  <a:lnTo>
                    <a:pt x="1748" y="2800"/>
                  </a:lnTo>
                  <a:lnTo>
                    <a:pt x="1780" y="2830"/>
                  </a:lnTo>
                  <a:lnTo>
                    <a:pt x="1808" y="2862"/>
                  </a:lnTo>
                  <a:lnTo>
                    <a:pt x="1834" y="2896"/>
                  </a:lnTo>
                  <a:lnTo>
                    <a:pt x="1856" y="2934"/>
                  </a:lnTo>
                  <a:lnTo>
                    <a:pt x="1876" y="2972"/>
                  </a:lnTo>
                  <a:lnTo>
                    <a:pt x="1892" y="3014"/>
                  </a:lnTo>
                  <a:lnTo>
                    <a:pt x="1902" y="3058"/>
                  </a:lnTo>
                  <a:lnTo>
                    <a:pt x="1910" y="3102"/>
                  </a:lnTo>
                  <a:lnTo>
                    <a:pt x="1912" y="3148"/>
                  </a:lnTo>
                  <a:lnTo>
                    <a:pt x="1912" y="3148"/>
                  </a:lnTo>
                  <a:lnTo>
                    <a:pt x="1910" y="3194"/>
                  </a:lnTo>
                  <a:lnTo>
                    <a:pt x="1902" y="3238"/>
                  </a:lnTo>
                  <a:lnTo>
                    <a:pt x="1892" y="3282"/>
                  </a:lnTo>
                  <a:lnTo>
                    <a:pt x="1876" y="3324"/>
                  </a:lnTo>
                  <a:lnTo>
                    <a:pt x="1856" y="3362"/>
                  </a:lnTo>
                  <a:lnTo>
                    <a:pt x="1834" y="3400"/>
                  </a:lnTo>
                  <a:lnTo>
                    <a:pt x="1808" y="3434"/>
                  </a:lnTo>
                  <a:lnTo>
                    <a:pt x="1780" y="3466"/>
                  </a:lnTo>
                  <a:lnTo>
                    <a:pt x="1748" y="3496"/>
                  </a:lnTo>
                  <a:lnTo>
                    <a:pt x="1712" y="3522"/>
                  </a:lnTo>
                  <a:lnTo>
                    <a:pt x="1676" y="3544"/>
                  </a:lnTo>
                  <a:lnTo>
                    <a:pt x="1636" y="3564"/>
                  </a:lnTo>
                  <a:lnTo>
                    <a:pt x="1594" y="3578"/>
                  </a:lnTo>
                  <a:lnTo>
                    <a:pt x="1552" y="3590"/>
                  </a:lnTo>
                  <a:lnTo>
                    <a:pt x="1506" y="3596"/>
                  </a:lnTo>
                  <a:lnTo>
                    <a:pt x="1460" y="3598"/>
                  </a:lnTo>
                  <a:lnTo>
                    <a:pt x="1460" y="3598"/>
                  </a:lnTo>
                  <a:lnTo>
                    <a:pt x="1414" y="3596"/>
                  </a:lnTo>
                  <a:lnTo>
                    <a:pt x="1370" y="3590"/>
                  </a:lnTo>
                  <a:lnTo>
                    <a:pt x="1326" y="3578"/>
                  </a:lnTo>
                  <a:lnTo>
                    <a:pt x="1286" y="3564"/>
                  </a:lnTo>
                  <a:lnTo>
                    <a:pt x="1246" y="3544"/>
                  </a:lnTo>
                  <a:lnTo>
                    <a:pt x="1210" y="3522"/>
                  </a:lnTo>
                  <a:lnTo>
                    <a:pt x="1174" y="3496"/>
                  </a:lnTo>
                  <a:lnTo>
                    <a:pt x="1142" y="3466"/>
                  </a:lnTo>
                  <a:lnTo>
                    <a:pt x="1114" y="3434"/>
                  </a:lnTo>
                  <a:lnTo>
                    <a:pt x="1088" y="3400"/>
                  </a:lnTo>
                  <a:lnTo>
                    <a:pt x="1064" y="3362"/>
                  </a:lnTo>
                  <a:lnTo>
                    <a:pt x="1046" y="3324"/>
                  </a:lnTo>
                  <a:lnTo>
                    <a:pt x="1030" y="3282"/>
                  </a:lnTo>
                  <a:lnTo>
                    <a:pt x="1020" y="3238"/>
                  </a:lnTo>
                  <a:lnTo>
                    <a:pt x="1012" y="3194"/>
                  </a:lnTo>
                  <a:lnTo>
                    <a:pt x="1010" y="3148"/>
                  </a:lnTo>
                  <a:lnTo>
                    <a:pt x="1010" y="3148"/>
                  </a:lnTo>
                  <a:close/>
                </a:path>
              </a:pathLst>
            </a:custGeom>
            <a:grpFill/>
            <a:ln>
              <a:noFill/>
            </a:ln>
          </p:spPr>
          <p:txBody>
            <a:bodyPr vert="horz" wrap="square" lIns="78191" tIns="39096" rIns="78191" bIns="39096" numCol="1" anchor="t" anchorCtr="0" compatLnSpc="1">
              <a:prstTxWarp prst="textNoShape">
                <a:avLst/>
              </a:prstTxWarp>
            </a:bodyPr>
            <a:lstStyle/>
            <a:p>
              <a:endParaRPr lang="en-US" sz="1200"/>
            </a:p>
          </p:txBody>
        </p:sp>
        <p:sp>
          <p:nvSpPr>
            <p:cNvPr id="74" name="Freeform 133">
              <a:extLst>
                <a:ext uri="{FF2B5EF4-FFF2-40B4-BE49-F238E27FC236}">
                  <a16:creationId xmlns:a16="http://schemas.microsoft.com/office/drawing/2014/main" id="{33CE082F-74C0-4C86-A333-AC052F0A4DAD}"/>
                </a:ext>
              </a:extLst>
            </p:cNvPr>
            <p:cNvSpPr>
              <a:spLocks noEditPoints="1"/>
            </p:cNvSpPr>
            <p:nvPr/>
          </p:nvSpPr>
          <p:spPr bwMode="auto">
            <a:xfrm>
              <a:off x="2502626" y="6446207"/>
              <a:ext cx="366901" cy="368535"/>
            </a:xfrm>
            <a:custGeom>
              <a:avLst/>
              <a:gdLst>
                <a:gd name="T0" fmla="*/ 0 w 155"/>
                <a:gd name="T1" fmla="*/ 0 h 155"/>
                <a:gd name="T2" fmla="*/ 0 w 155"/>
                <a:gd name="T3" fmla="*/ 107 h 155"/>
                <a:gd name="T4" fmla="*/ 77 w 155"/>
                <a:gd name="T5" fmla="*/ 155 h 155"/>
                <a:gd name="T6" fmla="*/ 155 w 155"/>
                <a:gd name="T7" fmla="*/ 107 h 155"/>
                <a:gd name="T8" fmla="*/ 155 w 155"/>
                <a:gd name="T9" fmla="*/ 0 h 155"/>
                <a:gd name="T10" fmla="*/ 0 w 155"/>
                <a:gd name="T11" fmla="*/ 0 h 155"/>
                <a:gd name="T12" fmla="*/ 148 w 155"/>
                <a:gd name="T13" fmla="*/ 103 h 155"/>
                <a:gd name="T14" fmla="*/ 77 w 155"/>
                <a:gd name="T15" fmla="*/ 148 h 155"/>
                <a:gd name="T16" fmla="*/ 7 w 155"/>
                <a:gd name="T17" fmla="*/ 103 h 155"/>
                <a:gd name="T18" fmla="*/ 7 w 155"/>
                <a:gd name="T19" fmla="*/ 8 h 155"/>
                <a:gd name="T20" fmla="*/ 148 w 155"/>
                <a:gd name="T21" fmla="*/ 8 h 155"/>
                <a:gd name="T22" fmla="*/ 148 w 155"/>
                <a:gd name="T23" fmla="*/ 103 h 155"/>
                <a:gd name="T24" fmla="*/ 128 w 155"/>
                <a:gd name="T25" fmla="*/ 93 h 155"/>
                <a:gd name="T26" fmla="*/ 128 w 155"/>
                <a:gd name="T27" fmla="*/ 23 h 155"/>
                <a:gd name="T28" fmla="*/ 25 w 155"/>
                <a:gd name="T29" fmla="*/ 23 h 155"/>
                <a:gd name="T30" fmla="*/ 25 w 155"/>
                <a:gd name="T31" fmla="*/ 93 h 155"/>
                <a:gd name="T32" fmla="*/ 77 w 155"/>
                <a:gd name="T33" fmla="*/ 124 h 155"/>
                <a:gd name="T34" fmla="*/ 128 w 155"/>
                <a:gd name="T35" fmla="*/ 93 h 155"/>
                <a:gd name="T36" fmla="*/ 32 w 155"/>
                <a:gd name="T37" fmla="*/ 89 h 155"/>
                <a:gd name="T38" fmla="*/ 32 w 155"/>
                <a:gd name="T39" fmla="*/ 30 h 155"/>
                <a:gd name="T40" fmla="*/ 122 w 155"/>
                <a:gd name="T41" fmla="*/ 30 h 155"/>
                <a:gd name="T42" fmla="*/ 122 w 155"/>
                <a:gd name="T43" fmla="*/ 89 h 155"/>
                <a:gd name="T44" fmla="*/ 77 w 155"/>
                <a:gd name="T45" fmla="*/ 116 h 155"/>
                <a:gd name="T46" fmla="*/ 32 w 155"/>
                <a:gd name="T47" fmla="*/ 89 h 155"/>
                <a:gd name="T48" fmla="*/ 98 w 155"/>
                <a:gd name="T49" fmla="*/ 47 h 155"/>
                <a:gd name="T50" fmla="*/ 103 w 155"/>
                <a:gd name="T51" fmla="*/ 51 h 155"/>
                <a:gd name="T52" fmla="*/ 73 w 155"/>
                <a:gd name="T53" fmla="*/ 84 h 155"/>
                <a:gd name="T54" fmla="*/ 56 w 155"/>
                <a:gd name="T55" fmla="*/ 68 h 155"/>
                <a:gd name="T56" fmla="*/ 60 w 155"/>
                <a:gd name="T57" fmla="*/ 63 h 155"/>
                <a:gd name="T58" fmla="*/ 73 w 155"/>
                <a:gd name="T59" fmla="*/ 75 h 155"/>
                <a:gd name="T60" fmla="*/ 98 w 155"/>
                <a:gd name="T61" fmla="*/ 4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155">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grpFill/>
            <a:ln>
              <a:noFill/>
            </a:ln>
          </p:spPr>
          <p:txBody>
            <a:bodyPr vert="horz" wrap="square" lIns="91440" tIns="45720" rIns="91440" bIns="45720" numCol="1" anchor="t" anchorCtr="0" compatLnSpc="1">
              <a:prstTxWarp prst="textNoShape">
                <a:avLst/>
              </a:prstTxWarp>
            </a:bodyPr>
            <a:lstStyle/>
            <a:p>
              <a:endParaRPr lang="en-US" sz="700" b="1" dirty="0">
                <a:solidFill>
                  <a:schemeClr val="accent1"/>
                </a:solidFill>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FCFA6C-B756-45CB-8592-E04DBCBF55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53"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id="{D4FCFA6C-B756-45CB-8592-E04DBCBF55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19" name="Google Shape;319;p4"/>
          <p:cNvPicPr preferRelativeResize="0">
            <a:picLocks noGrp="1"/>
          </p:cNvPicPr>
          <p:nvPr>
            <p:ph type="pic" idx="2"/>
          </p:nvPr>
        </p:nvPicPr>
        <p:blipFill rotWithShape="1">
          <a:blip r:embed="rId7">
            <a:extLst>
              <a:ext uri="{28A0092B-C50C-407E-A947-70E740481C1C}">
                <a14:useLocalDpi xmlns:a14="http://schemas.microsoft.com/office/drawing/2010/main" val="0"/>
              </a:ext>
            </a:extLst>
          </a:blip>
          <a:srcRect t="20616" b="21961"/>
          <a:stretch/>
        </p:blipFill>
        <p:spPr>
          <a:xfrm>
            <a:off x="4998720" y="1"/>
            <a:ext cx="7193280" cy="6858000"/>
          </a:xfrm>
          <a:prstGeom prst="rect">
            <a:avLst/>
          </a:prstGeom>
          <a:solidFill>
            <a:srgbClr val="DEDEDE"/>
          </a:solidFill>
          <a:ln>
            <a:noFill/>
          </a:ln>
        </p:spPr>
      </p:pic>
      <p:sp>
        <p:nvSpPr>
          <p:cNvPr id="320" name="Google Shape;320;p4"/>
          <p:cNvSpPr txBox="1">
            <a:spLocks noGrp="1"/>
          </p:cNvSpPr>
          <p:nvPr>
            <p:ph type="ctrTitle"/>
          </p:nvPr>
        </p:nvSpPr>
        <p:spPr>
          <a:prstGeom prst="rect">
            <a:avLst/>
          </a:prstGeom>
          <a:noFill/>
          <a:ln>
            <a:noFill/>
          </a:ln>
        </p:spPr>
        <p:txBody>
          <a:bodyPr spcFirstLastPara="1" wrap="square" lIns="91425" tIns="45700" rIns="91425" bIns="45700" anchor="b" anchorCtr="0">
            <a:normAutofit/>
          </a:bodyPr>
          <a:lstStyle/>
          <a:p>
            <a:pPr marL="0" lvl="0" indent="0" algn="l" rtl="0">
              <a:lnSpc>
                <a:spcPct val="85000"/>
              </a:lnSpc>
              <a:spcBef>
                <a:spcPts val="0"/>
              </a:spcBef>
              <a:spcAft>
                <a:spcPts val="0"/>
              </a:spcAft>
              <a:buSzPts val="3200"/>
              <a:buNone/>
            </a:pPr>
            <a:r>
              <a:rPr lang="el-GR"/>
              <a:t>Lorem ipsum </a:t>
            </a:r>
            <a:br>
              <a:rPr lang="el-GR"/>
            </a:br>
            <a:r>
              <a:rPr lang="el-GR"/>
              <a:t>dolor sit amet consectetuer</a:t>
            </a:r>
            <a:endParaRPr/>
          </a:p>
        </p:txBody>
      </p:sp>
      <p:sp>
        <p:nvSpPr>
          <p:cNvPr id="321" name="Google Shape;321;p4"/>
          <p:cNvSpPr txBox="1">
            <a:spLocks noGrp="1"/>
          </p:cNvSpPr>
          <p:nvPr>
            <p:ph type="subTitle" idx="1"/>
          </p:nvPr>
        </p:nvSpPr>
        <p:spPr>
          <a:xfrm>
            <a:off x="61245" y="3581715"/>
            <a:ext cx="5258640" cy="594360"/>
          </a:xfrm>
          <a:prstGeom prst="rect">
            <a:avLst/>
          </a:prstGeom>
          <a:noFill/>
          <a:ln>
            <a:noFill/>
          </a:ln>
        </p:spPr>
        <p:txBody>
          <a:bodyPr spcFirstLastPara="1" wrap="square" lIns="91425" tIns="45700" rIns="91425" bIns="45700" anchor="t" anchorCtr="0">
            <a:normAutofit/>
          </a:bodyPr>
          <a:lstStyle/>
          <a:p>
            <a:pPr marL="0" lvl="0" indent="0" algn="l" rtl="0">
              <a:lnSpc>
                <a:spcPct val="100000"/>
              </a:lnSpc>
              <a:spcBef>
                <a:spcPts val="0"/>
              </a:spcBef>
              <a:spcAft>
                <a:spcPts val="0"/>
              </a:spcAft>
              <a:buSzPts val="1100"/>
              <a:buNone/>
            </a:pPr>
            <a:r>
              <a:rPr lang="el-GR"/>
              <a:t>Presentation by </a:t>
            </a:r>
            <a:r>
              <a:rPr lang="el-GR" b="1"/>
              <a:t>Lorem Ipsum</a:t>
            </a:r>
            <a:endParaRPr/>
          </a:p>
          <a:p>
            <a:pPr marL="0" lvl="0" indent="0" algn="l" rtl="0">
              <a:lnSpc>
                <a:spcPct val="100000"/>
              </a:lnSpc>
              <a:spcBef>
                <a:spcPts val="0"/>
              </a:spcBef>
              <a:spcAft>
                <a:spcPts val="0"/>
              </a:spcAft>
              <a:buSzPts val="1100"/>
              <a:buNone/>
            </a:pPr>
            <a:r>
              <a:rPr lang="el-GR"/>
              <a:t>January 2021</a:t>
            </a:r>
            <a:endParaRPr/>
          </a:p>
        </p:txBody>
      </p:sp>
      <p:sp>
        <p:nvSpPr>
          <p:cNvPr id="322" name="Google Shape;322;p4"/>
          <p:cNvSpPr/>
          <p:nvPr/>
        </p:nvSpPr>
        <p:spPr>
          <a:xfrm>
            <a:off x="0" y="0"/>
            <a:ext cx="9113520"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700" b="0" i="0" u="none" strike="noStrike" cap="none" dirty="0">
              <a:solidFill>
                <a:schemeClr val="lt1"/>
              </a:solidFill>
              <a:latin typeface="Arial"/>
              <a:ea typeface="Arial"/>
              <a:cs typeface="Arial"/>
              <a:sym typeface="Arial"/>
            </a:endParaRPr>
          </a:p>
        </p:txBody>
      </p:sp>
      <p:sp>
        <p:nvSpPr>
          <p:cNvPr id="324" name="Google Shape;324;p4"/>
          <p:cNvSpPr txBox="1"/>
          <p:nvPr/>
        </p:nvSpPr>
        <p:spPr>
          <a:xfrm>
            <a:off x="1038380" y="2107629"/>
            <a:ext cx="6672104" cy="1107955"/>
          </a:xfrm>
          <a:prstGeom prst="rect">
            <a:avLst/>
          </a:prstGeom>
          <a:noFill/>
          <a:ln>
            <a:noFill/>
          </a:ln>
        </p:spPr>
        <p:txBody>
          <a:bodyPr spcFirstLastPara="1" wrap="square" lIns="91425" tIns="45700" rIns="91425" bIns="45700" anchor="t" anchorCtr="0">
            <a:spAutoFit/>
          </a:bodyPr>
          <a:lstStyle/>
          <a:p>
            <a:pPr marR="288290" lvl="0" algn="l" rtl="0">
              <a:lnSpc>
                <a:spcPct val="100000"/>
              </a:lnSpc>
              <a:spcBef>
                <a:spcPts val="600"/>
              </a:spcBef>
              <a:spcAft>
                <a:spcPts val="600"/>
              </a:spcAft>
              <a:buClr>
                <a:srgbClr val="000000"/>
              </a:buClr>
              <a:buSzPts val="2800"/>
              <a:buFont typeface="Arial"/>
              <a:buNone/>
            </a:pPr>
            <a:r>
              <a:rPr lang="el-GR" b="0" u="none" strike="noStrike" cap="none" dirty="0">
                <a:ea typeface="Georgia"/>
                <a:cs typeface="Georgia"/>
                <a:sym typeface="Georgia"/>
              </a:rPr>
              <a:t>H άσκηση της </a:t>
            </a:r>
            <a:r>
              <a:rPr lang="el-GR" b="1" u="none" strike="noStrike" cap="none" dirty="0">
                <a:ea typeface="Georgia"/>
                <a:cs typeface="Georgia"/>
                <a:sym typeface="Georgia"/>
              </a:rPr>
              <a:t>εξωτερικής πολιτικής της Ελληνικής Δημοκρατίας </a:t>
            </a:r>
            <a:r>
              <a:rPr lang="el-GR" b="0" u="none" strike="noStrike" cap="none" dirty="0">
                <a:ea typeface="Georgia"/>
                <a:cs typeface="Georgia"/>
                <a:sym typeface="Georgia"/>
              </a:rPr>
              <a:t>και η </a:t>
            </a:r>
            <a:r>
              <a:rPr lang="el-GR" b="1" u="none" strike="noStrike" cap="none" dirty="0">
                <a:ea typeface="Georgia"/>
                <a:cs typeface="Georgia"/>
                <a:sym typeface="Georgia"/>
              </a:rPr>
              <a:t>προαγωγή της διεθνούς νομιμότητας </a:t>
            </a:r>
            <a:r>
              <a:rPr lang="el-GR" b="0" u="none" strike="noStrike" cap="none" dirty="0">
                <a:ea typeface="Georgia"/>
                <a:cs typeface="Georgia"/>
                <a:sym typeface="Georgia"/>
              </a:rPr>
              <a:t>σε συνεργασία με τα άλλα κράτη και τη διεθνή κοινότητα</a:t>
            </a:r>
            <a:r>
              <a:rPr lang="el-GR" sz="2000" b="0" u="none" strike="noStrike" cap="none" dirty="0">
                <a:ea typeface="Georgia"/>
                <a:cs typeface="Georgia"/>
                <a:sym typeface="Georgia"/>
              </a:rPr>
              <a:t>.</a:t>
            </a:r>
          </a:p>
        </p:txBody>
      </p:sp>
      <p:sp>
        <p:nvSpPr>
          <p:cNvPr id="326" name="Google Shape;326;p4"/>
          <p:cNvSpPr txBox="1"/>
          <p:nvPr/>
        </p:nvSpPr>
        <p:spPr>
          <a:xfrm>
            <a:off x="4038600" y="6356350"/>
            <a:ext cx="4114800" cy="3651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800"/>
              <a:buFont typeface="Arial"/>
              <a:buNone/>
            </a:pPr>
            <a:fld id="{00000000-1234-1234-1234-123412341234}" type="slidenum">
              <a:rPr lang="el-GR" sz="800" b="0" i="0" u="none" strike="noStrike" cap="none">
                <a:solidFill>
                  <a:srgbClr val="888888"/>
                </a:solidFill>
                <a:latin typeface="Arial"/>
                <a:ea typeface="Arial"/>
                <a:cs typeface="Arial"/>
                <a:sym typeface="Arial"/>
              </a:rPr>
              <a:pPr marL="0" marR="0" lvl="0" indent="0" algn="ctr" rtl="0">
                <a:lnSpc>
                  <a:spcPct val="100000"/>
                </a:lnSpc>
                <a:spcBef>
                  <a:spcPts val="0"/>
                </a:spcBef>
                <a:spcAft>
                  <a:spcPts val="0"/>
                </a:spcAft>
                <a:buClr>
                  <a:srgbClr val="000000"/>
                </a:buClr>
                <a:buSzPts val="800"/>
                <a:buFont typeface="Arial"/>
                <a:buNone/>
              </a:pPr>
              <a:t>7</a:t>
            </a:fld>
            <a:endParaRPr sz="800" b="0" i="0" u="none" strike="noStrike" cap="none">
              <a:solidFill>
                <a:srgbClr val="888888"/>
              </a:solidFill>
              <a:latin typeface="Arial"/>
              <a:ea typeface="Arial"/>
              <a:cs typeface="Arial"/>
              <a:sym typeface="Arial"/>
            </a:endParaRPr>
          </a:p>
        </p:txBody>
      </p:sp>
      <p:sp>
        <p:nvSpPr>
          <p:cNvPr id="10" name="Title 2">
            <a:extLst>
              <a:ext uri="{FF2B5EF4-FFF2-40B4-BE49-F238E27FC236}">
                <a16:creationId xmlns:a16="http://schemas.microsoft.com/office/drawing/2014/main" id="{382D0D61-B7C7-4055-B8BB-B4309ADA74E8}"/>
              </a:ext>
            </a:extLst>
          </p:cNvPr>
          <p:cNvSpPr txBox="1">
            <a:spLocks noChangeArrowheads="1"/>
          </p:cNvSpPr>
          <p:nvPr/>
        </p:nvSpPr>
        <p:spPr>
          <a:xfrm>
            <a:off x="568964" y="215571"/>
            <a:ext cx="9547835" cy="5857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l-GR" altLang="en-US" sz="2400" b="1" spc="-1" dirty="0">
                <a:solidFill>
                  <a:schemeClr val="accent1"/>
                </a:solidFill>
                <a:latin typeface="Calibri" panose="020F0502020204030204" pitchFamily="34" charset="0"/>
                <a:cs typeface="Calibri" panose="020F0502020204030204" pitchFamily="34" charset="0"/>
                <a:sym typeface="Century Gothic"/>
              </a:rPr>
              <a:t>Αποστολή και όραμα ΣΕΣ</a:t>
            </a:r>
          </a:p>
        </p:txBody>
      </p:sp>
      <p:sp>
        <p:nvSpPr>
          <p:cNvPr id="11" name="Freeform 112">
            <a:extLst>
              <a:ext uri="{FF2B5EF4-FFF2-40B4-BE49-F238E27FC236}">
                <a16:creationId xmlns:a16="http://schemas.microsoft.com/office/drawing/2014/main" id="{F6E0D1E4-93A9-4077-8C6F-4F53F45CFA93}"/>
              </a:ext>
            </a:extLst>
          </p:cNvPr>
          <p:cNvSpPr>
            <a:spLocks noChangeAspect="1" noEditPoints="1"/>
          </p:cNvSpPr>
          <p:nvPr/>
        </p:nvSpPr>
        <p:spPr bwMode="auto">
          <a:xfrm>
            <a:off x="190834" y="2251811"/>
            <a:ext cx="717959" cy="720000"/>
          </a:xfrm>
          <a:custGeom>
            <a:avLst/>
            <a:gdLst>
              <a:gd name="T0" fmla="*/ 288 w 576"/>
              <a:gd name="T1" fmla="*/ 224 h 576"/>
              <a:gd name="T2" fmla="*/ 224 w 576"/>
              <a:gd name="T3" fmla="*/ 288 h 576"/>
              <a:gd name="T4" fmla="*/ 288 w 576"/>
              <a:gd name="T5" fmla="*/ 352 h 576"/>
              <a:gd name="T6" fmla="*/ 352 w 576"/>
              <a:gd name="T7" fmla="*/ 288 h 576"/>
              <a:gd name="T8" fmla="*/ 288 w 576"/>
              <a:gd name="T9" fmla="*/ 224 h 576"/>
              <a:gd name="T10" fmla="*/ 327 w 576"/>
              <a:gd name="T11" fmla="*/ 288 h 576"/>
              <a:gd name="T12" fmla="*/ 288 w 576"/>
              <a:gd name="T13" fmla="*/ 327 h 576"/>
              <a:gd name="T14" fmla="*/ 249 w 576"/>
              <a:gd name="T15" fmla="*/ 288 h 576"/>
              <a:gd name="T16" fmla="*/ 288 w 576"/>
              <a:gd name="T17" fmla="*/ 249 h 576"/>
              <a:gd name="T18" fmla="*/ 327 w 576"/>
              <a:gd name="T19" fmla="*/ 288 h 576"/>
              <a:gd name="T20" fmla="*/ 479 w 576"/>
              <a:gd name="T21" fmla="*/ 288 h 576"/>
              <a:gd name="T22" fmla="*/ 423 w 576"/>
              <a:gd name="T23" fmla="*/ 153 h 576"/>
              <a:gd name="T24" fmla="*/ 288 w 576"/>
              <a:gd name="T25" fmla="*/ 97 h 576"/>
              <a:gd name="T26" fmla="*/ 153 w 576"/>
              <a:gd name="T27" fmla="*/ 153 h 576"/>
              <a:gd name="T28" fmla="*/ 97 w 576"/>
              <a:gd name="T29" fmla="*/ 288 h 576"/>
              <a:gd name="T30" fmla="*/ 145 w 576"/>
              <a:gd name="T31" fmla="*/ 414 h 576"/>
              <a:gd name="T32" fmla="*/ 113 w 576"/>
              <a:gd name="T33" fmla="*/ 446 h 576"/>
              <a:gd name="T34" fmla="*/ 113 w 576"/>
              <a:gd name="T35" fmla="*/ 446 h 576"/>
              <a:gd name="T36" fmla="*/ 130 w 576"/>
              <a:gd name="T37" fmla="*/ 463 h 576"/>
              <a:gd name="T38" fmla="*/ 130 w 576"/>
              <a:gd name="T39" fmla="*/ 463 h 576"/>
              <a:gd name="T40" fmla="*/ 162 w 576"/>
              <a:gd name="T41" fmla="*/ 431 h 576"/>
              <a:gd name="T42" fmla="*/ 288 w 576"/>
              <a:gd name="T43" fmla="*/ 479 h 576"/>
              <a:gd name="T44" fmla="*/ 414 w 576"/>
              <a:gd name="T45" fmla="*/ 431 h 576"/>
              <a:gd name="T46" fmla="*/ 446 w 576"/>
              <a:gd name="T47" fmla="*/ 463 h 576"/>
              <a:gd name="T48" fmla="*/ 446 w 576"/>
              <a:gd name="T49" fmla="*/ 463 h 576"/>
              <a:gd name="T50" fmla="*/ 463 w 576"/>
              <a:gd name="T51" fmla="*/ 446 h 576"/>
              <a:gd name="T52" fmla="*/ 464 w 576"/>
              <a:gd name="T53" fmla="*/ 446 h 576"/>
              <a:gd name="T54" fmla="*/ 431 w 576"/>
              <a:gd name="T55" fmla="*/ 414 h 576"/>
              <a:gd name="T56" fmla="*/ 479 w 576"/>
              <a:gd name="T57" fmla="*/ 288 h 576"/>
              <a:gd name="T58" fmla="*/ 454 w 576"/>
              <a:gd name="T59" fmla="*/ 288 h 576"/>
              <a:gd name="T60" fmla="*/ 288 w 576"/>
              <a:gd name="T61" fmla="*/ 454 h 576"/>
              <a:gd name="T62" fmla="*/ 122 w 576"/>
              <a:gd name="T63" fmla="*/ 288 h 576"/>
              <a:gd name="T64" fmla="*/ 288 w 576"/>
              <a:gd name="T65" fmla="*/ 122 h 576"/>
              <a:gd name="T66" fmla="*/ 454 w 576"/>
              <a:gd name="T67" fmla="*/ 288 h 576"/>
              <a:gd name="T68" fmla="*/ 288 w 576"/>
              <a:gd name="T69" fmla="*/ 161 h 576"/>
              <a:gd name="T70" fmla="*/ 161 w 576"/>
              <a:gd name="T71" fmla="*/ 288 h 576"/>
              <a:gd name="T72" fmla="*/ 288 w 576"/>
              <a:gd name="T73" fmla="*/ 415 h 576"/>
              <a:gd name="T74" fmla="*/ 415 w 576"/>
              <a:gd name="T75" fmla="*/ 288 h 576"/>
              <a:gd name="T76" fmla="*/ 288 w 576"/>
              <a:gd name="T77" fmla="*/ 161 h 576"/>
              <a:gd name="T78" fmla="*/ 391 w 576"/>
              <a:gd name="T79" fmla="*/ 288 h 576"/>
              <a:gd name="T80" fmla="*/ 288 w 576"/>
              <a:gd name="T81" fmla="*/ 391 h 576"/>
              <a:gd name="T82" fmla="*/ 185 w 576"/>
              <a:gd name="T83" fmla="*/ 288 h 576"/>
              <a:gd name="T84" fmla="*/ 288 w 576"/>
              <a:gd name="T85" fmla="*/ 185 h 576"/>
              <a:gd name="T86" fmla="*/ 391 w 576"/>
              <a:gd name="T87" fmla="*/ 288 h 576"/>
              <a:gd name="T88" fmla="*/ 0 w 576"/>
              <a:gd name="T89" fmla="*/ 0 h 576"/>
              <a:gd name="T90" fmla="*/ 0 w 576"/>
              <a:gd name="T91" fmla="*/ 576 h 576"/>
              <a:gd name="T92" fmla="*/ 576 w 576"/>
              <a:gd name="T93" fmla="*/ 576 h 576"/>
              <a:gd name="T94" fmla="*/ 576 w 576"/>
              <a:gd name="T95" fmla="*/ 0 h 576"/>
              <a:gd name="T96" fmla="*/ 0 w 576"/>
              <a:gd name="T97" fmla="*/ 0 h 576"/>
              <a:gd name="T98" fmla="*/ 551 w 576"/>
              <a:gd name="T99" fmla="*/ 551 h 576"/>
              <a:gd name="T100" fmla="*/ 25 w 576"/>
              <a:gd name="T101" fmla="*/ 551 h 576"/>
              <a:gd name="T102" fmla="*/ 25 w 576"/>
              <a:gd name="T103" fmla="*/ 25 h 576"/>
              <a:gd name="T104" fmla="*/ 551 w 576"/>
              <a:gd name="T105" fmla="*/ 25 h 576"/>
              <a:gd name="T106" fmla="*/ 551 w 576"/>
              <a:gd name="T10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6" h="576">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ja-JP" altLang="en-US" sz="700" b="1">
              <a:solidFill>
                <a:srgbClr val="00338D"/>
              </a:solidFill>
            </a:endParaRPr>
          </a:p>
        </p:txBody>
      </p:sp>
      <p:sp>
        <p:nvSpPr>
          <p:cNvPr id="3" name="TextBox 2">
            <a:extLst>
              <a:ext uri="{FF2B5EF4-FFF2-40B4-BE49-F238E27FC236}">
                <a16:creationId xmlns:a16="http://schemas.microsoft.com/office/drawing/2014/main" id="{6ECF996C-70A0-4D7E-8517-862128FE21FB}"/>
              </a:ext>
            </a:extLst>
          </p:cNvPr>
          <p:cNvSpPr txBox="1"/>
          <p:nvPr/>
        </p:nvSpPr>
        <p:spPr>
          <a:xfrm>
            <a:off x="0" y="3061696"/>
            <a:ext cx="1099627" cy="307777"/>
          </a:xfrm>
          <a:prstGeom prst="rect">
            <a:avLst/>
          </a:prstGeom>
          <a:noFill/>
        </p:spPr>
        <p:txBody>
          <a:bodyPr wrap="square" rtlCol="0">
            <a:spAutoFit/>
          </a:bodyPr>
          <a:lstStyle/>
          <a:p>
            <a:pPr algn="ctr"/>
            <a:r>
              <a:rPr lang="el-GR" sz="1400" b="1" dirty="0">
                <a:solidFill>
                  <a:srgbClr val="00338D"/>
                </a:solidFill>
              </a:rPr>
              <a:t>Αποστολή </a:t>
            </a:r>
            <a:endParaRPr lang="en-GB" sz="1400" b="1" dirty="0">
              <a:solidFill>
                <a:srgbClr val="00338D"/>
              </a:solidFill>
            </a:endParaRPr>
          </a:p>
        </p:txBody>
      </p:sp>
      <p:sp>
        <p:nvSpPr>
          <p:cNvPr id="17" name="Google Shape;324;p4">
            <a:extLst>
              <a:ext uri="{FF2B5EF4-FFF2-40B4-BE49-F238E27FC236}">
                <a16:creationId xmlns:a16="http://schemas.microsoft.com/office/drawing/2014/main" id="{4FBBD25F-EF68-4558-BA21-B6E87CF876D9}"/>
              </a:ext>
            </a:extLst>
          </p:cNvPr>
          <p:cNvSpPr txBox="1"/>
          <p:nvPr/>
        </p:nvSpPr>
        <p:spPr>
          <a:xfrm>
            <a:off x="1038379" y="3805294"/>
            <a:ext cx="7514035" cy="1938952"/>
          </a:xfrm>
          <a:prstGeom prst="rect">
            <a:avLst/>
          </a:prstGeom>
          <a:noFill/>
          <a:ln>
            <a:noFill/>
          </a:ln>
        </p:spPr>
        <p:txBody>
          <a:bodyPr spcFirstLastPara="1" wrap="square" lIns="91425" tIns="45700" rIns="91425" bIns="45700" anchor="t" anchorCtr="0">
            <a:spAutoFit/>
          </a:bodyPr>
          <a:lstStyle/>
          <a:p>
            <a:pPr marR="288290" lvl="0" algn="l" rtl="0">
              <a:lnSpc>
                <a:spcPct val="100000"/>
              </a:lnSpc>
              <a:spcBef>
                <a:spcPts val="600"/>
              </a:spcBef>
              <a:spcAft>
                <a:spcPts val="600"/>
              </a:spcAft>
              <a:buClr>
                <a:srgbClr val="000000"/>
              </a:buClr>
              <a:buSzPts val="2800"/>
              <a:buFont typeface="Arial"/>
              <a:buNone/>
            </a:pPr>
            <a:r>
              <a:rPr lang="el-GR" b="0" u="none" strike="noStrike" cap="none" dirty="0">
                <a:ea typeface="Georgia"/>
                <a:cs typeface="Georgia"/>
                <a:sym typeface="Georgia"/>
              </a:rPr>
              <a:t>Προάγοντας το εθνικό συμφέρον, το ΥΠΕΞ επιδιώκει να συμμετέχει  ενεργά και να συμβάλλει ουσιαστικ</a:t>
            </a:r>
            <a:r>
              <a:rPr lang="el-GR" dirty="0">
                <a:ea typeface="Georgia"/>
                <a:cs typeface="Georgia"/>
                <a:sym typeface="Georgia"/>
              </a:rPr>
              <a:t>ά:</a:t>
            </a:r>
            <a:r>
              <a:rPr lang="el-GR" b="0" u="none" strike="noStrike" cap="none" dirty="0">
                <a:ea typeface="Georgia"/>
                <a:cs typeface="Georgia"/>
                <a:sym typeface="Georgia"/>
              </a:rPr>
              <a:t> </a:t>
            </a:r>
          </a:p>
          <a:p>
            <a:pPr marL="457200" marR="288290" lvl="0" indent="-279400" algn="l" rtl="0">
              <a:lnSpc>
                <a:spcPct val="100000"/>
              </a:lnSpc>
              <a:spcBef>
                <a:spcPts val="600"/>
              </a:spcBef>
              <a:spcAft>
                <a:spcPts val="600"/>
              </a:spcAft>
              <a:buClr>
                <a:srgbClr val="013476"/>
              </a:buClr>
              <a:buSzPct val="100000"/>
              <a:buFont typeface="+mj-lt"/>
              <a:buAutoNum type="arabicPeriod"/>
            </a:pPr>
            <a:r>
              <a:rPr lang="el-GR" b="0" u="none" strike="noStrike" cap="none" dirty="0">
                <a:ea typeface="Georgia"/>
                <a:cs typeface="Georgia"/>
                <a:sym typeface="Georgia"/>
              </a:rPr>
              <a:t>στην ενίσχυση </a:t>
            </a:r>
            <a:r>
              <a:rPr lang="el-GR" b="1" u="none" strike="noStrike" cap="none" dirty="0">
                <a:ea typeface="Georgia"/>
                <a:cs typeface="Georgia"/>
                <a:sym typeface="Georgia"/>
              </a:rPr>
              <a:t>της παγκόσμιας ασφάλειας, ευημερίας και ειρήνης  </a:t>
            </a:r>
          </a:p>
          <a:p>
            <a:pPr marL="457200" marR="288290" lvl="0" indent="-279400" algn="l" rtl="0">
              <a:lnSpc>
                <a:spcPct val="100000"/>
              </a:lnSpc>
              <a:spcBef>
                <a:spcPts val="600"/>
              </a:spcBef>
              <a:spcAft>
                <a:spcPts val="600"/>
              </a:spcAft>
              <a:buClr>
                <a:srgbClr val="00338D"/>
              </a:buClr>
              <a:buSzPct val="100000"/>
              <a:buFont typeface="+mj-lt"/>
              <a:buAutoNum type="arabicPeriod"/>
            </a:pPr>
            <a:r>
              <a:rPr lang="el-GR" b="0" u="none" strike="noStrike" cap="none" dirty="0">
                <a:ea typeface="Georgia"/>
                <a:cs typeface="Georgia"/>
                <a:sym typeface="Georgia"/>
              </a:rPr>
              <a:t>στην προάσπιση των κανόνων του </a:t>
            </a:r>
            <a:r>
              <a:rPr lang="el-GR" b="1" u="none" strike="noStrike" cap="none" dirty="0">
                <a:ea typeface="Georgia"/>
                <a:cs typeface="Georgia"/>
                <a:sym typeface="Georgia"/>
              </a:rPr>
              <a:t>Διεθνούς Δικαίου, των δημοκρατικών θεσμών και των ανθρωπίνων δικαιωμάτων</a:t>
            </a:r>
            <a:r>
              <a:rPr lang="el-GR" b="0" u="none" strike="noStrike" cap="none" dirty="0">
                <a:ea typeface="Georgia"/>
                <a:cs typeface="Georgia"/>
                <a:sym typeface="Georgia"/>
              </a:rPr>
              <a:t>.</a:t>
            </a:r>
          </a:p>
        </p:txBody>
      </p:sp>
      <p:sp>
        <p:nvSpPr>
          <p:cNvPr id="19" name="TextBox 18">
            <a:extLst>
              <a:ext uri="{FF2B5EF4-FFF2-40B4-BE49-F238E27FC236}">
                <a16:creationId xmlns:a16="http://schemas.microsoft.com/office/drawing/2014/main" id="{24EDC182-D9CC-429C-BE06-A32BC7EAD887}"/>
              </a:ext>
            </a:extLst>
          </p:cNvPr>
          <p:cNvSpPr txBox="1"/>
          <p:nvPr/>
        </p:nvSpPr>
        <p:spPr>
          <a:xfrm>
            <a:off x="0" y="4814103"/>
            <a:ext cx="1099627" cy="307777"/>
          </a:xfrm>
          <a:prstGeom prst="rect">
            <a:avLst/>
          </a:prstGeom>
          <a:noFill/>
        </p:spPr>
        <p:txBody>
          <a:bodyPr wrap="square" rtlCol="0">
            <a:spAutoFit/>
          </a:bodyPr>
          <a:lstStyle/>
          <a:p>
            <a:pPr algn="ctr"/>
            <a:r>
              <a:rPr lang="el-GR" sz="1400" b="1" dirty="0">
                <a:solidFill>
                  <a:srgbClr val="00338D"/>
                </a:solidFill>
              </a:rPr>
              <a:t>Όραμα </a:t>
            </a:r>
            <a:endParaRPr lang="en-GB" sz="1400" b="1" dirty="0">
              <a:solidFill>
                <a:srgbClr val="00338D"/>
              </a:solidFill>
            </a:endParaRPr>
          </a:p>
        </p:txBody>
      </p:sp>
      <p:sp>
        <p:nvSpPr>
          <p:cNvPr id="20" name="Freeform 16">
            <a:extLst>
              <a:ext uri="{FF2B5EF4-FFF2-40B4-BE49-F238E27FC236}">
                <a16:creationId xmlns:a16="http://schemas.microsoft.com/office/drawing/2014/main" id="{97BEDC84-C57C-4916-8460-8B121E6735A8}"/>
              </a:ext>
            </a:extLst>
          </p:cNvPr>
          <p:cNvSpPr>
            <a:spLocks noChangeAspect="1" noEditPoints="1"/>
          </p:cNvSpPr>
          <p:nvPr/>
        </p:nvSpPr>
        <p:spPr bwMode="auto">
          <a:xfrm>
            <a:off x="188903" y="3957202"/>
            <a:ext cx="721819" cy="720000"/>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14 h 346"/>
              <a:gd name="T12" fmla="*/ 332 w 347"/>
              <a:gd name="T13" fmla="*/ 163 h 346"/>
              <a:gd name="T14" fmla="*/ 289 w 347"/>
              <a:gd name="T15" fmla="*/ 120 h 346"/>
              <a:gd name="T16" fmla="*/ 174 w 347"/>
              <a:gd name="T17" fmla="*/ 71 h 346"/>
              <a:gd name="T18" fmla="*/ 58 w 347"/>
              <a:gd name="T19" fmla="*/ 120 h 346"/>
              <a:gd name="T20" fmla="*/ 15 w 347"/>
              <a:gd name="T21" fmla="*/ 163 h 346"/>
              <a:gd name="T22" fmla="*/ 15 w 347"/>
              <a:gd name="T23" fmla="*/ 14 h 346"/>
              <a:gd name="T24" fmla="*/ 332 w 347"/>
              <a:gd name="T25" fmla="*/ 14 h 346"/>
              <a:gd name="T26" fmla="*/ 321 w 347"/>
              <a:gd name="T27" fmla="*/ 173 h 346"/>
              <a:gd name="T28" fmla="*/ 174 w 347"/>
              <a:gd name="T29" fmla="*/ 260 h 346"/>
              <a:gd name="T30" fmla="*/ 26 w 347"/>
              <a:gd name="T31" fmla="*/ 173 h 346"/>
              <a:gd name="T32" fmla="*/ 174 w 347"/>
              <a:gd name="T33" fmla="*/ 86 h 346"/>
              <a:gd name="T34" fmla="*/ 321 w 347"/>
              <a:gd name="T35" fmla="*/ 173 h 346"/>
              <a:gd name="T36" fmla="*/ 15 w 347"/>
              <a:gd name="T37" fmla="*/ 331 h 346"/>
              <a:gd name="T38" fmla="*/ 15 w 347"/>
              <a:gd name="T39" fmla="*/ 183 h 346"/>
              <a:gd name="T40" fmla="*/ 58 w 347"/>
              <a:gd name="T41" fmla="*/ 226 h 346"/>
              <a:gd name="T42" fmla="*/ 174 w 347"/>
              <a:gd name="T43" fmla="*/ 275 h 346"/>
              <a:gd name="T44" fmla="*/ 289 w 347"/>
              <a:gd name="T45" fmla="*/ 226 h 346"/>
              <a:gd name="T46" fmla="*/ 332 w 347"/>
              <a:gd name="T47" fmla="*/ 183 h 346"/>
              <a:gd name="T48" fmla="*/ 332 w 347"/>
              <a:gd name="T49" fmla="*/ 331 h 346"/>
              <a:gd name="T50" fmla="*/ 15 w 347"/>
              <a:gd name="T51" fmla="*/ 331 h 346"/>
              <a:gd name="T52" fmla="*/ 174 w 347"/>
              <a:gd name="T53" fmla="*/ 96 h 346"/>
              <a:gd name="T54" fmla="*/ 96 w 347"/>
              <a:gd name="T55" fmla="*/ 173 h 346"/>
              <a:gd name="T56" fmla="*/ 174 w 347"/>
              <a:gd name="T57" fmla="*/ 250 h 346"/>
              <a:gd name="T58" fmla="*/ 251 w 347"/>
              <a:gd name="T59" fmla="*/ 173 h 346"/>
              <a:gd name="T60" fmla="*/ 174 w 347"/>
              <a:gd name="T61" fmla="*/ 96 h 346"/>
              <a:gd name="T62" fmla="*/ 235 w 347"/>
              <a:gd name="T63" fmla="*/ 165 h 346"/>
              <a:gd name="T64" fmla="*/ 181 w 347"/>
              <a:gd name="T65" fmla="*/ 165 h 346"/>
              <a:gd name="T66" fmla="*/ 181 w 347"/>
              <a:gd name="T67" fmla="*/ 111 h 346"/>
              <a:gd name="T68" fmla="*/ 235 w 347"/>
              <a:gd name="T69" fmla="*/ 165 h 346"/>
              <a:gd name="T70" fmla="*/ 166 w 347"/>
              <a:gd name="T71" fmla="*/ 111 h 346"/>
              <a:gd name="T72" fmla="*/ 166 w 347"/>
              <a:gd name="T73" fmla="*/ 165 h 346"/>
              <a:gd name="T74" fmla="*/ 112 w 347"/>
              <a:gd name="T75" fmla="*/ 165 h 346"/>
              <a:gd name="T76" fmla="*/ 166 w 347"/>
              <a:gd name="T77" fmla="*/ 111 h 346"/>
              <a:gd name="T78" fmla="*/ 112 w 347"/>
              <a:gd name="T79" fmla="*/ 180 h 346"/>
              <a:gd name="T80" fmla="*/ 166 w 347"/>
              <a:gd name="T81" fmla="*/ 180 h 346"/>
              <a:gd name="T82" fmla="*/ 166 w 347"/>
              <a:gd name="T83" fmla="*/ 235 h 346"/>
              <a:gd name="T84" fmla="*/ 112 w 347"/>
              <a:gd name="T85" fmla="*/ 180 h 346"/>
              <a:gd name="T86" fmla="*/ 181 w 347"/>
              <a:gd name="T87" fmla="*/ 235 h 346"/>
              <a:gd name="T88" fmla="*/ 181 w 347"/>
              <a:gd name="T89" fmla="*/ 180 h 346"/>
              <a:gd name="T90" fmla="*/ 235 w 347"/>
              <a:gd name="T91" fmla="*/ 180 h 346"/>
              <a:gd name="T92" fmla="*/ 181 w 347"/>
              <a:gd name="T93" fmla="*/ 23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14"/>
                </a:moveTo>
                <a:cubicBezTo>
                  <a:pt x="332" y="163"/>
                  <a:pt x="332" y="163"/>
                  <a:pt x="332" y="163"/>
                </a:cubicBezTo>
                <a:cubicBezTo>
                  <a:pt x="325" y="154"/>
                  <a:pt x="310" y="137"/>
                  <a:pt x="289" y="120"/>
                </a:cubicBezTo>
                <a:cubicBezTo>
                  <a:pt x="251" y="88"/>
                  <a:pt x="211" y="71"/>
                  <a:pt x="174" y="71"/>
                </a:cubicBezTo>
                <a:cubicBezTo>
                  <a:pt x="136" y="71"/>
                  <a:pt x="96" y="88"/>
                  <a:pt x="58" y="120"/>
                </a:cubicBezTo>
                <a:cubicBezTo>
                  <a:pt x="37" y="137"/>
                  <a:pt x="22" y="154"/>
                  <a:pt x="15" y="163"/>
                </a:cubicBezTo>
                <a:cubicBezTo>
                  <a:pt x="15" y="14"/>
                  <a:pt x="15" y="14"/>
                  <a:pt x="15" y="14"/>
                </a:cubicBezTo>
                <a:lnTo>
                  <a:pt x="332" y="14"/>
                </a:lnTo>
                <a:close/>
                <a:moveTo>
                  <a:pt x="321" y="173"/>
                </a:moveTo>
                <a:cubicBezTo>
                  <a:pt x="306" y="191"/>
                  <a:pt x="245" y="260"/>
                  <a:pt x="174" y="260"/>
                </a:cubicBezTo>
                <a:cubicBezTo>
                  <a:pt x="102" y="260"/>
                  <a:pt x="41" y="191"/>
                  <a:pt x="26" y="173"/>
                </a:cubicBezTo>
                <a:cubicBezTo>
                  <a:pt x="41" y="155"/>
                  <a:pt x="102" y="86"/>
                  <a:pt x="174" y="86"/>
                </a:cubicBezTo>
                <a:cubicBezTo>
                  <a:pt x="245" y="86"/>
                  <a:pt x="306" y="155"/>
                  <a:pt x="321" y="173"/>
                </a:cubicBezTo>
                <a:close/>
                <a:moveTo>
                  <a:pt x="15" y="331"/>
                </a:moveTo>
                <a:cubicBezTo>
                  <a:pt x="15" y="183"/>
                  <a:pt x="15" y="183"/>
                  <a:pt x="15" y="183"/>
                </a:cubicBezTo>
                <a:cubicBezTo>
                  <a:pt x="22" y="191"/>
                  <a:pt x="37" y="208"/>
                  <a:pt x="58" y="226"/>
                </a:cubicBezTo>
                <a:cubicBezTo>
                  <a:pt x="96" y="258"/>
                  <a:pt x="136" y="275"/>
                  <a:pt x="174" y="275"/>
                </a:cubicBezTo>
                <a:cubicBezTo>
                  <a:pt x="211" y="275"/>
                  <a:pt x="251" y="258"/>
                  <a:pt x="289" y="226"/>
                </a:cubicBezTo>
                <a:cubicBezTo>
                  <a:pt x="310" y="208"/>
                  <a:pt x="325" y="191"/>
                  <a:pt x="332" y="183"/>
                </a:cubicBezTo>
                <a:cubicBezTo>
                  <a:pt x="332" y="331"/>
                  <a:pt x="332" y="331"/>
                  <a:pt x="332" y="331"/>
                </a:cubicBezTo>
                <a:lnTo>
                  <a:pt x="15" y="331"/>
                </a:lnTo>
                <a:close/>
                <a:moveTo>
                  <a:pt x="174" y="96"/>
                </a:moveTo>
                <a:cubicBezTo>
                  <a:pt x="131" y="96"/>
                  <a:pt x="96" y="130"/>
                  <a:pt x="96" y="173"/>
                </a:cubicBezTo>
                <a:cubicBezTo>
                  <a:pt x="96" y="215"/>
                  <a:pt x="131" y="250"/>
                  <a:pt x="174" y="250"/>
                </a:cubicBezTo>
                <a:cubicBezTo>
                  <a:pt x="216" y="250"/>
                  <a:pt x="251" y="215"/>
                  <a:pt x="251" y="173"/>
                </a:cubicBezTo>
                <a:cubicBezTo>
                  <a:pt x="251" y="130"/>
                  <a:pt x="216" y="96"/>
                  <a:pt x="174" y="96"/>
                </a:cubicBezTo>
                <a:close/>
                <a:moveTo>
                  <a:pt x="235" y="165"/>
                </a:moveTo>
                <a:cubicBezTo>
                  <a:pt x="181" y="165"/>
                  <a:pt x="181" y="165"/>
                  <a:pt x="181" y="165"/>
                </a:cubicBezTo>
                <a:cubicBezTo>
                  <a:pt x="181" y="111"/>
                  <a:pt x="181" y="111"/>
                  <a:pt x="181" y="111"/>
                </a:cubicBezTo>
                <a:cubicBezTo>
                  <a:pt x="209" y="114"/>
                  <a:pt x="232" y="137"/>
                  <a:pt x="235" y="165"/>
                </a:cubicBezTo>
                <a:close/>
                <a:moveTo>
                  <a:pt x="166" y="111"/>
                </a:moveTo>
                <a:cubicBezTo>
                  <a:pt x="166" y="165"/>
                  <a:pt x="166" y="165"/>
                  <a:pt x="166" y="165"/>
                </a:cubicBezTo>
                <a:cubicBezTo>
                  <a:pt x="112" y="165"/>
                  <a:pt x="112" y="165"/>
                  <a:pt x="112" y="165"/>
                </a:cubicBezTo>
                <a:cubicBezTo>
                  <a:pt x="115" y="137"/>
                  <a:pt x="138" y="114"/>
                  <a:pt x="166" y="111"/>
                </a:cubicBezTo>
                <a:close/>
                <a:moveTo>
                  <a:pt x="112" y="180"/>
                </a:moveTo>
                <a:cubicBezTo>
                  <a:pt x="166" y="180"/>
                  <a:pt x="166" y="180"/>
                  <a:pt x="166" y="180"/>
                </a:cubicBezTo>
                <a:cubicBezTo>
                  <a:pt x="166" y="235"/>
                  <a:pt x="166" y="235"/>
                  <a:pt x="166" y="235"/>
                </a:cubicBezTo>
                <a:cubicBezTo>
                  <a:pt x="138" y="231"/>
                  <a:pt x="115" y="209"/>
                  <a:pt x="112" y="180"/>
                </a:cubicBezTo>
                <a:close/>
                <a:moveTo>
                  <a:pt x="181" y="235"/>
                </a:moveTo>
                <a:cubicBezTo>
                  <a:pt x="181" y="180"/>
                  <a:pt x="181" y="180"/>
                  <a:pt x="181" y="180"/>
                </a:cubicBezTo>
                <a:cubicBezTo>
                  <a:pt x="235" y="180"/>
                  <a:pt x="235" y="180"/>
                  <a:pt x="235" y="180"/>
                </a:cubicBezTo>
                <a:cubicBezTo>
                  <a:pt x="232" y="209"/>
                  <a:pt x="209" y="231"/>
                  <a:pt x="181" y="235"/>
                </a:cubicBezTo>
                <a:close/>
              </a:path>
            </a:pathLst>
          </a:custGeom>
          <a:solidFill>
            <a:srgbClr val="00338D"/>
          </a:solidFill>
          <a:ln>
            <a:noFill/>
          </a:ln>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endParaRPr lang="en-US" sz="700" b="1" dirty="0">
              <a:solidFill>
                <a:schemeClr val="accent1"/>
              </a:solidFill>
            </a:endParaRPr>
          </a:p>
        </p:txBody>
      </p:sp>
      <p:sp>
        <p:nvSpPr>
          <p:cNvPr id="22" name="Google Shape;116;p3">
            <a:extLst>
              <a:ext uri="{FF2B5EF4-FFF2-40B4-BE49-F238E27FC236}">
                <a16:creationId xmlns:a16="http://schemas.microsoft.com/office/drawing/2014/main" id="{2CBC1840-0D7D-49E0-B3E5-57A6F30F41B4}"/>
              </a:ext>
            </a:extLst>
          </p:cNvPr>
          <p:cNvSpPr/>
          <p:nvPr/>
        </p:nvSpPr>
        <p:spPr>
          <a:xfrm>
            <a:off x="520091" y="213433"/>
            <a:ext cx="465796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sz="2400" dirty="0">
                <a:solidFill>
                  <a:srgbClr val="FFFFFF"/>
                </a:solidFill>
                <a:latin typeface="Calibri"/>
                <a:ea typeface="Calibri"/>
                <a:cs typeface="Calibri"/>
                <a:sym typeface="Calibri"/>
              </a:rPr>
              <a:t>Αποστολή και Όραμα</a:t>
            </a:r>
            <a:endParaRPr dirty="0"/>
          </a:p>
        </p:txBody>
      </p:sp>
    </p:spTree>
    <p:extLst>
      <p:ext uri="{BB962C8B-B14F-4D97-AF65-F5344CB8AC3E}">
        <p14:creationId xmlns:p14="http://schemas.microsoft.com/office/powerpoint/2010/main" val="23701758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building, stone, government building, colonnade&#10;&#10;Description automatically generated">
            <a:extLst>
              <a:ext uri="{FF2B5EF4-FFF2-40B4-BE49-F238E27FC236}">
                <a16:creationId xmlns:a16="http://schemas.microsoft.com/office/drawing/2014/main" id="{19538348-D829-4641-9124-1886074832D3}"/>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0" y="-380"/>
            <a:ext cx="12192676" cy="6858380"/>
          </a:xfrm>
          <a:prstGeom prst="rect">
            <a:avLst/>
          </a:prstGeom>
        </p:spPr>
      </p:pic>
      <p:graphicFrame>
        <p:nvGraphicFramePr>
          <p:cNvPr id="7" name="Object 6" hidden="1">
            <a:extLst>
              <a:ext uri="{FF2B5EF4-FFF2-40B4-BE49-F238E27FC236}">
                <a16:creationId xmlns:a16="http://schemas.microsoft.com/office/drawing/2014/main" id="{8A2B45E6-C490-4119-B0D0-475C31EE97BB}"/>
              </a:ext>
            </a:extLst>
          </p:cNvPr>
          <p:cNvGraphicFramePr>
            <a:graphicFrameLocks noChangeAspect="1"/>
          </p:cNvGraphicFramePr>
          <p:nvPr>
            <p:custDataLst>
              <p:tags r:id="rId2"/>
            </p:custDataLst>
          </p:nvPr>
        </p:nvGraphicFramePr>
        <p:xfrm>
          <a:off x="1593" y="1591"/>
          <a:ext cx="1588" cy="1588"/>
        </p:xfrm>
        <a:graphic>
          <a:graphicData uri="http://schemas.openxmlformats.org/presentationml/2006/ole">
            <mc:AlternateContent xmlns:mc="http://schemas.openxmlformats.org/markup-compatibility/2006">
              <mc:Choice xmlns:v="urn:schemas-microsoft-com:vml" Requires="v">
                <p:oleObj spid="_x0000_s78982"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8A2B45E6-C490-4119-B0D0-475C31EE97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C38DB20-36FD-4622-BED2-2D5B9F9A9840}"/>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33" eaLnBrk="1" fontAlgn="auto" hangingPunct="1">
              <a:spcBef>
                <a:spcPts val="0"/>
              </a:spcBef>
              <a:spcAft>
                <a:spcPts val="0"/>
              </a:spcAft>
              <a:defRPr/>
            </a:pPr>
            <a:endParaRPr lang="en-GB" sz="11000" err="1">
              <a:solidFill>
                <a:prstClr val="white"/>
              </a:solidFill>
              <a:latin typeface="KPMG Extralight" panose="020B0303030202040204" pitchFamily="34" charset="0"/>
              <a:sym typeface="KPMG Extralight" panose="020B0303030202040204" pitchFamily="34" charset="0"/>
            </a:endParaRPr>
          </a:p>
        </p:txBody>
      </p:sp>
      <p:sp>
        <p:nvSpPr>
          <p:cNvPr id="28" name="Title 1">
            <a:extLst>
              <a:ext uri="{FF2B5EF4-FFF2-40B4-BE49-F238E27FC236}">
                <a16:creationId xmlns:a16="http://schemas.microsoft.com/office/drawing/2014/main" id="{23662372-4A27-4372-9561-FAF19776ECAE}"/>
              </a:ext>
            </a:extLst>
          </p:cNvPr>
          <p:cNvSpPr txBox="1">
            <a:spLocks/>
          </p:cNvSpPr>
          <p:nvPr/>
        </p:nvSpPr>
        <p:spPr>
          <a:xfrm>
            <a:off x="3242930" y="1782697"/>
            <a:ext cx="8432107" cy="1844737"/>
          </a:xfrm>
          <a:prstGeom prst="rect">
            <a:avLst/>
          </a:prstGeom>
          <a:noFill/>
        </p:spPr>
        <p:txBody>
          <a:bodyPr vert="horz" lIns="0" tIns="0" rIns="0" bIns="0" rtlCol="0" anchor="t" anchorCtr="0">
            <a:noAutofit/>
          </a:bodyPr>
          <a:lstStyle>
            <a:lvl1pPr algn="l" defTabSz="914400" rtl="0" eaLnBrk="1" latinLnBrk="0" hangingPunct="1">
              <a:lnSpc>
                <a:spcPct val="70000"/>
              </a:lnSpc>
              <a:spcBef>
                <a:spcPct val="0"/>
              </a:spcBef>
              <a:buNone/>
              <a:defRPr sz="11000" kern="1200" baseline="0">
                <a:solidFill>
                  <a:srgbClr val="00338D"/>
                </a:solidFill>
                <a:latin typeface="+mj-lt"/>
                <a:ea typeface="+mj-ea"/>
                <a:cs typeface="+mj-cs"/>
              </a:defRPr>
            </a:lvl1pPr>
          </a:lstStyle>
          <a:p>
            <a:pPr>
              <a:lnSpc>
                <a:spcPct val="100000"/>
              </a:lnSpc>
            </a:pPr>
            <a: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Στρατηγικοί Άξονες και Στόχοι </a:t>
            </a:r>
          </a:p>
          <a:p>
            <a:pPr>
              <a:lnSpc>
                <a:spcPct val="100000"/>
              </a:lnSpc>
            </a:pPr>
            <a:br>
              <a:rPr lang="el-GR"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br>
            <a:endParaRPr lang="en-US" sz="3600" b="1" dirty="0">
              <a:solidFill>
                <a:srgbClr val="013476"/>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11" name="Text Placeholder 2">
            <a:extLst>
              <a:ext uri="{FF2B5EF4-FFF2-40B4-BE49-F238E27FC236}">
                <a16:creationId xmlns:a16="http://schemas.microsoft.com/office/drawing/2014/main" id="{93DDD6AE-3D8F-40AD-BDDF-8344A497E04A}"/>
              </a:ext>
            </a:extLst>
          </p:cNvPr>
          <p:cNvSpPr txBox="1">
            <a:spLocks/>
          </p:cNvSpPr>
          <p:nvPr/>
        </p:nvSpPr>
        <p:spPr>
          <a:xfrm>
            <a:off x="442912" y="0"/>
            <a:ext cx="4344987" cy="6858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l-GR" sz="34800" dirty="0">
                <a:solidFill>
                  <a:srgbClr val="013476"/>
                </a:solidFill>
                <a:latin typeface="Georgia" panose="02040502050405020303" pitchFamily="18" charset="0"/>
              </a:rPr>
              <a:t>3</a:t>
            </a:r>
            <a:endParaRPr lang="en-GB" sz="34800" dirty="0">
              <a:solidFill>
                <a:srgbClr val="013476"/>
              </a:solidFill>
              <a:latin typeface="Georgia" panose="02040502050405020303" pitchFamily="18" charset="0"/>
            </a:endParaRPr>
          </a:p>
        </p:txBody>
      </p:sp>
    </p:spTree>
    <p:extLst>
      <p:ext uri="{BB962C8B-B14F-4D97-AF65-F5344CB8AC3E}">
        <p14:creationId xmlns:p14="http://schemas.microsoft.com/office/powerpoint/2010/main" val="15271999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11119D-DCC2-4827-9603-F7613E40131E}"/>
              </a:ext>
            </a:extLst>
          </p:cNvPr>
          <p:cNvGraphicFramePr>
            <a:graphicFrameLocks noChangeAspect="1"/>
          </p:cNvGraphicFramePr>
          <p:nvPr>
            <p:custDataLst>
              <p:tags r:id="rId2"/>
            </p:custDataLst>
            <p:extLst>
              <p:ext uri="{D42A27DB-BD31-4B8C-83A1-F6EECF244321}">
                <p14:modId xmlns:p14="http://schemas.microsoft.com/office/powerpoint/2010/main" val="1173174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8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5A64932-17E0-478C-9B4F-92DC0F1B7030}"/>
              </a:ext>
            </a:extLst>
          </p:cNvPr>
          <p:cNvCxnSpPr/>
          <p:nvPr/>
        </p:nvCxnSpPr>
        <p:spPr>
          <a:xfrm>
            <a:off x="520090" y="1386136"/>
            <a:ext cx="110880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878A465-C637-4BD7-8681-E712D0CF225E}"/>
              </a:ext>
            </a:extLst>
          </p:cNvPr>
          <p:cNvGrpSpPr/>
          <p:nvPr/>
        </p:nvGrpSpPr>
        <p:grpSpPr>
          <a:xfrm>
            <a:off x="426395" y="1623491"/>
            <a:ext cx="6507558" cy="5017176"/>
            <a:chOff x="421962" y="896107"/>
            <a:chExt cx="8596775" cy="6021195"/>
          </a:xfrm>
        </p:grpSpPr>
        <p:sp>
          <p:nvSpPr>
            <p:cNvPr id="23" name="Parallelogram 22">
              <a:extLst>
                <a:ext uri="{FF2B5EF4-FFF2-40B4-BE49-F238E27FC236}">
                  <a16:creationId xmlns:a16="http://schemas.microsoft.com/office/drawing/2014/main" id="{308A8A0D-6684-4247-9770-89FD4C2521B3}"/>
                </a:ext>
              </a:extLst>
            </p:cNvPr>
            <p:cNvSpPr/>
            <p:nvPr/>
          </p:nvSpPr>
          <p:spPr>
            <a:xfrm>
              <a:off x="779843" y="1782099"/>
              <a:ext cx="8238889" cy="399871"/>
            </a:xfrm>
            <a:prstGeom prst="parallelogram">
              <a:avLst>
                <a:gd name="adj" fmla="val 112453"/>
              </a:avLst>
            </a:prstGeom>
            <a:solidFill>
              <a:schemeClr val="accent1">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4" name="Parallelogram 23">
              <a:extLst>
                <a:ext uri="{FF2B5EF4-FFF2-40B4-BE49-F238E27FC236}">
                  <a16:creationId xmlns:a16="http://schemas.microsoft.com/office/drawing/2014/main" id="{D6EAAB7B-4AC0-4288-81B0-3C24CB115212}"/>
                </a:ext>
              </a:extLst>
            </p:cNvPr>
            <p:cNvSpPr/>
            <p:nvPr/>
          </p:nvSpPr>
          <p:spPr>
            <a:xfrm>
              <a:off x="779843" y="3069339"/>
              <a:ext cx="8238889" cy="399871"/>
            </a:xfrm>
            <a:prstGeom prst="parallelogram">
              <a:avLst>
                <a:gd name="adj" fmla="val 112453"/>
              </a:avLst>
            </a:prstGeom>
            <a:solidFill>
              <a:schemeClr val="accent5">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5" name="Parallelogram 24">
              <a:extLst>
                <a:ext uri="{FF2B5EF4-FFF2-40B4-BE49-F238E27FC236}">
                  <a16:creationId xmlns:a16="http://schemas.microsoft.com/office/drawing/2014/main" id="{94C55CD4-A66C-49EA-9F77-4E8786C97E61}"/>
                </a:ext>
              </a:extLst>
            </p:cNvPr>
            <p:cNvSpPr/>
            <p:nvPr/>
          </p:nvSpPr>
          <p:spPr>
            <a:xfrm>
              <a:off x="779843" y="4349469"/>
              <a:ext cx="8238889" cy="406982"/>
            </a:xfrm>
            <a:prstGeom prst="parallelogram">
              <a:avLst>
                <a:gd name="adj" fmla="val 112453"/>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6" name="Rectangle 25">
              <a:extLst>
                <a:ext uri="{FF2B5EF4-FFF2-40B4-BE49-F238E27FC236}">
                  <a16:creationId xmlns:a16="http://schemas.microsoft.com/office/drawing/2014/main" id="{7C61F796-ACDE-4FDA-850F-6C2951BB0581}"/>
                </a:ext>
              </a:extLst>
            </p:cNvPr>
            <p:cNvSpPr/>
            <p:nvPr/>
          </p:nvSpPr>
          <p:spPr>
            <a:xfrm>
              <a:off x="779845" y="896107"/>
              <a:ext cx="8238892" cy="885992"/>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0" tIns="61568" rIns="216000" bIns="61568" rtlCol="0" anchor="ctr"/>
            <a:lstStyle/>
            <a:p>
              <a:pPr marL="712788" marR="0" lvl="0" algn="l" defTabSz="627063" rtl="0" eaLnBrk="1" fontAlgn="auto" latinLnBrk="0" hangingPunct="1">
                <a:lnSpc>
                  <a:spcPct val="100000"/>
                </a:lnSpc>
                <a:spcBef>
                  <a:spcPts val="0"/>
                </a:spcBef>
                <a:spcAft>
                  <a:spcPts val="0"/>
                </a:spcAft>
                <a:buClr>
                  <a:srgbClr val="000000"/>
                </a:buClr>
                <a:buSzTx/>
                <a:buFont typeface="Arial"/>
                <a:buNone/>
                <a:tabLst/>
                <a:defRPr/>
              </a:pPr>
              <a:r>
                <a:rPr kumimoji="0" lang="el-GR" sz="1300" b="1" i="0" u="none" strike="noStrike" kern="0" cap="none" spc="0" normalizeH="0" baseline="0" noProof="0" dirty="0">
                  <a:ln>
                    <a:noFill/>
                  </a:ln>
                  <a:solidFill>
                    <a:srgbClr val="FFFFFF"/>
                  </a:solidFill>
                  <a:effectLst/>
                  <a:uLnTx/>
                  <a:uFillTx/>
                  <a:ea typeface="+mn-ea"/>
                  <a:cs typeface="+mn-cs"/>
                  <a:sym typeface="Arial"/>
                </a:rPr>
                <a:t>Προώθηση σχέσεων καλής γειτονίας, διευθέτηση διμερών εκκρεμοτήτων με γειτονικές χώρες και αντιμετώπιση προκλήσεων σε Διπλωματικό επίπεδο μέσω της προσήλωσης στο Διεθνές Δίκαιο και τις διεθνείς συμφωνίες</a:t>
              </a:r>
            </a:p>
          </p:txBody>
        </p:sp>
        <p:sp>
          <p:nvSpPr>
            <p:cNvPr id="27" name="Rectangle 26">
              <a:extLst>
                <a:ext uri="{FF2B5EF4-FFF2-40B4-BE49-F238E27FC236}">
                  <a16:creationId xmlns:a16="http://schemas.microsoft.com/office/drawing/2014/main" id="{F0FF5633-EC2B-4F59-92F3-50546CE54C75}"/>
                </a:ext>
              </a:extLst>
            </p:cNvPr>
            <p:cNvSpPr/>
            <p:nvPr/>
          </p:nvSpPr>
          <p:spPr>
            <a:xfrm>
              <a:off x="779841" y="3467835"/>
              <a:ext cx="8238892" cy="885992"/>
            </a:xfrm>
            <a:prstGeom prst="rect">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tIns="61568" rIns="324000" bIns="61568" rtlCol="0" anchor="ctr"/>
            <a:lstStyle/>
            <a:p>
              <a:pPr marL="627063" marR="0" lvl="0" algn="l" defTabSz="914400" rtl="0" eaLnBrk="1" fontAlgn="auto" latinLnBrk="0" hangingPunct="1">
                <a:lnSpc>
                  <a:spcPct val="100000"/>
                </a:lnSpc>
                <a:spcBef>
                  <a:spcPts val="0"/>
                </a:spcBef>
                <a:spcAft>
                  <a:spcPts val="0"/>
                </a:spcAft>
                <a:buClr>
                  <a:srgbClr val="000000"/>
                </a:buClr>
                <a:buSzTx/>
                <a:buFont typeface="Arial"/>
                <a:buNone/>
                <a:tabLst/>
                <a:defRPr/>
              </a:pPr>
              <a:r>
                <a:rPr lang="el-GR" sz="1400" b="1" kern="0" dirty="0">
                  <a:solidFill>
                    <a:srgbClr val="FFFFFF"/>
                  </a:solidFill>
                </a:rPr>
                <a:t>Ενίσχυση της Εξωστρέφειας</a:t>
              </a:r>
            </a:p>
          </p:txBody>
        </p:sp>
        <p:sp>
          <p:nvSpPr>
            <p:cNvPr id="31" name="Rectangle 30">
              <a:extLst>
                <a:ext uri="{FF2B5EF4-FFF2-40B4-BE49-F238E27FC236}">
                  <a16:creationId xmlns:a16="http://schemas.microsoft.com/office/drawing/2014/main" id="{5800F361-5D39-41C0-896F-4593FCDB49D6}"/>
                </a:ext>
              </a:extLst>
            </p:cNvPr>
            <p:cNvSpPr/>
            <p:nvPr/>
          </p:nvSpPr>
          <p:spPr>
            <a:xfrm>
              <a:off x="779843" y="2181971"/>
              <a:ext cx="8238892" cy="885992"/>
            </a:xfrm>
            <a:prstGeom prst="rect">
              <a:avLst/>
            </a:prstGeom>
            <a:ln>
              <a:noFill/>
            </a:ln>
          </p:spPr>
          <p:style>
            <a:lnRef idx="0">
              <a:schemeClr val="accent1"/>
            </a:lnRef>
            <a:fillRef idx="1">
              <a:schemeClr val="accent1"/>
            </a:fillRef>
            <a:effectRef idx="0">
              <a:schemeClr val="dk1"/>
            </a:effectRef>
            <a:fontRef idx="minor">
              <a:schemeClr val="lt1"/>
            </a:fontRef>
          </p:style>
          <p:txBody>
            <a:bodyPr tIns="61568" rIns="216000" bIns="61568" rtlCol="0" anchor="ctr"/>
            <a:lstStyle/>
            <a:p>
              <a:pPr marL="627063" marR="0" lvl="0" algn="l" defTabSz="914400" rtl="0" eaLnBrk="1" fontAlgn="auto" latinLnBrk="0" hangingPunct="1">
                <a:lnSpc>
                  <a:spcPct val="100000"/>
                </a:lnSpc>
                <a:spcBef>
                  <a:spcPts val="0"/>
                </a:spcBef>
                <a:spcAft>
                  <a:spcPts val="0"/>
                </a:spcAft>
                <a:buClr>
                  <a:srgbClr val="000000"/>
                </a:buClr>
                <a:buSzTx/>
                <a:buFont typeface="Arial"/>
                <a:buNone/>
                <a:tabLst/>
                <a:defRPr/>
              </a:pPr>
              <a:r>
                <a:rPr lang="el-GR" sz="1400" b="1" kern="0" dirty="0">
                  <a:solidFill>
                    <a:srgbClr val="FFFFFF"/>
                  </a:solidFill>
                  <a:sym typeface="Arial"/>
                </a:rPr>
                <a:t>Ισχυροποίηση της Διεθνούς θέσης της Χώρας στην ΕΕ και στον κόσμο</a:t>
              </a:r>
            </a:p>
          </p:txBody>
        </p:sp>
        <p:sp>
          <p:nvSpPr>
            <p:cNvPr id="32" name="Rectangle 31">
              <a:extLst>
                <a:ext uri="{FF2B5EF4-FFF2-40B4-BE49-F238E27FC236}">
                  <a16:creationId xmlns:a16="http://schemas.microsoft.com/office/drawing/2014/main" id="{24BF19C5-299A-4E5A-8A8E-DDF8A95B05EA}"/>
                </a:ext>
              </a:extLst>
            </p:cNvPr>
            <p:cNvSpPr/>
            <p:nvPr/>
          </p:nvSpPr>
          <p:spPr>
            <a:xfrm>
              <a:off x="779839" y="4753700"/>
              <a:ext cx="8238892" cy="885992"/>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tIns="61568" bIns="61568" rtlCol="0" anchor="ctr"/>
            <a:lstStyle/>
            <a:p>
              <a:pPr marL="627063" marR="0" lvl="0" algn="l" defTabSz="914400" rtl="0" eaLnBrk="1" fontAlgn="auto" latinLnBrk="0" hangingPunct="1">
                <a:lnSpc>
                  <a:spcPct val="100000"/>
                </a:lnSpc>
                <a:spcBef>
                  <a:spcPts val="0"/>
                </a:spcBef>
                <a:spcAft>
                  <a:spcPts val="0"/>
                </a:spcAft>
                <a:buClr>
                  <a:srgbClr val="000000"/>
                </a:buClr>
                <a:buSzTx/>
                <a:buFont typeface="Arial"/>
                <a:buNone/>
                <a:tabLst/>
                <a:defRPr/>
              </a:pPr>
              <a:r>
                <a:rPr lang="el-GR" sz="1400" b="1" kern="0" dirty="0">
                  <a:solidFill>
                    <a:srgbClr val="FFFFFF"/>
                  </a:solidFill>
                </a:rPr>
                <a:t>Προβολή και προώθηση των ελληνικών θέσεων και της Ελλάδας στο εξωτερικό καθώς και αξιοποίηση των δυνατοτήτων της Διασποράς </a:t>
              </a:r>
            </a:p>
          </p:txBody>
        </p:sp>
        <p:sp>
          <p:nvSpPr>
            <p:cNvPr id="35" name="TextBox 34">
              <a:extLst>
                <a:ext uri="{FF2B5EF4-FFF2-40B4-BE49-F238E27FC236}">
                  <a16:creationId xmlns:a16="http://schemas.microsoft.com/office/drawing/2014/main" id="{407886B6-7702-4284-B31B-B2EE0473405D}"/>
                </a:ext>
              </a:extLst>
            </p:cNvPr>
            <p:cNvSpPr txBox="1"/>
            <p:nvPr/>
          </p:nvSpPr>
          <p:spPr>
            <a:xfrm>
              <a:off x="427735" y="3631922"/>
              <a:ext cx="522111" cy="517115"/>
            </a:xfrm>
            <a:prstGeom prst="rect">
              <a:avLst/>
            </a:prstGeom>
            <a:solidFill>
              <a:srgbClr val="002060"/>
            </a:solid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513"/>
                </a:spcAft>
                <a:buClr>
                  <a:srgbClr val="000000"/>
                </a:buClr>
                <a:buSzPct val="100000"/>
                <a:buFont typeface="Arial"/>
                <a:buNone/>
                <a:tabLst/>
                <a:defRPr/>
              </a:pPr>
              <a:r>
                <a:rPr kumimoji="0" lang="en-US" sz="2800" b="0" i="0" u="none" strike="noStrike" kern="0" cap="none" spc="0" normalizeH="0" baseline="0" noProof="0" dirty="0">
                  <a:ln>
                    <a:noFill/>
                  </a:ln>
                  <a:solidFill>
                    <a:srgbClr val="FFFFFF"/>
                  </a:solidFill>
                  <a:effectLst/>
                  <a:uLnTx/>
                  <a:uFillTx/>
                  <a:latin typeface="Arial"/>
                  <a:cs typeface="Arial"/>
                  <a:sym typeface="Arial"/>
                </a:rPr>
                <a:t>3</a:t>
              </a:r>
            </a:p>
          </p:txBody>
        </p:sp>
        <p:sp>
          <p:nvSpPr>
            <p:cNvPr id="36" name="TextBox 35">
              <a:extLst>
                <a:ext uri="{FF2B5EF4-FFF2-40B4-BE49-F238E27FC236}">
                  <a16:creationId xmlns:a16="http://schemas.microsoft.com/office/drawing/2014/main" id="{18B4B9C1-F0F4-4838-AE1B-167D928C874B}"/>
                </a:ext>
              </a:extLst>
            </p:cNvPr>
            <p:cNvSpPr txBox="1"/>
            <p:nvPr/>
          </p:nvSpPr>
          <p:spPr>
            <a:xfrm>
              <a:off x="427735" y="4905339"/>
              <a:ext cx="522111" cy="517115"/>
            </a:xfrm>
            <a:prstGeom prst="rect">
              <a:avLst/>
            </a:prstGeom>
            <a:solidFill>
              <a:srgbClr val="002060"/>
            </a:solid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513"/>
                </a:spcAft>
                <a:buClr>
                  <a:srgbClr val="000000"/>
                </a:buClr>
                <a:buSzPct val="100000"/>
                <a:buFont typeface="Arial"/>
                <a:buNone/>
                <a:tabLst/>
                <a:defRPr/>
              </a:pPr>
              <a:r>
                <a:rPr kumimoji="0" lang="en-US" sz="2800" b="0" i="0" u="none" strike="noStrike" kern="0" cap="none" spc="0" normalizeH="0" baseline="0" noProof="0" dirty="0">
                  <a:ln>
                    <a:noFill/>
                  </a:ln>
                  <a:solidFill>
                    <a:srgbClr val="FFFFFF"/>
                  </a:solidFill>
                  <a:effectLst/>
                  <a:uLnTx/>
                  <a:uFillTx/>
                  <a:latin typeface="Arial"/>
                  <a:cs typeface="Arial"/>
                  <a:sym typeface="Arial"/>
                </a:rPr>
                <a:t>4</a:t>
              </a:r>
            </a:p>
          </p:txBody>
        </p:sp>
        <p:sp>
          <p:nvSpPr>
            <p:cNvPr id="37" name="Parallelogram 36">
              <a:extLst>
                <a:ext uri="{FF2B5EF4-FFF2-40B4-BE49-F238E27FC236}">
                  <a16:creationId xmlns:a16="http://schemas.microsoft.com/office/drawing/2014/main" id="{B615755F-5244-4248-88A4-36F7AC7C5AC4}"/>
                </a:ext>
              </a:extLst>
            </p:cNvPr>
            <p:cNvSpPr/>
            <p:nvPr/>
          </p:nvSpPr>
          <p:spPr>
            <a:xfrm>
              <a:off x="779838" y="5636941"/>
              <a:ext cx="8238889" cy="399871"/>
            </a:xfrm>
            <a:prstGeom prst="parallelogram">
              <a:avLst>
                <a:gd name="adj" fmla="val 112453"/>
              </a:avLst>
            </a:prstGeom>
            <a:solidFill>
              <a:schemeClr val="accent6">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8" name="Rectangle 37">
              <a:extLst>
                <a:ext uri="{FF2B5EF4-FFF2-40B4-BE49-F238E27FC236}">
                  <a16:creationId xmlns:a16="http://schemas.microsoft.com/office/drawing/2014/main" id="{08E6EEA2-5CBE-49F6-AAEA-F7F4ABF26837}"/>
                </a:ext>
              </a:extLst>
            </p:cNvPr>
            <p:cNvSpPr/>
            <p:nvPr/>
          </p:nvSpPr>
          <p:spPr>
            <a:xfrm>
              <a:off x="779838" y="6031310"/>
              <a:ext cx="8238892" cy="885992"/>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tIns="61568" bIns="61568" rtlCol="0" anchor="ctr"/>
            <a:lstStyle/>
            <a:p>
              <a:pPr marL="627063" marR="0" lvl="0" algn="l" defTabSz="914400" rtl="0" eaLnBrk="1" fontAlgn="auto" latinLnBrk="0" hangingPunct="1">
                <a:lnSpc>
                  <a:spcPct val="100000"/>
                </a:lnSpc>
                <a:spcBef>
                  <a:spcPts val="0"/>
                </a:spcBef>
                <a:spcAft>
                  <a:spcPts val="0"/>
                </a:spcAft>
                <a:buClr>
                  <a:srgbClr val="000000"/>
                </a:buClr>
                <a:buSzTx/>
                <a:buFont typeface="Arial"/>
                <a:buNone/>
                <a:tabLst/>
                <a:defRPr/>
              </a:pPr>
              <a:r>
                <a:rPr lang="el-GR" sz="1400" b="1" kern="0" dirty="0">
                  <a:solidFill>
                    <a:srgbClr val="FFFFFF"/>
                  </a:solidFill>
                </a:rPr>
                <a:t>Ανάπτυξη του ανθρώπινου δυναμικού, αναβάθμιση των δομών και εκσυγχρονισμός της λειτουργίας του Υπουργείου Εξωτερικών</a:t>
              </a:r>
            </a:p>
          </p:txBody>
        </p:sp>
        <p:sp>
          <p:nvSpPr>
            <p:cNvPr id="39" name="TextBox 38">
              <a:extLst>
                <a:ext uri="{FF2B5EF4-FFF2-40B4-BE49-F238E27FC236}">
                  <a16:creationId xmlns:a16="http://schemas.microsoft.com/office/drawing/2014/main" id="{447746D8-5053-4DB8-AE55-B9A83993E63B}"/>
                </a:ext>
              </a:extLst>
            </p:cNvPr>
            <p:cNvSpPr txBox="1"/>
            <p:nvPr/>
          </p:nvSpPr>
          <p:spPr>
            <a:xfrm>
              <a:off x="427735" y="6218510"/>
              <a:ext cx="522111" cy="517115"/>
            </a:xfrm>
            <a:prstGeom prst="rect">
              <a:avLst/>
            </a:prstGeom>
            <a:solidFill>
              <a:srgbClr val="002060"/>
            </a:solid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513"/>
                </a:spcAft>
                <a:buClr>
                  <a:srgbClr val="000000"/>
                </a:buClr>
                <a:buSzPct val="100000"/>
                <a:buFont typeface="Arial"/>
                <a:buNone/>
                <a:tabLst/>
                <a:defRPr/>
              </a:pPr>
              <a:r>
                <a:rPr lang="el-GR" sz="2800" kern="0" dirty="0">
                  <a:solidFill>
                    <a:srgbClr val="FFFFFF"/>
                  </a:solidFill>
                  <a:latin typeface="Arial"/>
                  <a:cs typeface="Arial"/>
                  <a:sym typeface="Arial"/>
                </a:rPr>
                <a:t>5</a:t>
              </a:r>
              <a:endParaRPr kumimoji="0" lang="en-US" sz="2800" b="0" i="0" u="none" strike="noStrike" kern="0" cap="none" spc="0" normalizeH="0" baseline="0" noProof="0" dirty="0">
                <a:ln>
                  <a:noFill/>
                </a:ln>
                <a:solidFill>
                  <a:srgbClr val="FFFFFF"/>
                </a:solidFill>
                <a:effectLst/>
                <a:uLnTx/>
                <a:uFillTx/>
                <a:latin typeface="Arial"/>
                <a:cs typeface="Arial"/>
                <a:sym typeface="Arial"/>
              </a:endParaRPr>
            </a:p>
          </p:txBody>
        </p:sp>
        <p:sp>
          <p:nvSpPr>
            <p:cNvPr id="68" name="TextBox 67">
              <a:extLst>
                <a:ext uri="{FF2B5EF4-FFF2-40B4-BE49-F238E27FC236}">
                  <a16:creationId xmlns:a16="http://schemas.microsoft.com/office/drawing/2014/main" id="{808B1852-9245-4DAB-B7AD-444D7C7F3E52}"/>
                </a:ext>
              </a:extLst>
            </p:cNvPr>
            <p:cNvSpPr txBox="1"/>
            <p:nvPr/>
          </p:nvSpPr>
          <p:spPr>
            <a:xfrm>
              <a:off x="421962" y="2329902"/>
              <a:ext cx="522111" cy="517115"/>
            </a:xfrm>
            <a:prstGeom prst="rect">
              <a:avLst/>
            </a:prstGeom>
            <a:solidFill>
              <a:srgbClr val="002060"/>
            </a:solid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513"/>
                </a:spcAft>
                <a:buClr>
                  <a:srgbClr val="000000"/>
                </a:buClr>
                <a:buSzPct val="100000"/>
                <a:buFont typeface="Arial"/>
                <a:buNone/>
                <a:tabLst/>
                <a:defRPr/>
              </a:pPr>
              <a:r>
                <a:rPr lang="el-GR" sz="2800" kern="0" dirty="0">
                  <a:solidFill>
                    <a:srgbClr val="FFFFFF"/>
                  </a:solidFill>
                  <a:latin typeface="Arial"/>
                  <a:cs typeface="Arial"/>
                  <a:sym typeface="Arial"/>
                </a:rPr>
                <a:t>2</a:t>
              </a:r>
              <a:endParaRPr kumimoji="0" lang="en-US" sz="2800" b="0" i="0" u="none" strike="noStrike" kern="0" cap="none" spc="0" normalizeH="0" baseline="0" noProof="0" dirty="0">
                <a:ln>
                  <a:noFill/>
                </a:ln>
                <a:solidFill>
                  <a:srgbClr val="FFFFFF"/>
                </a:solidFill>
                <a:effectLst/>
                <a:uLnTx/>
                <a:uFillTx/>
                <a:latin typeface="Arial"/>
                <a:cs typeface="Arial"/>
                <a:sym typeface="Arial"/>
              </a:endParaRPr>
            </a:p>
          </p:txBody>
        </p:sp>
        <p:sp>
          <p:nvSpPr>
            <p:cNvPr id="69" name="TextBox 68">
              <a:extLst>
                <a:ext uri="{FF2B5EF4-FFF2-40B4-BE49-F238E27FC236}">
                  <a16:creationId xmlns:a16="http://schemas.microsoft.com/office/drawing/2014/main" id="{02CBAFE6-2F7A-4986-9C61-DC4E475F01AA}"/>
                </a:ext>
              </a:extLst>
            </p:cNvPr>
            <p:cNvSpPr txBox="1"/>
            <p:nvPr/>
          </p:nvSpPr>
          <p:spPr>
            <a:xfrm>
              <a:off x="422607" y="1050867"/>
              <a:ext cx="522111" cy="517115"/>
            </a:xfrm>
            <a:prstGeom prst="rect">
              <a:avLst/>
            </a:prstGeom>
            <a:solidFill>
              <a:srgbClr val="002060"/>
            </a:solid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513"/>
                </a:spcAft>
                <a:buClr>
                  <a:srgbClr val="000000"/>
                </a:buClr>
                <a:buSzPct val="100000"/>
                <a:buFont typeface="Arial"/>
                <a:buNone/>
                <a:tabLst/>
                <a:defRPr/>
              </a:pPr>
              <a:r>
                <a:rPr kumimoji="0" lang="el-GR" sz="2800" b="0" i="0" u="none" strike="noStrike" kern="0" cap="none" spc="0" normalizeH="0" baseline="0" noProof="0" dirty="0">
                  <a:ln>
                    <a:noFill/>
                  </a:ln>
                  <a:solidFill>
                    <a:srgbClr val="FFFFFF"/>
                  </a:solidFill>
                  <a:effectLst/>
                  <a:uLnTx/>
                  <a:uFillTx/>
                  <a:latin typeface="Arial"/>
                  <a:cs typeface="Arial"/>
                  <a:sym typeface="Arial"/>
                </a:rPr>
                <a:t>1</a:t>
              </a:r>
              <a:endParaRPr kumimoji="0" lang="en-US" sz="2800" b="0" i="0" u="none" strike="noStrike" kern="0" cap="none" spc="0" normalizeH="0" baseline="0" noProof="0" dirty="0">
                <a:ln>
                  <a:noFill/>
                </a:ln>
                <a:solidFill>
                  <a:srgbClr val="FFFFFF"/>
                </a:solidFill>
                <a:effectLst/>
                <a:uLnTx/>
                <a:uFillTx/>
                <a:latin typeface="Arial"/>
                <a:cs typeface="Arial"/>
                <a:sym typeface="Arial"/>
              </a:endParaRPr>
            </a:p>
          </p:txBody>
        </p:sp>
      </p:grpSp>
      <p:sp>
        <p:nvSpPr>
          <p:cNvPr id="252" name="TextBox 251">
            <a:extLst>
              <a:ext uri="{FF2B5EF4-FFF2-40B4-BE49-F238E27FC236}">
                <a16:creationId xmlns:a16="http://schemas.microsoft.com/office/drawing/2014/main" id="{326664CC-4722-48ED-8812-76F72B6ACD68}"/>
              </a:ext>
            </a:extLst>
          </p:cNvPr>
          <p:cNvSpPr txBox="1"/>
          <p:nvPr/>
        </p:nvSpPr>
        <p:spPr>
          <a:xfrm>
            <a:off x="7979080" y="1163361"/>
            <a:ext cx="2934765" cy="584775"/>
          </a:xfrm>
          <a:prstGeom prst="rect">
            <a:avLst/>
          </a:prstGeom>
          <a:solidFill>
            <a:schemeClr val="bg1"/>
          </a:solidFill>
        </p:spPr>
        <p:txBody>
          <a:bodyPr wrap="square">
            <a:spAutoFit/>
          </a:bodyPr>
          <a:lstStyle/>
          <a:p>
            <a:pPr algn="ctr"/>
            <a:r>
              <a:rPr lang="el-GR" altLang="en-US" sz="1600" dirty="0">
                <a:solidFill>
                  <a:srgbClr val="00338D"/>
                </a:solidFill>
                <a:latin typeface="Calibri" panose="020F0502020204030204" pitchFamily="34" charset="0"/>
                <a:cs typeface="Calibri" panose="020F0502020204030204" pitchFamily="34" charset="0"/>
              </a:rPr>
              <a:t>Συμβολή ΥΠΕΞ στις </a:t>
            </a:r>
            <a:r>
              <a:rPr lang="el-GR" altLang="en-US" sz="1600" b="1" dirty="0">
                <a:solidFill>
                  <a:srgbClr val="00338D"/>
                </a:solidFill>
                <a:latin typeface="Calibri" panose="020F0502020204030204" pitchFamily="34" charset="0"/>
                <a:cs typeface="Calibri" panose="020F0502020204030204" pitchFamily="34" charset="0"/>
              </a:rPr>
              <a:t>Στρατηγικές Επιλογές </a:t>
            </a:r>
            <a:r>
              <a:rPr lang="el-GR" altLang="en-US" sz="1600" dirty="0">
                <a:solidFill>
                  <a:srgbClr val="00338D"/>
                </a:solidFill>
                <a:latin typeface="Calibri" panose="020F0502020204030204" pitchFamily="34" charset="0"/>
                <a:cs typeface="Calibri" panose="020F0502020204030204" pitchFamily="34" charset="0"/>
              </a:rPr>
              <a:t>της Κυβέρνησης </a:t>
            </a:r>
            <a:r>
              <a:rPr lang="en-US" altLang="en-US" sz="1600" dirty="0">
                <a:solidFill>
                  <a:srgbClr val="00338D"/>
                </a:solidFill>
                <a:latin typeface="Calibri" panose="020F0502020204030204" pitchFamily="34" charset="0"/>
                <a:cs typeface="Calibri" panose="020F0502020204030204" pitchFamily="34" charset="0"/>
              </a:rPr>
              <a:t> </a:t>
            </a:r>
            <a:endParaRPr lang="el-GR" altLang="en-US" sz="1600" dirty="0">
              <a:solidFill>
                <a:srgbClr val="00338D"/>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BAFC09CC-603F-4897-81E5-FA1812A3F5BC}"/>
              </a:ext>
            </a:extLst>
          </p:cNvPr>
          <p:cNvSpPr/>
          <p:nvPr/>
        </p:nvSpPr>
        <p:spPr>
          <a:xfrm>
            <a:off x="7726337" y="1974837"/>
            <a:ext cx="3941135" cy="4383431"/>
          </a:xfrm>
          <a:prstGeom prst="rect">
            <a:avLst/>
          </a:prstGeom>
          <a:ln>
            <a:solidFill>
              <a:srgbClr val="013476"/>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sz="1600" dirty="0"/>
          </a:p>
        </p:txBody>
      </p:sp>
      <p:sp>
        <p:nvSpPr>
          <p:cNvPr id="251" name="TextBox 250">
            <a:extLst>
              <a:ext uri="{FF2B5EF4-FFF2-40B4-BE49-F238E27FC236}">
                <a16:creationId xmlns:a16="http://schemas.microsoft.com/office/drawing/2014/main" id="{F0604BC6-BF83-4B27-84B9-226E8B60B29E}"/>
              </a:ext>
            </a:extLst>
          </p:cNvPr>
          <p:cNvSpPr txBox="1"/>
          <p:nvPr/>
        </p:nvSpPr>
        <p:spPr>
          <a:xfrm>
            <a:off x="8376696" y="2036047"/>
            <a:ext cx="3084429" cy="584775"/>
          </a:xfrm>
          <a:prstGeom prst="rect">
            <a:avLst/>
          </a:prstGeom>
          <a:noFill/>
        </p:spPr>
        <p:txBody>
          <a:bodyPr wrap="square">
            <a:spAutoFit/>
          </a:bodyPr>
          <a:lstStyle/>
          <a:p>
            <a:pPr eaLnBrk="1" fontAlgn="auto" hangingPunct="1">
              <a:spcBef>
                <a:spcPts val="0"/>
              </a:spcBef>
              <a:spcAft>
                <a:spcPts val="0"/>
              </a:spcAft>
              <a:defRPr/>
            </a:pPr>
            <a:r>
              <a:rPr lang="el-GR" sz="1600" dirty="0">
                <a:latin typeface="Calibri" panose="020F0502020204030204" pitchFamily="34" charset="0"/>
                <a:cs typeface="Calibri" panose="020F0502020204030204" pitchFamily="34" charset="0"/>
              </a:rPr>
              <a:t>Ενίσχυση της θέσης της Ελλάδας στον κόσμο</a:t>
            </a:r>
          </a:p>
        </p:txBody>
      </p:sp>
      <p:sp>
        <p:nvSpPr>
          <p:cNvPr id="254" name="TextBox 253">
            <a:extLst>
              <a:ext uri="{FF2B5EF4-FFF2-40B4-BE49-F238E27FC236}">
                <a16:creationId xmlns:a16="http://schemas.microsoft.com/office/drawing/2014/main" id="{5E37358C-3FC0-495E-A857-2B087DD04CC8}"/>
              </a:ext>
            </a:extLst>
          </p:cNvPr>
          <p:cNvSpPr txBox="1"/>
          <p:nvPr/>
        </p:nvSpPr>
        <p:spPr>
          <a:xfrm>
            <a:off x="8381594" y="4848448"/>
            <a:ext cx="3226496" cy="830997"/>
          </a:xfrm>
          <a:prstGeom prst="rect">
            <a:avLst/>
          </a:prstGeom>
          <a:noFill/>
        </p:spPr>
        <p:txBody>
          <a:bodyPr wrap="square">
            <a:spAutoFit/>
          </a:bodyPr>
          <a:lstStyle/>
          <a:p>
            <a:pPr eaLnBrk="1" fontAlgn="auto" hangingPunct="1">
              <a:spcBef>
                <a:spcPts val="0"/>
              </a:spcBef>
              <a:spcAft>
                <a:spcPts val="0"/>
              </a:spcAft>
              <a:defRPr/>
            </a:pPr>
            <a:r>
              <a:rPr lang="el-GR" sz="1600" dirty="0">
                <a:latin typeface="Calibri" panose="020F0502020204030204" pitchFamily="34" charset="0"/>
                <a:cs typeface="Calibri" panose="020F0502020204030204" pitchFamily="34" charset="0"/>
              </a:rPr>
              <a:t>Προστασία περιβάλλοντος, </a:t>
            </a:r>
          </a:p>
          <a:p>
            <a:pPr eaLnBrk="1" fontAlgn="auto" hangingPunct="1">
              <a:spcBef>
                <a:spcPts val="0"/>
              </a:spcBef>
              <a:spcAft>
                <a:spcPts val="0"/>
              </a:spcAft>
              <a:defRPr/>
            </a:pPr>
            <a:r>
              <a:rPr lang="el-GR" sz="1600" dirty="0">
                <a:latin typeface="Calibri" panose="020F0502020204030204" pitchFamily="34" charset="0"/>
                <a:cs typeface="Calibri" panose="020F0502020204030204" pitchFamily="34" charset="0"/>
              </a:rPr>
              <a:t>προσαρμογή στην κλιματική αλλαγή και βιώσιμη ανάπτυξη</a:t>
            </a:r>
          </a:p>
        </p:txBody>
      </p:sp>
      <p:sp>
        <p:nvSpPr>
          <p:cNvPr id="256" name="TextBox 255">
            <a:extLst>
              <a:ext uri="{FF2B5EF4-FFF2-40B4-BE49-F238E27FC236}">
                <a16:creationId xmlns:a16="http://schemas.microsoft.com/office/drawing/2014/main" id="{CB4EB119-32DC-4CCF-86BB-1C776322B70A}"/>
              </a:ext>
            </a:extLst>
          </p:cNvPr>
          <p:cNvSpPr txBox="1"/>
          <p:nvPr/>
        </p:nvSpPr>
        <p:spPr>
          <a:xfrm>
            <a:off x="8360080" y="2670055"/>
            <a:ext cx="3307392" cy="830997"/>
          </a:xfrm>
          <a:prstGeom prst="rect">
            <a:avLst/>
          </a:prstGeom>
          <a:noFill/>
        </p:spPr>
        <p:txBody>
          <a:bodyPr wrap="square">
            <a:spAutoFit/>
          </a:bodyPr>
          <a:lstStyle/>
          <a:p>
            <a:pPr eaLnBrk="1" fontAlgn="auto" hangingPunct="1">
              <a:spcBef>
                <a:spcPts val="0"/>
              </a:spcBef>
              <a:spcAft>
                <a:spcPts val="0"/>
              </a:spcAft>
              <a:defRPr/>
            </a:pPr>
            <a:r>
              <a:rPr lang="el-GR" sz="1600" dirty="0">
                <a:latin typeface="Calibri" panose="020F0502020204030204" pitchFamily="34" charset="0"/>
                <a:cs typeface="Calibri" panose="020F0502020204030204" pitchFamily="34" charset="0"/>
              </a:rPr>
              <a:t>Ισχυρή ανάπτυξη με περισσότερες επενδύσεις και νέες καλύτερες δουλειές</a:t>
            </a:r>
          </a:p>
        </p:txBody>
      </p:sp>
      <p:sp>
        <p:nvSpPr>
          <p:cNvPr id="258" name="TextBox 257">
            <a:extLst>
              <a:ext uri="{FF2B5EF4-FFF2-40B4-BE49-F238E27FC236}">
                <a16:creationId xmlns:a16="http://schemas.microsoft.com/office/drawing/2014/main" id="{772813E0-E449-4165-8450-46E9999EEA78}"/>
              </a:ext>
            </a:extLst>
          </p:cNvPr>
          <p:cNvSpPr txBox="1"/>
          <p:nvPr/>
        </p:nvSpPr>
        <p:spPr>
          <a:xfrm>
            <a:off x="8376696" y="4265640"/>
            <a:ext cx="3084429" cy="584775"/>
          </a:xfrm>
          <a:prstGeom prst="rect">
            <a:avLst/>
          </a:prstGeom>
          <a:noFill/>
        </p:spPr>
        <p:txBody>
          <a:bodyPr wrap="square">
            <a:spAutoFit/>
          </a:bodyPr>
          <a:lstStyle/>
          <a:p>
            <a:pPr eaLnBrk="1" fontAlgn="auto" hangingPunct="1">
              <a:spcBef>
                <a:spcPts val="0"/>
              </a:spcBef>
              <a:spcAft>
                <a:spcPts val="0"/>
              </a:spcAft>
              <a:defRPr/>
            </a:pPr>
            <a:r>
              <a:rPr lang="el-GR" sz="1600" dirty="0">
                <a:latin typeface="Calibri" panose="020F0502020204030204" pitchFamily="34" charset="0"/>
                <a:cs typeface="Calibri" panose="020F0502020204030204" pitchFamily="34" charset="0"/>
              </a:rPr>
              <a:t>Διασφάλιση κοινωνικής συνοχής και αλληλεγγύης</a:t>
            </a:r>
          </a:p>
        </p:txBody>
      </p:sp>
      <p:sp>
        <p:nvSpPr>
          <p:cNvPr id="259" name="TextBox 258">
            <a:extLst>
              <a:ext uri="{FF2B5EF4-FFF2-40B4-BE49-F238E27FC236}">
                <a16:creationId xmlns:a16="http://schemas.microsoft.com/office/drawing/2014/main" id="{FC9B36ED-436A-436E-904A-D34E25EE491C}"/>
              </a:ext>
            </a:extLst>
          </p:cNvPr>
          <p:cNvSpPr txBox="1"/>
          <p:nvPr/>
        </p:nvSpPr>
        <p:spPr>
          <a:xfrm>
            <a:off x="8405181" y="3468546"/>
            <a:ext cx="3084430" cy="861774"/>
          </a:xfrm>
          <a:prstGeom prst="rect">
            <a:avLst/>
          </a:prstGeom>
          <a:noFill/>
        </p:spPr>
        <p:txBody>
          <a:bodyPr wrap="square">
            <a:spAutoFit/>
          </a:bodyPr>
          <a:lstStyle/>
          <a:p>
            <a:pPr eaLnBrk="1" fontAlgn="auto" hangingPunct="1">
              <a:spcBef>
                <a:spcPts val="0"/>
              </a:spcBef>
              <a:spcAft>
                <a:spcPts val="0"/>
              </a:spcAft>
              <a:defRPr/>
            </a:pPr>
            <a:r>
              <a:rPr lang="el-GR" sz="1600" dirty="0">
                <a:latin typeface="Calibri" panose="020F0502020204030204" pitchFamily="34" charset="0"/>
                <a:cs typeface="Calibri" panose="020F0502020204030204" pitchFamily="34" charset="0"/>
              </a:rPr>
              <a:t>Σύγχρονο κράτος λιτό και αποτελεσματικό στην υπηρεσία του πολίτη</a:t>
            </a:r>
            <a:endParaRPr lang="el-GR" dirty="0">
              <a:latin typeface="Calibri" panose="020F0502020204030204" pitchFamily="34" charset="0"/>
              <a:cs typeface="Calibri" panose="020F0502020204030204" pitchFamily="34" charset="0"/>
            </a:endParaRPr>
          </a:p>
        </p:txBody>
      </p:sp>
      <p:sp>
        <p:nvSpPr>
          <p:cNvPr id="260" name="Freeform 30">
            <a:extLst>
              <a:ext uri="{FF2B5EF4-FFF2-40B4-BE49-F238E27FC236}">
                <a16:creationId xmlns:a16="http://schemas.microsoft.com/office/drawing/2014/main" id="{95D5BAA9-EB05-4FD0-BE61-AC2559E36464}"/>
              </a:ext>
            </a:extLst>
          </p:cNvPr>
          <p:cNvSpPr>
            <a:spLocks noChangeAspect="1" noEditPoints="1"/>
          </p:cNvSpPr>
          <p:nvPr/>
        </p:nvSpPr>
        <p:spPr bwMode="auto">
          <a:xfrm>
            <a:off x="7866439" y="3568956"/>
            <a:ext cx="468000" cy="466884"/>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rgbClr val="00338D"/>
          </a:solidFill>
          <a:ln>
            <a:noFill/>
          </a:ln>
        </p:spPr>
        <p:txBody>
          <a:bodyPr vert="horz" wrap="square" lIns="68580" tIns="34290" rIns="68580" bIns="34290" numCol="1" anchor="t" anchorCtr="0" compatLnSpc="1">
            <a:prstTxWarp prst="textNoShape">
              <a:avLst/>
            </a:prstTxWarp>
          </a:bodyPr>
          <a:lstStyle/>
          <a:p>
            <a:endParaRPr lang="en-US" sz="800" dirty="0">
              <a:solidFill>
                <a:schemeClr val="accent1"/>
              </a:solidFill>
            </a:endParaRPr>
          </a:p>
        </p:txBody>
      </p:sp>
      <p:sp>
        <p:nvSpPr>
          <p:cNvPr id="261" name="Graphic 26">
            <a:extLst>
              <a:ext uri="{FF2B5EF4-FFF2-40B4-BE49-F238E27FC236}">
                <a16:creationId xmlns:a16="http://schemas.microsoft.com/office/drawing/2014/main" id="{3222F00D-4D7E-4922-AF76-CB1F565777EC}"/>
              </a:ext>
            </a:extLst>
          </p:cNvPr>
          <p:cNvSpPr/>
          <p:nvPr/>
        </p:nvSpPr>
        <p:spPr>
          <a:xfrm>
            <a:off x="7889754" y="5740400"/>
            <a:ext cx="455905"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 name="connsiteX8" fmla="*/ 88138 w 457200"/>
              <a:gd name="connsiteY8" fmla="*/ 400526 h 457200"/>
              <a:gd name="connsiteX9" fmla="*/ 369062 w 457200"/>
              <a:gd name="connsiteY9" fmla="*/ 400526 h 457200"/>
              <a:gd name="connsiteX10" fmla="*/ 369062 w 457200"/>
              <a:gd name="connsiteY10" fmla="*/ 244475 h 457200"/>
              <a:gd name="connsiteX11" fmla="*/ 419481 w 457200"/>
              <a:gd name="connsiteY11" fmla="*/ 244475 h 457200"/>
              <a:gd name="connsiteX12" fmla="*/ 230473 w 457200"/>
              <a:gd name="connsiteY12" fmla="*/ 52673 h 457200"/>
              <a:gd name="connsiteX13" fmla="*/ 37370 w 457200"/>
              <a:gd name="connsiteY13" fmla="*/ 244475 h 457200"/>
              <a:gd name="connsiteX14" fmla="*/ 88170 w 457200"/>
              <a:gd name="connsiteY14" fmla="*/ 244475 h 457200"/>
              <a:gd name="connsiteX15" fmla="*/ 107664 w 457200"/>
              <a:gd name="connsiteY15" fmla="*/ 381000 h 457200"/>
              <a:gd name="connsiteX16" fmla="*/ 107664 w 457200"/>
              <a:gd name="connsiteY16" fmla="*/ 224885 h 457200"/>
              <a:gd name="connsiteX17" fmla="*/ 84741 w 457200"/>
              <a:gd name="connsiteY17" fmla="*/ 224885 h 457200"/>
              <a:gd name="connsiteX18" fmla="*/ 230315 w 457200"/>
              <a:gd name="connsiteY18" fmla="*/ 80359 h 457200"/>
              <a:gd name="connsiteX19" fmla="*/ 372809 w 457200"/>
              <a:gd name="connsiteY19" fmla="*/ 224885 h 457200"/>
              <a:gd name="connsiteX20" fmla="*/ 349536 w 457200"/>
              <a:gd name="connsiteY20" fmla="*/ 224885 h 457200"/>
              <a:gd name="connsiteX21" fmla="*/ 349536 w 457200"/>
              <a:gd name="connsiteY21" fmla="*/ 381000 h 457200"/>
              <a:gd name="connsiteX22" fmla="*/ 274447 w 457200"/>
              <a:gd name="connsiteY22" fmla="*/ 204089 h 457200"/>
              <a:gd name="connsiteX23" fmla="*/ 228600 w 457200"/>
              <a:gd name="connsiteY23" fmla="*/ 158242 h 457200"/>
              <a:gd name="connsiteX24" fmla="*/ 182753 w 457200"/>
              <a:gd name="connsiteY24" fmla="*/ 204089 h 457200"/>
              <a:gd name="connsiteX25" fmla="*/ 182753 w 457200"/>
              <a:gd name="connsiteY25" fmla="*/ 225425 h 457200"/>
              <a:gd name="connsiteX26" fmla="*/ 152654 w 457200"/>
              <a:gd name="connsiteY26" fmla="*/ 225425 h 457200"/>
              <a:gd name="connsiteX27" fmla="*/ 152654 w 457200"/>
              <a:gd name="connsiteY27" fmla="*/ 342900 h 457200"/>
              <a:gd name="connsiteX28" fmla="*/ 304546 w 457200"/>
              <a:gd name="connsiteY28" fmla="*/ 342900 h 457200"/>
              <a:gd name="connsiteX29" fmla="*/ 304546 w 457200"/>
              <a:gd name="connsiteY29" fmla="*/ 225425 h 457200"/>
              <a:gd name="connsiteX30" fmla="*/ 274447 w 457200"/>
              <a:gd name="connsiteY30" fmla="*/ 225425 h 457200"/>
              <a:gd name="connsiteX31" fmla="*/ 202248 w 457200"/>
              <a:gd name="connsiteY31" fmla="*/ 204089 h 457200"/>
              <a:gd name="connsiteX32" fmla="*/ 228600 w 457200"/>
              <a:gd name="connsiteY32" fmla="*/ 177737 h 457200"/>
              <a:gd name="connsiteX33" fmla="*/ 254953 w 457200"/>
              <a:gd name="connsiteY33" fmla="*/ 204089 h 457200"/>
              <a:gd name="connsiteX34" fmla="*/ 254953 w 457200"/>
              <a:gd name="connsiteY34" fmla="*/ 225425 h 457200"/>
              <a:gd name="connsiteX35" fmla="*/ 202248 w 457200"/>
              <a:gd name="connsiteY35" fmla="*/ 225425 h 457200"/>
              <a:gd name="connsiteX36" fmla="*/ 285052 w 457200"/>
              <a:gd name="connsiteY36" fmla="*/ 323310 h 457200"/>
              <a:gd name="connsiteX37" fmla="*/ 172149 w 457200"/>
              <a:gd name="connsiteY37" fmla="*/ 323310 h 457200"/>
              <a:gd name="connsiteX38" fmla="*/ 172149 w 457200"/>
              <a:gd name="connsiteY38" fmla="*/ 244793 h 457200"/>
              <a:gd name="connsiteX39" fmla="*/ 285052 w 457200"/>
              <a:gd name="connsiteY39" fmla="*/ 244793 h 457200"/>
              <a:gd name="connsiteX40" fmla="*/ 238347 w 457200"/>
              <a:gd name="connsiteY40" fmla="*/ 298672 h 457200"/>
              <a:gd name="connsiteX41" fmla="*/ 218853 w 457200"/>
              <a:gd name="connsiteY41" fmla="*/ 298672 h 457200"/>
              <a:gd name="connsiteX42" fmla="*/ 218853 w 457200"/>
              <a:gd name="connsiteY42" fmla="*/ 269431 h 457200"/>
              <a:gd name="connsiteX43" fmla="*/ 238347 w 457200"/>
              <a:gd name="connsiteY43" fmla="*/ 26943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rgbClr val="013476"/>
          </a:solidFill>
          <a:ln w="3175" cap="flat">
            <a:noFill/>
            <a:prstDash val="solid"/>
            <a:miter/>
          </a:ln>
        </p:spPr>
        <p:txBody>
          <a:bodyPr rtlCol="0" anchor="ctr"/>
          <a:lstStyle/>
          <a:p>
            <a:endParaRPr lang="en-GB"/>
          </a:p>
        </p:txBody>
      </p:sp>
      <p:sp>
        <p:nvSpPr>
          <p:cNvPr id="262" name="TextBox 261">
            <a:extLst>
              <a:ext uri="{FF2B5EF4-FFF2-40B4-BE49-F238E27FC236}">
                <a16:creationId xmlns:a16="http://schemas.microsoft.com/office/drawing/2014/main" id="{0F25EA4E-C4B3-4FAD-A4A8-A9EA88CBC158}"/>
              </a:ext>
            </a:extLst>
          </p:cNvPr>
          <p:cNvSpPr txBox="1"/>
          <p:nvPr/>
        </p:nvSpPr>
        <p:spPr>
          <a:xfrm>
            <a:off x="8375413" y="5697668"/>
            <a:ext cx="3084429" cy="584775"/>
          </a:xfrm>
          <a:prstGeom prst="rect">
            <a:avLst/>
          </a:prstGeom>
          <a:noFill/>
        </p:spPr>
        <p:txBody>
          <a:bodyPr wrap="square">
            <a:spAutoFit/>
          </a:bodyPr>
          <a:lstStyle/>
          <a:p>
            <a:pPr eaLnBrk="1" fontAlgn="auto" hangingPunct="1">
              <a:spcBef>
                <a:spcPts val="0"/>
              </a:spcBef>
              <a:spcAft>
                <a:spcPts val="0"/>
              </a:spcAft>
              <a:defRPr/>
            </a:pPr>
            <a:r>
              <a:rPr lang="el-GR" sz="1600" dirty="0">
                <a:latin typeface="Calibri" panose="020F0502020204030204" pitchFamily="34" charset="0"/>
                <a:cs typeface="Calibri" panose="020F0502020204030204" pitchFamily="34" charset="0"/>
              </a:rPr>
              <a:t>Ασφάλεια στο σπίτι, στην πόλη και στη χώρα</a:t>
            </a:r>
          </a:p>
        </p:txBody>
      </p:sp>
      <p:grpSp>
        <p:nvGrpSpPr>
          <p:cNvPr id="274" name="Group 51">
            <a:extLst>
              <a:ext uri="{FF2B5EF4-FFF2-40B4-BE49-F238E27FC236}">
                <a16:creationId xmlns:a16="http://schemas.microsoft.com/office/drawing/2014/main" id="{C913A9DB-94C9-43CA-8822-ED5008371FDC}"/>
              </a:ext>
            </a:extLst>
          </p:cNvPr>
          <p:cNvGrpSpPr/>
          <p:nvPr/>
        </p:nvGrpSpPr>
        <p:grpSpPr>
          <a:xfrm>
            <a:off x="917624" y="3915636"/>
            <a:ext cx="456431" cy="420618"/>
            <a:chOff x="1024834" y="3136678"/>
            <a:chExt cx="1791641" cy="1794690"/>
          </a:xfrm>
          <a:solidFill>
            <a:schemeClr val="bg1"/>
          </a:solidFill>
        </p:grpSpPr>
        <p:sp>
          <p:nvSpPr>
            <p:cNvPr id="275" name="Rectangle 228">
              <a:extLst>
                <a:ext uri="{FF2B5EF4-FFF2-40B4-BE49-F238E27FC236}">
                  <a16:creationId xmlns:a16="http://schemas.microsoft.com/office/drawing/2014/main" id="{1CA3E17E-C269-45DA-8C1B-A12D922928FF}"/>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276" name="Group 53">
              <a:extLst>
                <a:ext uri="{FF2B5EF4-FFF2-40B4-BE49-F238E27FC236}">
                  <a16:creationId xmlns:a16="http://schemas.microsoft.com/office/drawing/2014/main" id="{D1F33617-144A-46EC-84FA-5270E1CC56EA}"/>
                </a:ext>
              </a:extLst>
            </p:cNvPr>
            <p:cNvGrpSpPr/>
            <p:nvPr/>
          </p:nvGrpSpPr>
          <p:grpSpPr>
            <a:xfrm>
              <a:off x="1024834" y="3136678"/>
              <a:ext cx="1791641" cy="1794690"/>
              <a:chOff x="1024834" y="3136678"/>
              <a:chExt cx="1791641" cy="1794690"/>
            </a:xfrm>
            <a:grpFill/>
          </p:grpSpPr>
          <p:sp>
            <p:nvSpPr>
              <p:cNvPr id="277" name="Rectangle 218">
                <a:extLst>
                  <a:ext uri="{FF2B5EF4-FFF2-40B4-BE49-F238E27FC236}">
                    <a16:creationId xmlns:a16="http://schemas.microsoft.com/office/drawing/2014/main" id="{FB8E16B9-6DC2-4454-9F5C-BDEE822ACF76}"/>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278" name="Group 55">
                <a:extLst>
                  <a:ext uri="{FF2B5EF4-FFF2-40B4-BE49-F238E27FC236}">
                    <a16:creationId xmlns:a16="http://schemas.microsoft.com/office/drawing/2014/main" id="{4781DDB5-E7DE-4C8E-B940-56998CCA050D}"/>
                  </a:ext>
                </a:extLst>
              </p:cNvPr>
              <p:cNvGrpSpPr/>
              <p:nvPr/>
            </p:nvGrpSpPr>
            <p:grpSpPr>
              <a:xfrm>
                <a:off x="1024834" y="3136678"/>
                <a:ext cx="1791641" cy="1695618"/>
                <a:chOff x="5289671" y="2145561"/>
                <a:chExt cx="255588" cy="241897"/>
              </a:xfrm>
              <a:grpFill/>
            </p:grpSpPr>
            <p:sp>
              <p:nvSpPr>
                <p:cNvPr id="282" name="Freeform 227">
                  <a:extLst>
                    <a:ext uri="{FF2B5EF4-FFF2-40B4-BE49-F238E27FC236}">
                      <a16:creationId xmlns:a16="http://schemas.microsoft.com/office/drawing/2014/main" id="{8487A5F1-55EC-43F9-988C-49D97EB3C9C4}"/>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283" name="Rectangle 228">
                  <a:extLst>
                    <a:ext uri="{FF2B5EF4-FFF2-40B4-BE49-F238E27FC236}">
                      <a16:creationId xmlns:a16="http://schemas.microsoft.com/office/drawing/2014/main" id="{C5F68C1B-1E2B-4428-B641-6BF1750938C1}"/>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284" name="Rectangle 229">
                  <a:extLst>
                    <a:ext uri="{FF2B5EF4-FFF2-40B4-BE49-F238E27FC236}">
                      <a16:creationId xmlns:a16="http://schemas.microsoft.com/office/drawing/2014/main" id="{BC483E5C-6E92-4A85-A4BA-70B1E07BF76D}"/>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279" name="Rectangle 278">
                <a:extLst>
                  <a:ext uri="{FF2B5EF4-FFF2-40B4-BE49-F238E27FC236}">
                    <a16:creationId xmlns:a16="http://schemas.microsoft.com/office/drawing/2014/main" id="{B68F292E-B866-4677-A91D-4EAE3AD5F2D4}"/>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280" name="Rectangle 279">
                <a:extLst>
                  <a:ext uri="{FF2B5EF4-FFF2-40B4-BE49-F238E27FC236}">
                    <a16:creationId xmlns:a16="http://schemas.microsoft.com/office/drawing/2014/main" id="{7364C7F7-D0DB-4946-B73B-30165A219C28}"/>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281" name="Rectangle 280">
                <a:extLst>
                  <a:ext uri="{FF2B5EF4-FFF2-40B4-BE49-F238E27FC236}">
                    <a16:creationId xmlns:a16="http://schemas.microsoft.com/office/drawing/2014/main" id="{98356506-D56A-4E5E-89DB-87568A7F6119}"/>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nvGrpSpPr>
          <p:cNvPr id="285" name="Group 51">
            <a:extLst>
              <a:ext uri="{FF2B5EF4-FFF2-40B4-BE49-F238E27FC236}">
                <a16:creationId xmlns:a16="http://schemas.microsoft.com/office/drawing/2014/main" id="{586D9CB0-3221-4D48-958C-AA8791620485}"/>
              </a:ext>
            </a:extLst>
          </p:cNvPr>
          <p:cNvGrpSpPr/>
          <p:nvPr/>
        </p:nvGrpSpPr>
        <p:grpSpPr>
          <a:xfrm>
            <a:off x="917624" y="4969406"/>
            <a:ext cx="456431" cy="420618"/>
            <a:chOff x="1024834" y="3136678"/>
            <a:chExt cx="1791641" cy="1794690"/>
          </a:xfrm>
          <a:solidFill>
            <a:schemeClr val="bg1"/>
          </a:solidFill>
        </p:grpSpPr>
        <p:sp>
          <p:nvSpPr>
            <p:cNvPr id="286" name="Rectangle 228">
              <a:extLst>
                <a:ext uri="{FF2B5EF4-FFF2-40B4-BE49-F238E27FC236}">
                  <a16:creationId xmlns:a16="http://schemas.microsoft.com/office/drawing/2014/main" id="{3F7C4D24-31BE-4031-AE2C-C6BC29AFEFB7}"/>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287" name="Group 53">
              <a:extLst>
                <a:ext uri="{FF2B5EF4-FFF2-40B4-BE49-F238E27FC236}">
                  <a16:creationId xmlns:a16="http://schemas.microsoft.com/office/drawing/2014/main" id="{67D4EC6A-4890-4923-B6E1-E5C8FA14989A}"/>
                </a:ext>
              </a:extLst>
            </p:cNvPr>
            <p:cNvGrpSpPr/>
            <p:nvPr/>
          </p:nvGrpSpPr>
          <p:grpSpPr>
            <a:xfrm>
              <a:off x="1024834" y="3136678"/>
              <a:ext cx="1791641" cy="1794690"/>
              <a:chOff x="1024834" y="3136678"/>
              <a:chExt cx="1791641" cy="1794690"/>
            </a:xfrm>
            <a:grpFill/>
          </p:grpSpPr>
          <p:sp>
            <p:nvSpPr>
              <p:cNvPr id="288" name="Rectangle 218">
                <a:extLst>
                  <a:ext uri="{FF2B5EF4-FFF2-40B4-BE49-F238E27FC236}">
                    <a16:creationId xmlns:a16="http://schemas.microsoft.com/office/drawing/2014/main" id="{9ADAC3AA-2AA6-49A8-B297-97E439936156}"/>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289" name="Group 55">
                <a:extLst>
                  <a:ext uri="{FF2B5EF4-FFF2-40B4-BE49-F238E27FC236}">
                    <a16:creationId xmlns:a16="http://schemas.microsoft.com/office/drawing/2014/main" id="{6D2DF2A7-393C-4C81-9F6B-4A17AD5AAE2D}"/>
                  </a:ext>
                </a:extLst>
              </p:cNvPr>
              <p:cNvGrpSpPr/>
              <p:nvPr/>
            </p:nvGrpSpPr>
            <p:grpSpPr>
              <a:xfrm>
                <a:off x="1024834" y="3136678"/>
                <a:ext cx="1791641" cy="1695618"/>
                <a:chOff x="5289671" y="2145561"/>
                <a:chExt cx="255588" cy="241897"/>
              </a:xfrm>
              <a:grpFill/>
            </p:grpSpPr>
            <p:sp>
              <p:nvSpPr>
                <p:cNvPr id="293" name="Freeform 227">
                  <a:extLst>
                    <a:ext uri="{FF2B5EF4-FFF2-40B4-BE49-F238E27FC236}">
                      <a16:creationId xmlns:a16="http://schemas.microsoft.com/office/drawing/2014/main" id="{8A69FC0A-59A7-47E7-A244-EBDF13483D53}"/>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294" name="Rectangle 228">
                  <a:extLst>
                    <a:ext uri="{FF2B5EF4-FFF2-40B4-BE49-F238E27FC236}">
                      <a16:creationId xmlns:a16="http://schemas.microsoft.com/office/drawing/2014/main" id="{22B2E43E-DCD2-4773-B196-D9612F574C8A}"/>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295" name="Rectangle 229">
                  <a:extLst>
                    <a:ext uri="{FF2B5EF4-FFF2-40B4-BE49-F238E27FC236}">
                      <a16:creationId xmlns:a16="http://schemas.microsoft.com/office/drawing/2014/main" id="{9F3B15B6-5E4D-4A99-BEE4-CFB74EC44DC4}"/>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290" name="Rectangle 289">
                <a:extLst>
                  <a:ext uri="{FF2B5EF4-FFF2-40B4-BE49-F238E27FC236}">
                    <a16:creationId xmlns:a16="http://schemas.microsoft.com/office/drawing/2014/main" id="{A5480E1B-8919-4038-9289-DCCCF7B55089}"/>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291" name="Rectangle 290">
                <a:extLst>
                  <a:ext uri="{FF2B5EF4-FFF2-40B4-BE49-F238E27FC236}">
                    <a16:creationId xmlns:a16="http://schemas.microsoft.com/office/drawing/2014/main" id="{6691DFCC-0729-488A-A31C-9944434209A1}"/>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292" name="Rectangle 291">
                <a:extLst>
                  <a:ext uri="{FF2B5EF4-FFF2-40B4-BE49-F238E27FC236}">
                    <a16:creationId xmlns:a16="http://schemas.microsoft.com/office/drawing/2014/main" id="{D5108A8B-DC14-4B60-9B75-A33B5878F359}"/>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nvGrpSpPr>
          <p:cNvPr id="296" name="Group 51">
            <a:extLst>
              <a:ext uri="{FF2B5EF4-FFF2-40B4-BE49-F238E27FC236}">
                <a16:creationId xmlns:a16="http://schemas.microsoft.com/office/drawing/2014/main" id="{6A9D128F-0E38-4AC7-90B3-377C46DC418A}"/>
              </a:ext>
            </a:extLst>
          </p:cNvPr>
          <p:cNvGrpSpPr/>
          <p:nvPr/>
        </p:nvGrpSpPr>
        <p:grpSpPr>
          <a:xfrm>
            <a:off x="917623" y="6057792"/>
            <a:ext cx="456431" cy="420618"/>
            <a:chOff x="1024834" y="3136678"/>
            <a:chExt cx="1791641" cy="1794690"/>
          </a:xfrm>
          <a:solidFill>
            <a:schemeClr val="bg1"/>
          </a:solidFill>
        </p:grpSpPr>
        <p:sp>
          <p:nvSpPr>
            <p:cNvPr id="297" name="Rectangle 228">
              <a:extLst>
                <a:ext uri="{FF2B5EF4-FFF2-40B4-BE49-F238E27FC236}">
                  <a16:creationId xmlns:a16="http://schemas.microsoft.com/office/drawing/2014/main" id="{16676418-23C6-4FD6-8057-27477767091C}"/>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298" name="Group 53">
              <a:extLst>
                <a:ext uri="{FF2B5EF4-FFF2-40B4-BE49-F238E27FC236}">
                  <a16:creationId xmlns:a16="http://schemas.microsoft.com/office/drawing/2014/main" id="{12FA522A-9F10-4FD1-8983-D768886BA7E0}"/>
                </a:ext>
              </a:extLst>
            </p:cNvPr>
            <p:cNvGrpSpPr/>
            <p:nvPr/>
          </p:nvGrpSpPr>
          <p:grpSpPr>
            <a:xfrm>
              <a:off x="1024834" y="3136678"/>
              <a:ext cx="1791641" cy="1794690"/>
              <a:chOff x="1024834" y="3136678"/>
              <a:chExt cx="1791641" cy="1794690"/>
            </a:xfrm>
            <a:grpFill/>
          </p:grpSpPr>
          <p:sp>
            <p:nvSpPr>
              <p:cNvPr id="299" name="Rectangle 218">
                <a:extLst>
                  <a:ext uri="{FF2B5EF4-FFF2-40B4-BE49-F238E27FC236}">
                    <a16:creationId xmlns:a16="http://schemas.microsoft.com/office/drawing/2014/main" id="{DFA7E33B-F6CB-42D1-8E10-383EE65FD244}"/>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300" name="Group 55">
                <a:extLst>
                  <a:ext uri="{FF2B5EF4-FFF2-40B4-BE49-F238E27FC236}">
                    <a16:creationId xmlns:a16="http://schemas.microsoft.com/office/drawing/2014/main" id="{45D06F21-510F-4C80-9A96-FD466048AA3C}"/>
                  </a:ext>
                </a:extLst>
              </p:cNvPr>
              <p:cNvGrpSpPr/>
              <p:nvPr/>
            </p:nvGrpSpPr>
            <p:grpSpPr>
              <a:xfrm>
                <a:off x="1024834" y="3136678"/>
                <a:ext cx="1791641" cy="1695618"/>
                <a:chOff x="5289671" y="2145561"/>
                <a:chExt cx="255588" cy="241897"/>
              </a:xfrm>
              <a:grpFill/>
            </p:grpSpPr>
            <p:sp>
              <p:nvSpPr>
                <p:cNvPr id="304" name="Freeform 227">
                  <a:extLst>
                    <a:ext uri="{FF2B5EF4-FFF2-40B4-BE49-F238E27FC236}">
                      <a16:creationId xmlns:a16="http://schemas.microsoft.com/office/drawing/2014/main" id="{BD0FDEB8-563C-45D3-9D57-FD2D411CD574}"/>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305" name="Rectangle 228">
                  <a:extLst>
                    <a:ext uri="{FF2B5EF4-FFF2-40B4-BE49-F238E27FC236}">
                      <a16:creationId xmlns:a16="http://schemas.microsoft.com/office/drawing/2014/main" id="{CE6181E6-D4D3-4EDC-A52A-63018F42D84C}"/>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306" name="Rectangle 229">
                  <a:extLst>
                    <a:ext uri="{FF2B5EF4-FFF2-40B4-BE49-F238E27FC236}">
                      <a16:creationId xmlns:a16="http://schemas.microsoft.com/office/drawing/2014/main" id="{CADA6838-43AB-4A92-A27E-7623340762A5}"/>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301" name="Rectangle 300">
                <a:extLst>
                  <a:ext uri="{FF2B5EF4-FFF2-40B4-BE49-F238E27FC236}">
                    <a16:creationId xmlns:a16="http://schemas.microsoft.com/office/drawing/2014/main" id="{F03842A5-060B-45BF-A82F-18A29909010A}"/>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302" name="Rectangle 301">
                <a:extLst>
                  <a:ext uri="{FF2B5EF4-FFF2-40B4-BE49-F238E27FC236}">
                    <a16:creationId xmlns:a16="http://schemas.microsoft.com/office/drawing/2014/main" id="{6FC6C3D6-4F53-44C9-BF6A-66F2FE049B41}"/>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303" name="Rectangle 302">
                <a:extLst>
                  <a:ext uri="{FF2B5EF4-FFF2-40B4-BE49-F238E27FC236}">
                    <a16:creationId xmlns:a16="http://schemas.microsoft.com/office/drawing/2014/main" id="{C80FC1CB-579E-4E76-AFA2-CC32ED0F7269}"/>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nvGrpSpPr>
          <p:cNvPr id="307" name="Group 51">
            <a:extLst>
              <a:ext uri="{FF2B5EF4-FFF2-40B4-BE49-F238E27FC236}">
                <a16:creationId xmlns:a16="http://schemas.microsoft.com/office/drawing/2014/main" id="{CBEAA65E-93DC-4A54-9780-B22B52AC365B}"/>
              </a:ext>
            </a:extLst>
          </p:cNvPr>
          <p:cNvGrpSpPr/>
          <p:nvPr/>
        </p:nvGrpSpPr>
        <p:grpSpPr>
          <a:xfrm>
            <a:off x="917624" y="2797993"/>
            <a:ext cx="456431" cy="420618"/>
            <a:chOff x="1024834" y="3136678"/>
            <a:chExt cx="1791641" cy="1794690"/>
          </a:xfrm>
          <a:solidFill>
            <a:schemeClr val="bg1"/>
          </a:solidFill>
        </p:grpSpPr>
        <p:sp>
          <p:nvSpPr>
            <p:cNvPr id="308" name="Rectangle 228">
              <a:extLst>
                <a:ext uri="{FF2B5EF4-FFF2-40B4-BE49-F238E27FC236}">
                  <a16:creationId xmlns:a16="http://schemas.microsoft.com/office/drawing/2014/main" id="{2DE26003-C343-40CC-A14E-05D3D09B4C8F}"/>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309" name="Group 53">
              <a:extLst>
                <a:ext uri="{FF2B5EF4-FFF2-40B4-BE49-F238E27FC236}">
                  <a16:creationId xmlns:a16="http://schemas.microsoft.com/office/drawing/2014/main" id="{BC2C16B3-FB98-4FED-81AB-6853D3DAA3F3}"/>
                </a:ext>
              </a:extLst>
            </p:cNvPr>
            <p:cNvGrpSpPr/>
            <p:nvPr/>
          </p:nvGrpSpPr>
          <p:grpSpPr>
            <a:xfrm>
              <a:off x="1024834" y="3136678"/>
              <a:ext cx="1791641" cy="1794690"/>
              <a:chOff x="1024834" y="3136678"/>
              <a:chExt cx="1791641" cy="1794690"/>
            </a:xfrm>
            <a:grpFill/>
          </p:grpSpPr>
          <p:sp>
            <p:nvSpPr>
              <p:cNvPr id="310" name="Rectangle 218">
                <a:extLst>
                  <a:ext uri="{FF2B5EF4-FFF2-40B4-BE49-F238E27FC236}">
                    <a16:creationId xmlns:a16="http://schemas.microsoft.com/office/drawing/2014/main" id="{7EE56AF1-A012-41D2-A608-8C31415D948E}"/>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311" name="Group 55">
                <a:extLst>
                  <a:ext uri="{FF2B5EF4-FFF2-40B4-BE49-F238E27FC236}">
                    <a16:creationId xmlns:a16="http://schemas.microsoft.com/office/drawing/2014/main" id="{5B77CE0C-6011-4932-AB39-199923E1489B}"/>
                  </a:ext>
                </a:extLst>
              </p:cNvPr>
              <p:cNvGrpSpPr/>
              <p:nvPr/>
            </p:nvGrpSpPr>
            <p:grpSpPr>
              <a:xfrm>
                <a:off x="1024834" y="3136678"/>
                <a:ext cx="1791641" cy="1695618"/>
                <a:chOff x="5289671" y="2145561"/>
                <a:chExt cx="255588" cy="241897"/>
              </a:xfrm>
              <a:grpFill/>
            </p:grpSpPr>
            <p:sp>
              <p:nvSpPr>
                <p:cNvPr id="315" name="Freeform 227">
                  <a:extLst>
                    <a:ext uri="{FF2B5EF4-FFF2-40B4-BE49-F238E27FC236}">
                      <a16:creationId xmlns:a16="http://schemas.microsoft.com/office/drawing/2014/main" id="{95941E8D-C1BF-449B-B475-3CC58086AFED}"/>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316" name="Rectangle 228">
                  <a:extLst>
                    <a:ext uri="{FF2B5EF4-FFF2-40B4-BE49-F238E27FC236}">
                      <a16:creationId xmlns:a16="http://schemas.microsoft.com/office/drawing/2014/main" id="{36AA9270-5710-4327-B7DB-819E99B876DD}"/>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317" name="Rectangle 229">
                  <a:extLst>
                    <a:ext uri="{FF2B5EF4-FFF2-40B4-BE49-F238E27FC236}">
                      <a16:creationId xmlns:a16="http://schemas.microsoft.com/office/drawing/2014/main" id="{CDE47347-BBC8-45A8-A9BC-BAF9F82E201D}"/>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312" name="Rectangle 311">
                <a:extLst>
                  <a:ext uri="{FF2B5EF4-FFF2-40B4-BE49-F238E27FC236}">
                    <a16:creationId xmlns:a16="http://schemas.microsoft.com/office/drawing/2014/main" id="{D6CF9392-31C0-4767-BCAD-49FCE76FEEF6}"/>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313" name="Rectangle 312">
                <a:extLst>
                  <a:ext uri="{FF2B5EF4-FFF2-40B4-BE49-F238E27FC236}">
                    <a16:creationId xmlns:a16="http://schemas.microsoft.com/office/drawing/2014/main" id="{E2E1F3DB-CD56-4F4D-A381-BE8C7866343E}"/>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314" name="Rectangle 313">
                <a:extLst>
                  <a:ext uri="{FF2B5EF4-FFF2-40B4-BE49-F238E27FC236}">
                    <a16:creationId xmlns:a16="http://schemas.microsoft.com/office/drawing/2014/main" id="{C1217C4F-364B-4B88-B152-1E85CEB7BF2B}"/>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grpSp>
        <p:nvGrpSpPr>
          <p:cNvPr id="318" name="Group 51">
            <a:extLst>
              <a:ext uri="{FF2B5EF4-FFF2-40B4-BE49-F238E27FC236}">
                <a16:creationId xmlns:a16="http://schemas.microsoft.com/office/drawing/2014/main" id="{8C756E92-67B0-4740-9AAF-40633DA23B04}"/>
              </a:ext>
            </a:extLst>
          </p:cNvPr>
          <p:cNvGrpSpPr/>
          <p:nvPr/>
        </p:nvGrpSpPr>
        <p:grpSpPr>
          <a:xfrm>
            <a:off x="917624" y="1748136"/>
            <a:ext cx="456431" cy="420618"/>
            <a:chOff x="1024834" y="3136678"/>
            <a:chExt cx="1791641" cy="1794690"/>
          </a:xfrm>
          <a:solidFill>
            <a:schemeClr val="bg1"/>
          </a:solidFill>
        </p:grpSpPr>
        <p:sp>
          <p:nvSpPr>
            <p:cNvPr id="319" name="Rectangle 228">
              <a:extLst>
                <a:ext uri="{FF2B5EF4-FFF2-40B4-BE49-F238E27FC236}">
                  <a16:creationId xmlns:a16="http://schemas.microsoft.com/office/drawing/2014/main" id="{F010F92D-C794-43E1-9A03-DA1660B76F2A}"/>
                </a:ext>
              </a:extLst>
            </p:cNvPr>
            <p:cNvSpPr>
              <a:spLocks noChangeArrowheads="1"/>
            </p:cNvSpPr>
            <p:nvPr/>
          </p:nvSpPr>
          <p:spPr bwMode="auto">
            <a:xfrm rot="5400000">
              <a:off x="1910843" y="3050665"/>
              <a:ext cx="67700" cy="7233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grpSp>
          <p:nvGrpSpPr>
            <p:cNvPr id="320" name="Group 53">
              <a:extLst>
                <a:ext uri="{FF2B5EF4-FFF2-40B4-BE49-F238E27FC236}">
                  <a16:creationId xmlns:a16="http://schemas.microsoft.com/office/drawing/2014/main" id="{8F7F4A1B-CC43-4E20-9831-64C221084B63}"/>
                </a:ext>
              </a:extLst>
            </p:cNvPr>
            <p:cNvGrpSpPr/>
            <p:nvPr/>
          </p:nvGrpSpPr>
          <p:grpSpPr>
            <a:xfrm>
              <a:off x="1024834" y="3136678"/>
              <a:ext cx="1791641" cy="1794690"/>
              <a:chOff x="1024834" y="3136678"/>
              <a:chExt cx="1791641" cy="1794690"/>
            </a:xfrm>
            <a:grpFill/>
          </p:grpSpPr>
          <p:sp>
            <p:nvSpPr>
              <p:cNvPr id="321" name="Rectangle 218">
                <a:extLst>
                  <a:ext uri="{FF2B5EF4-FFF2-40B4-BE49-F238E27FC236}">
                    <a16:creationId xmlns:a16="http://schemas.microsoft.com/office/drawing/2014/main" id="{E2842469-E5B3-4996-9E21-E70E2884195D}"/>
                  </a:ext>
                </a:extLst>
              </p:cNvPr>
              <p:cNvSpPr>
                <a:spLocks noChangeArrowheads="1"/>
              </p:cNvSpPr>
              <p:nvPr/>
            </p:nvSpPr>
            <p:spPr bwMode="auto">
              <a:xfrm>
                <a:off x="1504455" y="3739754"/>
                <a:ext cx="79876" cy="1035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nvGrpSpPr>
              <p:cNvPr id="322" name="Group 55">
                <a:extLst>
                  <a:ext uri="{FF2B5EF4-FFF2-40B4-BE49-F238E27FC236}">
                    <a16:creationId xmlns:a16="http://schemas.microsoft.com/office/drawing/2014/main" id="{EEA13139-8318-4183-8056-B6DD661C1057}"/>
                  </a:ext>
                </a:extLst>
              </p:cNvPr>
              <p:cNvGrpSpPr/>
              <p:nvPr/>
            </p:nvGrpSpPr>
            <p:grpSpPr>
              <a:xfrm>
                <a:off x="1024834" y="3136678"/>
                <a:ext cx="1791641" cy="1695618"/>
                <a:chOff x="5289671" y="2145561"/>
                <a:chExt cx="255588" cy="241897"/>
              </a:xfrm>
              <a:grpFill/>
            </p:grpSpPr>
            <p:sp>
              <p:nvSpPr>
                <p:cNvPr id="326" name="Freeform 227">
                  <a:extLst>
                    <a:ext uri="{FF2B5EF4-FFF2-40B4-BE49-F238E27FC236}">
                      <a16:creationId xmlns:a16="http://schemas.microsoft.com/office/drawing/2014/main" id="{0AB754E4-F80B-4AC9-910E-B17BCCCF8CFC}"/>
                    </a:ext>
                  </a:extLst>
                </p:cNvPr>
                <p:cNvSpPr>
                  <a:spLocks noEditPoints="1"/>
                </p:cNvSpPr>
                <p:nvPr/>
              </p:nvSpPr>
              <p:spPr bwMode="auto">
                <a:xfrm>
                  <a:off x="5289671" y="2145561"/>
                  <a:ext cx="255588" cy="98425"/>
                </a:xfrm>
                <a:custGeom>
                  <a:avLst/>
                  <a:gdLst>
                    <a:gd name="T0" fmla="*/ 64 w 68"/>
                    <a:gd name="T1" fmla="*/ 4 h 26"/>
                    <a:gd name="T2" fmla="*/ 54 w 68"/>
                    <a:gd name="T3" fmla="*/ 0 h 26"/>
                    <a:gd name="T4" fmla="*/ 14 w 68"/>
                    <a:gd name="T5" fmla="*/ 0 h 26"/>
                    <a:gd name="T6" fmla="*/ 4 w 68"/>
                    <a:gd name="T7" fmla="*/ 4 h 26"/>
                    <a:gd name="T8" fmla="*/ 0 w 68"/>
                    <a:gd name="T9" fmla="*/ 14 h 26"/>
                    <a:gd name="T10" fmla="*/ 12 w 68"/>
                    <a:gd name="T11" fmla="*/ 26 h 26"/>
                    <a:gd name="T12" fmla="*/ 20 w 68"/>
                    <a:gd name="T13" fmla="*/ 23 h 26"/>
                    <a:gd name="T14" fmla="*/ 23 w 68"/>
                    <a:gd name="T15" fmla="*/ 16 h 26"/>
                    <a:gd name="T16" fmla="*/ 14 w 68"/>
                    <a:gd name="T17" fmla="*/ 7 h 26"/>
                    <a:gd name="T18" fmla="*/ 10 w 68"/>
                    <a:gd name="T19" fmla="*/ 8 h 26"/>
                    <a:gd name="T20" fmla="*/ 14 w 68"/>
                    <a:gd name="T21" fmla="*/ 6 h 26"/>
                    <a:gd name="T22" fmla="*/ 54 w 68"/>
                    <a:gd name="T23" fmla="*/ 6 h 26"/>
                    <a:gd name="T24" fmla="*/ 59 w 68"/>
                    <a:gd name="T25" fmla="*/ 8 h 26"/>
                    <a:gd name="T26" fmla="*/ 55 w 68"/>
                    <a:gd name="T27" fmla="*/ 7 h 26"/>
                    <a:gd name="T28" fmla="*/ 46 w 68"/>
                    <a:gd name="T29" fmla="*/ 16 h 26"/>
                    <a:gd name="T30" fmla="*/ 49 w 68"/>
                    <a:gd name="T31" fmla="*/ 23 h 26"/>
                    <a:gd name="T32" fmla="*/ 56 w 68"/>
                    <a:gd name="T33" fmla="*/ 26 h 26"/>
                    <a:gd name="T34" fmla="*/ 68 w 68"/>
                    <a:gd name="T35" fmla="*/ 14 h 26"/>
                    <a:gd name="T36" fmla="*/ 64 w 68"/>
                    <a:gd name="T37" fmla="*/ 4 h 26"/>
                    <a:gd name="T38" fmla="*/ 56 w 68"/>
                    <a:gd name="T39" fmla="*/ 24 h 26"/>
                    <a:gd name="T40" fmla="*/ 48 w 68"/>
                    <a:gd name="T41" fmla="*/ 16 h 26"/>
                    <a:gd name="T42" fmla="*/ 55 w 68"/>
                    <a:gd name="T43" fmla="*/ 9 h 26"/>
                    <a:gd name="T44" fmla="*/ 60 w 68"/>
                    <a:gd name="T45" fmla="*/ 15 h 26"/>
                    <a:gd name="T46" fmla="*/ 56 w 68"/>
                    <a:gd name="T47" fmla="*/ 20 h 26"/>
                    <a:gd name="T48" fmla="*/ 52 w 68"/>
                    <a:gd name="T49" fmla="*/ 16 h 26"/>
                    <a:gd name="T50" fmla="*/ 54 w 68"/>
                    <a:gd name="T51" fmla="*/ 16 h 26"/>
                    <a:gd name="T52" fmla="*/ 56 w 68"/>
                    <a:gd name="T53" fmla="*/ 17 h 26"/>
                    <a:gd name="T54" fmla="*/ 58 w 68"/>
                    <a:gd name="T55" fmla="*/ 15 h 26"/>
                    <a:gd name="T56" fmla="*/ 55 w 68"/>
                    <a:gd name="T57" fmla="*/ 11 h 26"/>
                    <a:gd name="T58" fmla="*/ 50 w 68"/>
                    <a:gd name="T59" fmla="*/ 16 h 26"/>
                    <a:gd name="T60" fmla="*/ 56 w 68"/>
                    <a:gd name="T61" fmla="*/ 22 h 26"/>
                    <a:gd name="T62" fmla="*/ 56 w 68"/>
                    <a:gd name="T63" fmla="*/ 22 h 26"/>
                    <a:gd name="T64" fmla="*/ 64 w 68"/>
                    <a:gd name="T65" fmla="*/ 14 h 26"/>
                    <a:gd name="T66" fmla="*/ 54 w 68"/>
                    <a:gd name="T67" fmla="*/ 4 h 26"/>
                    <a:gd name="T68" fmla="*/ 14 w 68"/>
                    <a:gd name="T69" fmla="*/ 4 h 26"/>
                    <a:gd name="T70" fmla="*/ 4 w 68"/>
                    <a:gd name="T71" fmla="*/ 14 h 26"/>
                    <a:gd name="T72" fmla="*/ 12 w 68"/>
                    <a:gd name="T73" fmla="*/ 22 h 26"/>
                    <a:gd name="T74" fmla="*/ 18 w 68"/>
                    <a:gd name="T75" fmla="*/ 16 h 26"/>
                    <a:gd name="T76" fmla="*/ 14 w 68"/>
                    <a:gd name="T77" fmla="*/ 11 h 26"/>
                    <a:gd name="T78" fmla="*/ 10 w 68"/>
                    <a:gd name="T79" fmla="*/ 15 h 26"/>
                    <a:gd name="T80" fmla="*/ 13 w 68"/>
                    <a:gd name="T81" fmla="*/ 17 h 26"/>
                    <a:gd name="T82" fmla="*/ 15 w 68"/>
                    <a:gd name="T83" fmla="*/ 16 h 26"/>
                    <a:gd name="T84" fmla="*/ 17 w 68"/>
                    <a:gd name="T85" fmla="*/ 16 h 26"/>
                    <a:gd name="T86" fmla="*/ 13 w 68"/>
                    <a:gd name="T87" fmla="*/ 20 h 26"/>
                    <a:gd name="T88" fmla="*/ 8 w 68"/>
                    <a:gd name="T89" fmla="*/ 15 h 26"/>
                    <a:gd name="T90" fmla="*/ 14 w 68"/>
                    <a:gd name="T91" fmla="*/ 9 h 26"/>
                    <a:gd name="T92" fmla="*/ 14 w 68"/>
                    <a:gd name="T93" fmla="*/ 9 h 26"/>
                    <a:gd name="T94" fmla="*/ 20 w 68"/>
                    <a:gd name="T95" fmla="*/ 16 h 26"/>
                    <a:gd name="T96" fmla="*/ 12 w 68"/>
                    <a:gd name="T97" fmla="*/ 24 h 26"/>
                    <a:gd name="T98" fmla="*/ 2 w 68"/>
                    <a:gd name="T99" fmla="*/ 14 h 26"/>
                    <a:gd name="T100" fmla="*/ 6 w 68"/>
                    <a:gd name="T101" fmla="*/ 6 h 26"/>
                    <a:gd name="T102" fmla="*/ 14 w 68"/>
                    <a:gd name="T103" fmla="*/ 2 h 26"/>
                    <a:gd name="T104" fmla="*/ 54 w 68"/>
                    <a:gd name="T105" fmla="*/ 2 h 26"/>
                    <a:gd name="T106" fmla="*/ 63 w 68"/>
                    <a:gd name="T107" fmla="*/ 6 h 26"/>
                    <a:gd name="T108" fmla="*/ 66 w 68"/>
                    <a:gd name="T109" fmla="*/ 14 h 26"/>
                    <a:gd name="T110" fmla="*/ 56 w 68"/>
                    <a:gd name="T11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26">
                      <a:moveTo>
                        <a:pt x="64" y="4"/>
                      </a:moveTo>
                      <a:cubicBezTo>
                        <a:pt x="62" y="1"/>
                        <a:pt x="58" y="0"/>
                        <a:pt x="54" y="0"/>
                      </a:cubicBezTo>
                      <a:cubicBezTo>
                        <a:pt x="14" y="0"/>
                        <a:pt x="14" y="0"/>
                        <a:pt x="14" y="0"/>
                      </a:cubicBezTo>
                      <a:cubicBezTo>
                        <a:pt x="11" y="0"/>
                        <a:pt x="7" y="1"/>
                        <a:pt x="4" y="4"/>
                      </a:cubicBezTo>
                      <a:cubicBezTo>
                        <a:pt x="1" y="7"/>
                        <a:pt x="0" y="10"/>
                        <a:pt x="0" y="14"/>
                      </a:cubicBezTo>
                      <a:cubicBezTo>
                        <a:pt x="0" y="21"/>
                        <a:pt x="5" y="26"/>
                        <a:pt x="12" y="26"/>
                      </a:cubicBezTo>
                      <a:cubicBezTo>
                        <a:pt x="15" y="26"/>
                        <a:pt x="18" y="25"/>
                        <a:pt x="20" y="23"/>
                      </a:cubicBezTo>
                      <a:cubicBezTo>
                        <a:pt x="21" y="21"/>
                        <a:pt x="23" y="19"/>
                        <a:pt x="23" y="16"/>
                      </a:cubicBezTo>
                      <a:cubicBezTo>
                        <a:pt x="23" y="11"/>
                        <a:pt x="19" y="7"/>
                        <a:pt x="14" y="7"/>
                      </a:cubicBezTo>
                      <a:cubicBezTo>
                        <a:pt x="12" y="7"/>
                        <a:pt x="11" y="7"/>
                        <a:pt x="10" y="8"/>
                      </a:cubicBezTo>
                      <a:cubicBezTo>
                        <a:pt x="11" y="7"/>
                        <a:pt x="13" y="6"/>
                        <a:pt x="14" y="6"/>
                      </a:cubicBezTo>
                      <a:cubicBezTo>
                        <a:pt x="54" y="6"/>
                        <a:pt x="54" y="6"/>
                        <a:pt x="54" y="6"/>
                      </a:cubicBezTo>
                      <a:cubicBezTo>
                        <a:pt x="56" y="6"/>
                        <a:pt x="58" y="7"/>
                        <a:pt x="59" y="8"/>
                      </a:cubicBezTo>
                      <a:cubicBezTo>
                        <a:pt x="58" y="7"/>
                        <a:pt x="56" y="7"/>
                        <a:pt x="55" y="7"/>
                      </a:cubicBezTo>
                      <a:cubicBezTo>
                        <a:pt x="50" y="7"/>
                        <a:pt x="46" y="11"/>
                        <a:pt x="46" y="16"/>
                      </a:cubicBezTo>
                      <a:cubicBezTo>
                        <a:pt x="46" y="19"/>
                        <a:pt x="47" y="21"/>
                        <a:pt x="49" y="23"/>
                      </a:cubicBezTo>
                      <a:cubicBezTo>
                        <a:pt x="51" y="25"/>
                        <a:pt x="54" y="26"/>
                        <a:pt x="56" y="26"/>
                      </a:cubicBezTo>
                      <a:cubicBezTo>
                        <a:pt x="63" y="26"/>
                        <a:pt x="68" y="21"/>
                        <a:pt x="68" y="14"/>
                      </a:cubicBezTo>
                      <a:cubicBezTo>
                        <a:pt x="68" y="10"/>
                        <a:pt x="67" y="7"/>
                        <a:pt x="64" y="4"/>
                      </a:cubicBezTo>
                      <a:close/>
                      <a:moveTo>
                        <a:pt x="56" y="24"/>
                      </a:moveTo>
                      <a:cubicBezTo>
                        <a:pt x="52" y="24"/>
                        <a:pt x="48" y="20"/>
                        <a:pt x="48" y="16"/>
                      </a:cubicBezTo>
                      <a:cubicBezTo>
                        <a:pt x="48" y="12"/>
                        <a:pt x="51" y="9"/>
                        <a:pt x="55" y="9"/>
                      </a:cubicBezTo>
                      <a:cubicBezTo>
                        <a:pt x="58" y="9"/>
                        <a:pt x="60" y="12"/>
                        <a:pt x="60" y="15"/>
                      </a:cubicBezTo>
                      <a:cubicBezTo>
                        <a:pt x="60" y="17"/>
                        <a:pt x="58" y="20"/>
                        <a:pt x="56" y="20"/>
                      </a:cubicBezTo>
                      <a:cubicBezTo>
                        <a:pt x="54" y="20"/>
                        <a:pt x="52" y="18"/>
                        <a:pt x="52" y="16"/>
                      </a:cubicBezTo>
                      <a:cubicBezTo>
                        <a:pt x="54" y="16"/>
                        <a:pt x="54" y="16"/>
                        <a:pt x="54" y="16"/>
                      </a:cubicBezTo>
                      <a:cubicBezTo>
                        <a:pt x="54" y="17"/>
                        <a:pt x="55" y="17"/>
                        <a:pt x="56" y="17"/>
                      </a:cubicBezTo>
                      <a:cubicBezTo>
                        <a:pt x="57" y="17"/>
                        <a:pt x="58" y="16"/>
                        <a:pt x="58" y="15"/>
                      </a:cubicBezTo>
                      <a:cubicBezTo>
                        <a:pt x="58" y="13"/>
                        <a:pt x="57" y="11"/>
                        <a:pt x="55" y="11"/>
                      </a:cubicBezTo>
                      <a:cubicBezTo>
                        <a:pt x="52" y="11"/>
                        <a:pt x="50" y="13"/>
                        <a:pt x="50" y="16"/>
                      </a:cubicBezTo>
                      <a:cubicBezTo>
                        <a:pt x="50" y="19"/>
                        <a:pt x="53" y="22"/>
                        <a:pt x="56" y="22"/>
                      </a:cubicBezTo>
                      <a:cubicBezTo>
                        <a:pt x="56" y="22"/>
                        <a:pt x="56" y="22"/>
                        <a:pt x="56" y="22"/>
                      </a:cubicBezTo>
                      <a:cubicBezTo>
                        <a:pt x="61" y="22"/>
                        <a:pt x="64" y="19"/>
                        <a:pt x="64" y="14"/>
                      </a:cubicBezTo>
                      <a:cubicBezTo>
                        <a:pt x="64" y="9"/>
                        <a:pt x="60" y="4"/>
                        <a:pt x="54" y="4"/>
                      </a:cubicBezTo>
                      <a:cubicBezTo>
                        <a:pt x="14" y="4"/>
                        <a:pt x="14" y="4"/>
                        <a:pt x="14" y="4"/>
                      </a:cubicBezTo>
                      <a:cubicBezTo>
                        <a:pt x="9" y="4"/>
                        <a:pt x="4" y="9"/>
                        <a:pt x="4" y="14"/>
                      </a:cubicBezTo>
                      <a:cubicBezTo>
                        <a:pt x="4" y="19"/>
                        <a:pt x="8" y="22"/>
                        <a:pt x="12" y="22"/>
                      </a:cubicBezTo>
                      <a:cubicBezTo>
                        <a:pt x="15" y="22"/>
                        <a:pt x="18" y="19"/>
                        <a:pt x="18" y="16"/>
                      </a:cubicBezTo>
                      <a:cubicBezTo>
                        <a:pt x="18" y="13"/>
                        <a:pt x="16" y="11"/>
                        <a:pt x="14" y="11"/>
                      </a:cubicBezTo>
                      <a:cubicBezTo>
                        <a:pt x="12" y="11"/>
                        <a:pt x="10" y="13"/>
                        <a:pt x="10" y="15"/>
                      </a:cubicBezTo>
                      <a:cubicBezTo>
                        <a:pt x="10" y="16"/>
                        <a:pt x="11" y="17"/>
                        <a:pt x="13" y="17"/>
                      </a:cubicBezTo>
                      <a:cubicBezTo>
                        <a:pt x="14" y="17"/>
                        <a:pt x="15" y="17"/>
                        <a:pt x="15" y="16"/>
                      </a:cubicBezTo>
                      <a:cubicBezTo>
                        <a:pt x="17" y="16"/>
                        <a:pt x="17" y="16"/>
                        <a:pt x="17" y="16"/>
                      </a:cubicBezTo>
                      <a:cubicBezTo>
                        <a:pt x="17" y="18"/>
                        <a:pt x="15" y="20"/>
                        <a:pt x="13" y="20"/>
                      </a:cubicBezTo>
                      <a:cubicBezTo>
                        <a:pt x="10" y="20"/>
                        <a:pt x="8" y="17"/>
                        <a:pt x="8" y="15"/>
                      </a:cubicBezTo>
                      <a:cubicBezTo>
                        <a:pt x="8" y="12"/>
                        <a:pt x="11" y="9"/>
                        <a:pt x="14" y="9"/>
                      </a:cubicBezTo>
                      <a:cubicBezTo>
                        <a:pt x="14" y="9"/>
                        <a:pt x="14" y="9"/>
                        <a:pt x="14" y="9"/>
                      </a:cubicBezTo>
                      <a:cubicBezTo>
                        <a:pt x="17" y="9"/>
                        <a:pt x="20" y="12"/>
                        <a:pt x="20" y="16"/>
                      </a:cubicBezTo>
                      <a:cubicBezTo>
                        <a:pt x="20" y="20"/>
                        <a:pt x="17" y="24"/>
                        <a:pt x="12" y="24"/>
                      </a:cubicBezTo>
                      <a:cubicBezTo>
                        <a:pt x="7" y="24"/>
                        <a:pt x="2" y="20"/>
                        <a:pt x="2" y="14"/>
                      </a:cubicBezTo>
                      <a:cubicBezTo>
                        <a:pt x="2" y="11"/>
                        <a:pt x="4" y="8"/>
                        <a:pt x="6" y="6"/>
                      </a:cubicBezTo>
                      <a:cubicBezTo>
                        <a:pt x="8" y="3"/>
                        <a:pt x="11" y="2"/>
                        <a:pt x="14" y="2"/>
                      </a:cubicBezTo>
                      <a:cubicBezTo>
                        <a:pt x="54" y="2"/>
                        <a:pt x="54" y="2"/>
                        <a:pt x="54" y="2"/>
                      </a:cubicBezTo>
                      <a:cubicBezTo>
                        <a:pt x="57" y="2"/>
                        <a:pt x="60" y="3"/>
                        <a:pt x="63" y="6"/>
                      </a:cubicBezTo>
                      <a:cubicBezTo>
                        <a:pt x="65" y="8"/>
                        <a:pt x="66" y="11"/>
                        <a:pt x="66" y="14"/>
                      </a:cubicBezTo>
                      <a:cubicBezTo>
                        <a:pt x="66" y="20"/>
                        <a:pt x="62" y="24"/>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dirty="0">
                    <a:solidFill>
                      <a:srgbClr val="000000"/>
                    </a:solidFill>
                    <a:latin typeface="Arial"/>
                  </a:endParaRPr>
                </a:p>
              </p:txBody>
            </p:sp>
            <p:sp>
              <p:nvSpPr>
                <p:cNvPr id="327" name="Rectangle 228">
                  <a:extLst>
                    <a:ext uri="{FF2B5EF4-FFF2-40B4-BE49-F238E27FC236}">
                      <a16:creationId xmlns:a16="http://schemas.microsoft.com/office/drawing/2014/main" id="{64B658E7-7DC5-44F7-A44B-CA2B37D237FB}"/>
                    </a:ext>
                  </a:extLst>
                </p:cNvPr>
                <p:cNvSpPr>
                  <a:spLocks noChangeArrowheads="1"/>
                </p:cNvSpPr>
                <p:nvPr/>
              </p:nvSpPr>
              <p:spPr bwMode="auto">
                <a:xfrm>
                  <a:off x="5395840"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328" name="Rectangle 229">
                  <a:extLst>
                    <a:ext uri="{FF2B5EF4-FFF2-40B4-BE49-F238E27FC236}">
                      <a16:creationId xmlns:a16="http://schemas.microsoft.com/office/drawing/2014/main" id="{CA2B048C-7348-4047-8392-8FED71C452D3}"/>
                    </a:ext>
                  </a:extLst>
                </p:cNvPr>
                <p:cNvSpPr>
                  <a:spLocks noChangeArrowheads="1"/>
                </p:cNvSpPr>
                <p:nvPr/>
              </p:nvSpPr>
              <p:spPr bwMode="auto">
                <a:xfrm>
                  <a:off x="5437942" y="2195461"/>
                  <a:ext cx="7703" cy="1919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grpSp>
          <p:sp>
            <p:nvSpPr>
              <p:cNvPr id="323" name="Rectangle 322">
                <a:extLst>
                  <a:ext uri="{FF2B5EF4-FFF2-40B4-BE49-F238E27FC236}">
                    <a16:creationId xmlns:a16="http://schemas.microsoft.com/office/drawing/2014/main" id="{72BFFBC3-6983-4869-9097-D46C262B8096}"/>
                  </a:ext>
                </a:extLst>
              </p:cNvPr>
              <p:cNvSpPr>
                <a:spLocks noChangeArrowheads="1"/>
              </p:cNvSpPr>
              <p:nvPr/>
            </p:nvSpPr>
            <p:spPr bwMode="auto">
              <a:xfrm>
                <a:off x="2250942" y="3711546"/>
                <a:ext cx="79876" cy="1138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914333" eaLnBrk="1" fontAlgn="auto" hangingPunct="1">
                  <a:spcBef>
                    <a:spcPts val="0"/>
                  </a:spcBef>
                  <a:spcAft>
                    <a:spcPts val="0"/>
                  </a:spcAft>
                  <a:defRPr/>
                </a:pPr>
                <a:endParaRPr lang="de-DE" sz="400">
                  <a:solidFill>
                    <a:srgbClr val="000000"/>
                  </a:solidFill>
                  <a:latin typeface="Arial"/>
                </a:endParaRPr>
              </a:p>
            </p:txBody>
          </p:sp>
          <p:sp>
            <p:nvSpPr>
              <p:cNvPr id="324" name="Rectangle 323">
                <a:extLst>
                  <a:ext uri="{FF2B5EF4-FFF2-40B4-BE49-F238E27FC236}">
                    <a16:creationId xmlns:a16="http://schemas.microsoft.com/office/drawing/2014/main" id="{F1B3E629-E4EC-4E94-A987-856B0AE0D1EA}"/>
                  </a:ext>
                </a:extLst>
              </p:cNvPr>
              <p:cNvSpPr/>
              <p:nvPr/>
            </p:nvSpPr>
            <p:spPr>
              <a:xfrm>
                <a:off x="1346542" y="4791942"/>
                <a:ext cx="1217458"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sp>
            <p:nvSpPr>
              <p:cNvPr id="325" name="Rectangle 324">
                <a:extLst>
                  <a:ext uri="{FF2B5EF4-FFF2-40B4-BE49-F238E27FC236}">
                    <a16:creationId xmlns:a16="http://schemas.microsoft.com/office/drawing/2014/main" id="{4E0252E5-C1AD-4275-AFB7-7DDA2340ED8B}"/>
                  </a:ext>
                </a:extLst>
              </p:cNvPr>
              <p:cNvSpPr/>
              <p:nvPr/>
            </p:nvSpPr>
            <p:spPr>
              <a:xfrm>
                <a:off x="1272113" y="4877368"/>
                <a:ext cx="1368003" cy="5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2" tIns="54612" rIns="54612" bIns="54612" rtlCol="0" anchor="ctr"/>
              <a:lstStyle/>
              <a:p>
                <a:pPr defTabSz="914333" eaLnBrk="1" fontAlgn="auto" hangingPunct="1">
                  <a:spcBef>
                    <a:spcPts val="0"/>
                  </a:spcBef>
                  <a:spcAft>
                    <a:spcPts val="0"/>
                  </a:spcAft>
                  <a:defRPr/>
                </a:pPr>
                <a:endParaRPr lang="el-GR" sz="500" err="1">
                  <a:solidFill>
                    <a:prstClr val="white"/>
                  </a:solidFill>
                  <a:latin typeface="Arial"/>
                </a:endParaRPr>
              </a:p>
            </p:txBody>
          </p:sp>
        </p:grpSp>
      </p:grpSp>
      <p:sp>
        <p:nvSpPr>
          <p:cNvPr id="331" name="Isosceles Triangle 330">
            <a:extLst>
              <a:ext uri="{FF2B5EF4-FFF2-40B4-BE49-F238E27FC236}">
                <a16:creationId xmlns:a16="http://schemas.microsoft.com/office/drawing/2014/main" id="{2FB1BF72-31F7-44FA-AFAB-3B5A2FAB1AEC}"/>
              </a:ext>
            </a:extLst>
          </p:cNvPr>
          <p:cNvSpPr/>
          <p:nvPr/>
        </p:nvSpPr>
        <p:spPr>
          <a:xfrm rot="5400000">
            <a:off x="5840412" y="3933186"/>
            <a:ext cx="3007006" cy="404663"/>
          </a:xfrm>
          <a:prstGeom prst="triangle">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2" name="TextBox 331">
            <a:extLst>
              <a:ext uri="{FF2B5EF4-FFF2-40B4-BE49-F238E27FC236}">
                <a16:creationId xmlns:a16="http://schemas.microsoft.com/office/drawing/2014/main" id="{829CF4E2-5068-4CAE-B9DF-6D9F62736102}"/>
              </a:ext>
            </a:extLst>
          </p:cNvPr>
          <p:cNvSpPr txBox="1"/>
          <p:nvPr/>
        </p:nvSpPr>
        <p:spPr>
          <a:xfrm>
            <a:off x="2303760" y="1181884"/>
            <a:ext cx="2934765" cy="338554"/>
          </a:xfrm>
          <a:prstGeom prst="rect">
            <a:avLst/>
          </a:prstGeom>
          <a:solidFill>
            <a:schemeClr val="bg1"/>
          </a:solidFill>
        </p:spPr>
        <p:txBody>
          <a:bodyPr wrap="square">
            <a:spAutoFit/>
          </a:bodyPr>
          <a:lstStyle/>
          <a:p>
            <a:pPr algn="ctr"/>
            <a:r>
              <a:rPr lang="el-GR" altLang="en-US" sz="1600" b="1" dirty="0">
                <a:solidFill>
                  <a:srgbClr val="00338D"/>
                </a:solidFill>
                <a:latin typeface="Calibri" panose="020F0502020204030204" pitchFamily="34" charset="0"/>
                <a:cs typeface="Calibri" panose="020F0502020204030204" pitchFamily="34" charset="0"/>
              </a:rPr>
              <a:t>Στρατηγικοί Άξονες</a:t>
            </a:r>
            <a:endParaRPr lang="el-GR" altLang="en-US" sz="1600" dirty="0">
              <a:solidFill>
                <a:srgbClr val="00338D"/>
              </a:solidFill>
              <a:latin typeface="Calibri" panose="020F0502020204030204" pitchFamily="34" charset="0"/>
              <a:cs typeface="Calibri" panose="020F0502020204030204" pitchFamily="34" charset="0"/>
            </a:endParaRPr>
          </a:p>
        </p:txBody>
      </p:sp>
      <p:sp>
        <p:nvSpPr>
          <p:cNvPr id="333" name="Freeform 25">
            <a:extLst>
              <a:ext uri="{FF2B5EF4-FFF2-40B4-BE49-F238E27FC236}">
                <a16:creationId xmlns:a16="http://schemas.microsoft.com/office/drawing/2014/main" id="{1B0B07F8-A192-453D-8453-C6BAAED5AA32}"/>
              </a:ext>
            </a:extLst>
          </p:cNvPr>
          <p:cNvSpPr>
            <a:spLocks noChangeAspect="1" noEditPoints="1"/>
          </p:cNvSpPr>
          <p:nvPr/>
        </p:nvSpPr>
        <p:spPr bwMode="auto">
          <a:xfrm>
            <a:off x="7873138" y="2778798"/>
            <a:ext cx="455905" cy="457200"/>
          </a:xfrm>
          <a:custGeom>
            <a:avLst/>
            <a:gdLst>
              <a:gd name="T0" fmla="*/ 351 w 576"/>
              <a:gd name="T1" fmla="*/ 112 h 576"/>
              <a:gd name="T2" fmla="*/ 338 w 576"/>
              <a:gd name="T3" fmla="*/ 73 h 576"/>
              <a:gd name="T4" fmla="*/ 209 w 576"/>
              <a:gd name="T5" fmla="*/ 86 h 576"/>
              <a:gd name="T6" fmla="*/ 146 w 576"/>
              <a:gd name="T7" fmla="*/ 112 h 576"/>
              <a:gd name="T8" fmla="*/ 414 w 576"/>
              <a:gd name="T9" fmla="*/ 300 h 576"/>
              <a:gd name="T10" fmla="*/ 234 w 576"/>
              <a:gd name="T11" fmla="*/ 98 h 576"/>
              <a:gd name="T12" fmla="*/ 326 w 576"/>
              <a:gd name="T13" fmla="*/ 112 h 576"/>
              <a:gd name="T14" fmla="*/ 234 w 576"/>
              <a:gd name="T15" fmla="*/ 98 h 576"/>
              <a:gd name="T16" fmla="*/ 338 w 576"/>
              <a:gd name="T17" fmla="*/ 136 h 576"/>
              <a:gd name="T18" fmla="*/ 389 w 576"/>
              <a:gd name="T19" fmla="*/ 165 h 576"/>
              <a:gd name="T20" fmla="*/ 171 w 576"/>
              <a:gd name="T21" fmla="*/ 165 h 576"/>
              <a:gd name="T22" fmla="*/ 221 w 576"/>
              <a:gd name="T23" fmla="*/ 136 h 576"/>
              <a:gd name="T24" fmla="*/ 171 w 576"/>
              <a:gd name="T25" fmla="*/ 191 h 576"/>
              <a:gd name="T26" fmla="*/ 389 w 576"/>
              <a:gd name="T27" fmla="*/ 191 h 576"/>
              <a:gd name="T28" fmla="*/ 171 w 576"/>
              <a:gd name="T29" fmla="*/ 275 h 576"/>
              <a:gd name="T30" fmla="*/ 0 w 576"/>
              <a:gd name="T31" fmla="*/ 0 h 576"/>
              <a:gd name="T32" fmla="*/ 159 w 576"/>
              <a:gd name="T33" fmla="*/ 576 h 576"/>
              <a:gd name="T34" fmla="*/ 160 w 576"/>
              <a:gd name="T35" fmla="*/ 576 h 576"/>
              <a:gd name="T36" fmla="*/ 576 w 576"/>
              <a:gd name="T37" fmla="*/ 0 h 576"/>
              <a:gd name="T38" fmla="*/ 179 w 576"/>
              <a:gd name="T39" fmla="*/ 394 h 576"/>
              <a:gd name="T40" fmla="*/ 199 w 576"/>
              <a:gd name="T41" fmla="*/ 379 h 576"/>
              <a:gd name="T42" fmla="*/ 323 w 576"/>
              <a:gd name="T43" fmla="*/ 379 h 576"/>
              <a:gd name="T44" fmla="*/ 344 w 576"/>
              <a:gd name="T45" fmla="*/ 406 h 576"/>
              <a:gd name="T46" fmla="*/ 325 w 576"/>
              <a:gd name="T47" fmla="*/ 411 h 576"/>
              <a:gd name="T48" fmla="*/ 211 w 576"/>
              <a:gd name="T49" fmla="*/ 410 h 576"/>
              <a:gd name="T50" fmla="*/ 320 w 576"/>
              <a:gd name="T51" fmla="*/ 435 h 576"/>
              <a:gd name="T52" fmla="*/ 337 w 576"/>
              <a:gd name="T53" fmla="*/ 435 h 576"/>
              <a:gd name="T54" fmla="*/ 399 w 576"/>
              <a:gd name="T55" fmla="*/ 396 h 576"/>
              <a:gd name="T56" fmla="*/ 485 w 576"/>
              <a:gd name="T57" fmla="*/ 310 h 576"/>
              <a:gd name="T58" fmla="*/ 508 w 576"/>
              <a:gd name="T59" fmla="*/ 309 h 576"/>
              <a:gd name="T60" fmla="*/ 464 w 576"/>
              <a:gd name="T61" fmla="*/ 373 h 576"/>
              <a:gd name="T62" fmla="*/ 376 w 576"/>
              <a:gd name="T63" fmla="*/ 459 h 576"/>
              <a:gd name="T64" fmla="*/ 226 w 576"/>
              <a:gd name="T65" fmla="*/ 477 h 576"/>
              <a:gd name="T66" fmla="*/ 25 w 576"/>
              <a:gd name="T67" fmla="*/ 552 h 576"/>
              <a:gd name="T68" fmla="*/ 551 w 576"/>
              <a:gd name="T69" fmla="*/ 552 h 576"/>
              <a:gd name="T70" fmla="*/ 236 w 576"/>
              <a:gd name="T71" fmla="*/ 502 h 576"/>
              <a:gd name="T72" fmla="*/ 394 w 576"/>
              <a:gd name="T73" fmla="*/ 476 h 576"/>
              <a:gd name="T74" fmla="*/ 482 w 576"/>
              <a:gd name="T75" fmla="*/ 391 h 576"/>
              <a:gd name="T76" fmla="*/ 528 w 576"/>
              <a:gd name="T77" fmla="*/ 293 h 576"/>
              <a:gd name="T78" fmla="*/ 468 w 576"/>
              <a:gd name="T79" fmla="*/ 292 h 576"/>
              <a:gd name="T80" fmla="*/ 381 w 576"/>
              <a:gd name="T81" fmla="*/ 379 h 576"/>
              <a:gd name="T82" fmla="*/ 367 w 576"/>
              <a:gd name="T83" fmla="*/ 374 h 576"/>
              <a:gd name="T84" fmla="*/ 199 w 576"/>
              <a:gd name="T85" fmla="*/ 355 h 576"/>
              <a:gd name="T86" fmla="*/ 161 w 576"/>
              <a:gd name="T87" fmla="*/ 377 h 576"/>
              <a:gd name="T88" fmla="*/ 25 w 576"/>
              <a:gd name="T89" fmla="*/ 25 h 576"/>
              <a:gd name="T90" fmla="*/ 551 w 576"/>
              <a:gd name="T91"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6" h="576">
                <a:moveTo>
                  <a:pt x="414" y="112"/>
                </a:moveTo>
                <a:cubicBezTo>
                  <a:pt x="351" y="112"/>
                  <a:pt x="351" y="112"/>
                  <a:pt x="351" y="112"/>
                </a:cubicBezTo>
                <a:cubicBezTo>
                  <a:pt x="351" y="86"/>
                  <a:pt x="351" y="86"/>
                  <a:pt x="351" y="86"/>
                </a:cubicBezTo>
                <a:cubicBezTo>
                  <a:pt x="351" y="79"/>
                  <a:pt x="345" y="73"/>
                  <a:pt x="338" y="73"/>
                </a:cubicBezTo>
                <a:cubicBezTo>
                  <a:pt x="221" y="73"/>
                  <a:pt x="221" y="73"/>
                  <a:pt x="221" y="73"/>
                </a:cubicBezTo>
                <a:cubicBezTo>
                  <a:pt x="215" y="73"/>
                  <a:pt x="209" y="79"/>
                  <a:pt x="209" y="86"/>
                </a:cubicBezTo>
                <a:cubicBezTo>
                  <a:pt x="209" y="112"/>
                  <a:pt x="209" y="112"/>
                  <a:pt x="209" y="112"/>
                </a:cubicBezTo>
                <a:cubicBezTo>
                  <a:pt x="146" y="112"/>
                  <a:pt x="146" y="112"/>
                  <a:pt x="146" y="112"/>
                </a:cubicBezTo>
                <a:cubicBezTo>
                  <a:pt x="146" y="300"/>
                  <a:pt x="146" y="300"/>
                  <a:pt x="146" y="300"/>
                </a:cubicBezTo>
                <a:cubicBezTo>
                  <a:pt x="414" y="300"/>
                  <a:pt x="414" y="300"/>
                  <a:pt x="414" y="300"/>
                </a:cubicBezTo>
                <a:lnTo>
                  <a:pt x="414" y="112"/>
                </a:lnTo>
                <a:close/>
                <a:moveTo>
                  <a:pt x="234" y="98"/>
                </a:moveTo>
                <a:cubicBezTo>
                  <a:pt x="326" y="98"/>
                  <a:pt x="326" y="98"/>
                  <a:pt x="326" y="98"/>
                </a:cubicBezTo>
                <a:cubicBezTo>
                  <a:pt x="326" y="112"/>
                  <a:pt x="326" y="112"/>
                  <a:pt x="326" y="112"/>
                </a:cubicBezTo>
                <a:cubicBezTo>
                  <a:pt x="234" y="112"/>
                  <a:pt x="234" y="112"/>
                  <a:pt x="234" y="112"/>
                </a:cubicBezTo>
                <a:lnTo>
                  <a:pt x="234" y="98"/>
                </a:lnTo>
                <a:close/>
                <a:moveTo>
                  <a:pt x="221" y="136"/>
                </a:moveTo>
                <a:cubicBezTo>
                  <a:pt x="338" y="136"/>
                  <a:pt x="338" y="136"/>
                  <a:pt x="338" y="136"/>
                </a:cubicBezTo>
                <a:cubicBezTo>
                  <a:pt x="389" y="136"/>
                  <a:pt x="389" y="136"/>
                  <a:pt x="389" y="136"/>
                </a:cubicBezTo>
                <a:cubicBezTo>
                  <a:pt x="389" y="165"/>
                  <a:pt x="389" y="165"/>
                  <a:pt x="389" y="165"/>
                </a:cubicBezTo>
                <a:cubicBezTo>
                  <a:pt x="280" y="197"/>
                  <a:pt x="280" y="197"/>
                  <a:pt x="280" y="197"/>
                </a:cubicBezTo>
                <a:cubicBezTo>
                  <a:pt x="171" y="165"/>
                  <a:pt x="171" y="165"/>
                  <a:pt x="171" y="165"/>
                </a:cubicBezTo>
                <a:cubicBezTo>
                  <a:pt x="171" y="136"/>
                  <a:pt x="171" y="136"/>
                  <a:pt x="171" y="136"/>
                </a:cubicBezTo>
                <a:lnTo>
                  <a:pt x="221" y="136"/>
                </a:lnTo>
                <a:close/>
                <a:moveTo>
                  <a:pt x="171" y="275"/>
                </a:moveTo>
                <a:cubicBezTo>
                  <a:pt x="171" y="191"/>
                  <a:pt x="171" y="191"/>
                  <a:pt x="171" y="191"/>
                </a:cubicBezTo>
                <a:cubicBezTo>
                  <a:pt x="280" y="222"/>
                  <a:pt x="280" y="222"/>
                  <a:pt x="280" y="222"/>
                </a:cubicBezTo>
                <a:cubicBezTo>
                  <a:pt x="389" y="191"/>
                  <a:pt x="389" y="191"/>
                  <a:pt x="389" y="191"/>
                </a:cubicBezTo>
                <a:cubicBezTo>
                  <a:pt x="389" y="275"/>
                  <a:pt x="389" y="275"/>
                  <a:pt x="389" y="275"/>
                </a:cubicBezTo>
                <a:lnTo>
                  <a:pt x="171" y="275"/>
                </a:lnTo>
                <a:close/>
                <a:moveTo>
                  <a:pt x="576" y="0"/>
                </a:moveTo>
                <a:cubicBezTo>
                  <a:pt x="0" y="0"/>
                  <a:pt x="0" y="0"/>
                  <a:pt x="0" y="0"/>
                </a:cubicBezTo>
                <a:cubicBezTo>
                  <a:pt x="0" y="576"/>
                  <a:pt x="0" y="576"/>
                  <a:pt x="0" y="576"/>
                </a:cubicBezTo>
                <a:cubicBezTo>
                  <a:pt x="159" y="576"/>
                  <a:pt x="159" y="576"/>
                  <a:pt x="159" y="576"/>
                </a:cubicBezTo>
                <a:cubicBezTo>
                  <a:pt x="160" y="576"/>
                  <a:pt x="160" y="576"/>
                  <a:pt x="160" y="576"/>
                </a:cubicBezTo>
                <a:cubicBezTo>
                  <a:pt x="160" y="576"/>
                  <a:pt x="160" y="576"/>
                  <a:pt x="160" y="576"/>
                </a:cubicBezTo>
                <a:cubicBezTo>
                  <a:pt x="576" y="576"/>
                  <a:pt x="576" y="576"/>
                  <a:pt x="576" y="576"/>
                </a:cubicBezTo>
                <a:lnTo>
                  <a:pt x="576" y="0"/>
                </a:lnTo>
                <a:close/>
                <a:moveTo>
                  <a:pt x="25" y="547"/>
                </a:moveTo>
                <a:cubicBezTo>
                  <a:pt x="44" y="527"/>
                  <a:pt x="167" y="406"/>
                  <a:pt x="179" y="394"/>
                </a:cubicBezTo>
                <a:cubicBezTo>
                  <a:pt x="181" y="392"/>
                  <a:pt x="184" y="389"/>
                  <a:pt x="186" y="387"/>
                </a:cubicBezTo>
                <a:cubicBezTo>
                  <a:pt x="192" y="380"/>
                  <a:pt x="193" y="379"/>
                  <a:pt x="199" y="379"/>
                </a:cubicBezTo>
                <a:cubicBezTo>
                  <a:pt x="322" y="379"/>
                  <a:pt x="322" y="379"/>
                  <a:pt x="322" y="379"/>
                </a:cubicBezTo>
                <a:cubicBezTo>
                  <a:pt x="323" y="379"/>
                  <a:pt x="323" y="379"/>
                  <a:pt x="323" y="379"/>
                </a:cubicBezTo>
                <a:cubicBezTo>
                  <a:pt x="324" y="379"/>
                  <a:pt x="340" y="377"/>
                  <a:pt x="345" y="386"/>
                </a:cubicBezTo>
                <a:cubicBezTo>
                  <a:pt x="348" y="391"/>
                  <a:pt x="347" y="400"/>
                  <a:pt x="344" y="406"/>
                </a:cubicBezTo>
                <a:cubicBezTo>
                  <a:pt x="343" y="407"/>
                  <a:pt x="342" y="408"/>
                  <a:pt x="340" y="409"/>
                </a:cubicBezTo>
                <a:cubicBezTo>
                  <a:pt x="334" y="411"/>
                  <a:pt x="329" y="411"/>
                  <a:pt x="325" y="411"/>
                </a:cubicBezTo>
                <a:cubicBezTo>
                  <a:pt x="323" y="410"/>
                  <a:pt x="321" y="410"/>
                  <a:pt x="320" y="410"/>
                </a:cubicBezTo>
                <a:cubicBezTo>
                  <a:pt x="211" y="410"/>
                  <a:pt x="211" y="410"/>
                  <a:pt x="211" y="410"/>
                </a:cubicBezTo>
                <a:cubicBezTo>
                  <a:pt x="211" y="435"/>
                  <a:pt x="211" y="435"/>
                  <a:pt x="211" y="435"/>
                </a:cubicBezTo>
                <a:cubicBezTo>
                  <a:pt x="320" y="435"/>
                  <a:pt x="320" y="435"/>
                  <a:pt x="320" y="435"/>
                </a:cubicBezTo>
                <a:cubicBezTo>
                  <a:pt x="321" y="435"/>
                  <a:pt x="322" y="435"/>
                  <a:pt x="324" y="435"/>
                </a:cubicBezTo>
                <a:cubicBezTo>
                  <a:pt x="328" y="435"/>
                  <a:pt x="333" y="435"/>
                  <a:pt x="337" y="435"/>
                </a:cubicBezTo>
                <a:cubicBezTo>
                  <a:pt x="342" y="435"/>
                  <a:pt x="346" y="434"/>
                  <a:pt x="350" y="432"/>
                </a:cubicBezTo>
                <a:cubicBezTo>
                  <a:pt x="363" y="428"/>
                  <a:pt x="379" y="418"/>
                  <a:pt x="399" y="396"/>
                </a:cubicBezTo>
                <a:cubicBezTo>
                  <a:pt x="432" y="359"/>
                  <a:pt x="468" y="326"/>
                  <a:pt x="482" y="313"/>
                </a:cubicBezTo>
                <a:cubicBezTo>
                  <a:pt x="485" y="310"/>
                  <a:pt x="485" y="310"/>
                  <a:pt x="485" y="310"/>
                </a:cubicBezTo>
                <a:cubicBezTo>
                  <a:pt x="488" y="307"/>
                  <a:pt x="495" y="304"/>
                  <a:pt x="500" y="304"/>
                </a:cubicBezTo>
                <a:cubicBezTo>
                  <a:pt x="504" y="305"/>
                  <a:pt x="506" y="306"/>
                  <a:pt x="508" y="309"/>
                </a:cubicBezTo>
                <a:cubicBezTo>
                  <a:pt x="516" y="318"/>
                  <a:pt x="508" y="330"/>
                  <a:pt x="507" y="332"/>
                </a:cubicBezTo>
                <a:cubicBezTo>
                  <a:pt x="503" y="335"/>
                  <a:pt x="485" y="353"/>
                  <a:pt x="464" y="373"/>
                </a:cubicBezTo>
                <a:cubicBezTo>
                  <a:pt x="429" y="407"/>
                  <a:pt x="385" y="450"/>
                  <a:pt x="377" y="459"/>
                </a:cubicBezTo>
                <a:cubicBezTo>
                  <a:pt x="376" y="459"/>
                  <a:pt x="376" y="459"/>
                  <a:pt x="376" y="459"/>
                </a:cubicBezTo>
                <a:cubicBezTo>
                  <a:pt x="370" y="466"/>
                  <a:pt x="360" y="477"/>
                  <a:pt x="339" y="477"/>
                </a:cubicBezTo>
                <a:cubicBezTo>
                  <a:pt x="226" y="477"/>
                  <a:pt x="226" y="477"/>
                  <a:pt x="226" y="477"/>
                </a:cubicBezTo>
                <a:cubicBezTo>
                  <a:pt x="150" y="552"/>
                  <a:pt x="150" y="552"/>
                  <a:pt x="150" y="552"/>
                </a:cubicBezTo>
                <a:cubicBezTo>
                  <a:pt x="25" y="552"/>
                  <a:pt x="25" y="552"/>
                  <a:pt x="25" y="552"/>
                </a:cubicBezTo>
                <a:lnTo>
                  <a:pt x="25" y="547"/>
                </a:lnTo>
                <a:close/>
                <a:moveTo>
                  <a:pt x="551" y="552"/>
                </a:moveTo>
                <a:cubicBezTo>
                  <a:pt x="185" y="552"/>
                  <a:pt x="185" y="552"/>
                  <a:pt x="185" y="552"/>
                </a:cubicBezTo>
                <a:cubicBezTo>
                  <a:pt x="236" y="502"/>
                  <a:pt x="236" y="502"/>
                  <a:pt x="236" y="502"/>
                </a:cubicBezTo>
                <a:cubicBezTo>
                  <a:pt x="339" y="502"/>
                  <a:pt x="339" y="502"/>
                  <a:pt x="339" y="502"/>
                </a:cubicBezTo>
                <a:cubicBezTo>
                  <a:pt x="370" y="502"/>
                  <a:pt x="386" y="484"/>
                  <a:pt x="394" y="476"/>
                </a:cubicBezTo>
                <a:cubicBezTo>
                  <a:pt x="395" y="476"/>
                  <a:pt x="395" y="476"/>
                  <a:pt x="395" y="476"/>
                </a:cubicBezTo>
                <a:cubicBezTo>
                  <a:pt x="402" y="468"/>
                  <a:pt x="448" y="423"/>
                  <a:pt x="482" y="391"/>
                </a:cubicBezTo>
                <a:cubicBezTo>
                  <a:pt x="503" y="369"/>
                  <a:pt x="521" y="352"/>
                  <a:pt x="524" y="349"/>
                </a:cubicBezTo>
                <a:cubicBezTo>
                  <a:pt x="535" y="338"/>
                  <a:pt x="544" y="313"/>
                  <a:pt x="528" y="293"/>
                </a:cubicBezTo>
                <a:cubicBezTo>
                  <a:pt x="521" y="285"/>
                  <a:pt x="512" y="281"/>
                  <a:pt x="502" y="280"/>
                </a:cubicBezTo>
                <a:cubicBezTo>
                  <a:pt x="488" y="279"/>
                  <a:pt x="475" y="286"/>
                  <a:pt x="468" y="292"/>
                </a:cubicBezTo>
                <a:cubicBezTo>
                  <a:pt x="465" y="295"/>
                  <a:pt x="465" y="295"/>
                  <a:pt x="465" y="295"/>
                </a:cubicBezTo>
                <a:cubicBezTo>
                  <a:pt x="451" y="308"/>
                  <a:pt x="414" y="342"/>
                  <a:pt x="381" y="379"/>
                </a:cubicBezTo>
                <a:cubicBezTo>
                  <a:pt x="377" y="383"/>
                  <a:pt x="374" y="386"/>
                  <a:pt x="371" y="389"/>
                </a:cubicBezTo>
                <a:cubicBezTo>
                  <a:pt x="370" y="384"/>
                  <a:pt x="369" y="379"/>
                  <a:pt x="367" y="374"/>
                </a:cubicBezTo>
                <a:cubicBezTo>
                  <a:pt x="357" y="356"/>
                  <a:pt x="334" y="353"/>
                  <a:pt x="321" y="355"/>
                </a:cubicBezTo>
                <a:cubicBezTo>
                  <a:pt x="199" y="355"/>
                  <a:pt x="199" y="355"/>
                  <a:pt x="199" y="355"/>
                </a:cubicBezTo>
                <a:cubicBezTo>
                  <a:pt x="182" y="355"/>
                  <a:pt x="175" y="362"/>
                  <a:pt x="168" y="370"/>
                </a:cubicBezTo>
                <a:cubicBezTo>
                  <a:pt x="166" y="372"/>
                  <a:pt x="164" y="374"/>
                  <a:pt x="161" y="377"/>
                </a:cubicBezTo>
                <a:cubicBezTo>
                  <a:pt x="152" y="386"/>
                  <a:pt x="65" y="473"/>
                  <a:pt x="25" y="513"/>
                </a:cubicBezTo>
                <a:cubicBezTo>
                  <a:pt x="25" y="25"/>
                  <a:pt x="25" y="25"/>
                  <a:pt x="25" y="25"/>
                </a:cubicBezTo>
                <a:cubicBezTo>
                  <a:pt x="551" y="25"/>
                  <a:pt x="551" y="25"/>
                  <a:pt x="551" y="25"/>
                </a:cubicBezTo>
                <a:lnTo>
                  <a:pt x="551" y="552"/>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334" name="Freeform 97">
            <a:extLst>
              <a:ext uri="{FF2B5EF4-FFF2-40B4-BE49-F238E27FC236}">
                <a16:creationId xmlns:a16="http://schemas.microsoft.com/office/drawing/2014/main" id="{AB69E47A-B7C3-4CFE-B67E-B0FED65B5D82}"/>
              </a:ext>
            </a:extLst>
          </p:cNvPr>
          <p:cNvSpPr>
            <a:spLocks noChangeAspect="1" noEditPoints="1"/>
          </p:cNvSpPr>
          <p:nvPr/>
        </p:nvSpPr>
        <p:spPr bwMode="auto">
          <a:xfrm>
            <a:off x="7864827" y="2133208"/>
            <a:ext cx="455905" cy="457200"/>
          </a:xfrm>
          <a:custGeom>
            <a:avLst/>
            <a:gdLst>
              <a:gd name="T0" fmla="*/ 288 w 576"/>
              <a:gd name="T1" fmla="*/ 498 h 576"/>
              <a:gd name="T2" fmla="*/ 147 w 576"/>
              <a:gd name="T3" fmla="*/ 169 h 576"/>
              <a:gd name="T4" fmla="*/ 208 w 576"/>
              <a:gd name="T5" fmla="*/ 123 h 576"/>
              <a:gd name="T6" fmla="*/ 146 w 576"/>
              <a:gd name="T7" fmla="*/ 170 h 576"/>
              <a:gd name="T8" fmla="*/ 128 w 576"/>
              <a:gd name="T9" fmla="*/ 195 h 576"/>
              <a:gd name="T10" fmla="*/ 171 w 576"/>
              <a:gd name="T11" fmla="*/ 196 h 576"/>
              <a:gd name="T12" fmla="*/ 104 w 576"/>
              <a:gd name="T13" fmla="*/ 275 h 576"/>
              <a:gd name="T14" fmla="*/ 104 w 576"/>
              <a:gd name="T15" fmla="*/ 301 h 576"/>
              <a:gd name="T16" fmla="*/ 158 w 576"/>
              <a:gd name="T17" fmla="*/ 301 h 576"/>
              <a:gd name="T18" fmla="*/ 128 w 576"/>
              <a:gd name="T19" fmla="*/ 380 h 576"/>
              <a:gd name="T20" fmla="*/ 146 w 576"/>
              <a:gd name="T21" fmla="*/ 406 h 576"/>
              <a:gd name="T22" fmla="*/ 208 w 576"/>
              <a:gd name="T23" fmla="*/ 453 h 576"/>
              <a:gd name="T24" fmla="*/ 275 w 576"/>
              <a:gd name="T25" fmla="*/ 471 h 576"/>
              <a:gd name="T26" fmla="*/ 208 w 576"/>
              <a:gd name="T27" fmla="*/ 406 h 576"/>
              <a:gd name="T28" fmla="*/ 275 w 576"/>
              <a:gd name="T29" fmla="*/ 380 h 576"/>
              <a:gd name="T30" fmla="*/ 184 w 576"/>
              <a:gd name="T31" fmla="*/ 301 h 576"/>
              <a:gd name="T32" fmla="*/ 275 w 576"/>
              <a:gd name="T33" fmla="*/ 380 h 576"/>
              <a:gd name="T34" fmla="*/ 184 w 576"/>
              <a:gd name="T35" fmla="*/ 275 h 576"/>
              <a:gd name="T36" fmla="*/ 275 w 576"/>
              <a:gd name="T37" fmla="*/ 195 h 576"/>
              <a:gd name="T38" fmla="*/ 208 w 576"/>
              <a:gd name="T39" fmla="*/ 170 h 576"/>
              <a:gd name="T40" fmla="*/ 275 w 576"/>
              <a:gd name="T41" fmla="*/ 105 h 576"/>
              <a:gd name="T42" fmla="*/ 429 w 576"/>
              <a:gd name="T43" fmla="*/ 169 h 576"/>
              <a:gd name="T44" fmla="*/ 395 w 576"/>
              <a:gd name="T45" fmla="*/ 170 h 576"/>
              <a:gd name="T46" fmla="*/ 369 w 576"/>
              <a:gd name="T47" fmla="*/ 122 h 576"/>
              <a:gd name="T48" fmla="*/ 367 w 576"/>
              <a:gd name="T49" fmla="*/ 169 h 576"/>
              <a:gd name="T50" fmla="*/ 301 w 576"/>
              <a:gd name="T51" fmla="*/ 105 h 576"/>
              <a:gd name="T52" fmla="*/ 378 w 576"/>
              <a:gd name="T53" fmla="*/ 196 h 576"/>
              <a:gd name="T54" fmla="*/ 301 w 576"/>
              <a:gd name="T55" fmla="*/ 275 h 576"/>
              <a:gd name="T56" fmla="*/ 392 w 576"/>
              <a:gd name="T57" fmla="*/ 301 h 576"/>
              <a:gd name="T58" fmla="*/ 378 w 576"/>
              <a:gd name="T59" fmla="*/ 380 h 576"/>
              <a:gd name="T60" fmla="*/ 301 w 576"/>
              <a:gd name="T61" fmla="*/ 471 h 576"/>
              <a:gd name="T62" fmla="*/ 368 w 576"/>
              <a:gd name="T63" fmla="*/ 406 h 576"/>
              <a:gd name="T64" fmla="*/ 429 w 576"/>
              <a:gd name="T65" fmla="*/ 407 h 576"/>
              <a:gd name="T66" fmla="*/ 368 w 576"/>
              <a:gd name="T67" fmla="*/ 453 h 576"/>
              <a:gd name="T68" fmla="*/ 430 w 576"/>
              <a:gd name="T69" fmla="*/ 406 h 576"/>
              <a:gd name="T70" fmla="*/ 448 w 576"/>
              <a:gd name="T71" fmla="*/ 380 h 576"/>
              <a:gd name="T72" fmla="*/ 405 w 576"/>
              <a:gd name="T73" fmla="*/ 380 h 576"/>
              <a:gd name="T74" fmla="*/ 472 w 576"/>
              <a:gd name="T75" fmla="*/ 301 h 576"/>
              <a:gd name="T76" fmla="*/ 472 w 576"/>
              <a:gd name="T77" fmla="*/ 275 h 576"/>
              <a:gd name="T78" fmla="*/ 405 w 576"/>
              <a:gd name="T79" fmla="*/ 196 h 576"/>
              <a:gd name="T80" fmla="*/ 0 w 576"/>
              <a:gd name="T81" fmla="*/ 0 h 576"/>
              <a:gd name="T82" fmla="*/ 576 w 576"/>
              <a:gd name="T83" fmla="*/ 0 h 576"/>
              <a:gd name="T84" fmla="*/ 25 w 576"/>
              <a:gd name="T85" fmla="*/ 551 h 576"/>
              <a:gd name="T86" fmla="*/ 551 w 576"/>
              <a:gd name="T8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6" h="576">
                <a:moveTo>
                  <a:pt x="288" y="78"/>
                </a:moveTo>
                <a:cubicBezTo>
                  <a:pt x="172" y="78"/>
                  <a:pt x="78" y="172"/>
                  <a:pt x="78" y="288"/>
                </a:cubicBezTo>
                <a:cubicBezTo>
                  <a:pt x="78" y="404"/>
                  <a:pt x="172" y="498"/>
                  <a:pt x="288" y="498"/>
                </a:cubicBezTo>
                <a:cubicBezTo>
                  <a:pt x="404" y="498"/>
                  <a:pt x="498" y="404"/>
                  <a:pt x="498" y="288"/>
                </a:cubicBezTo>
                <a:cubicBezTo>
                  <a:pt x="498" y="172"/>
                  <a:pt x="404" y="78"/>
                  <a:pt x="288" y="78"/>
                </a:cubicBezTo>
                <a:close/>
                <a:moveTo>
                  <a:pt x="147" y="169"/>
                </a:moveTo>
                <a:cubicBezTo>
                  <a:pt x="163" y="149"/>
                  <a:pt x="184" y="133"/>
                  <a:pt x="207" y="122"/>
                </a:cubicBezTo>
                <a:cubicBezTo>
                  <a:pt x="209" y="121"/>
                  <a:pt x="209" y="121"/>
                  <a:pt x="209" y="121"/>
                </a:cubicBezTo>
                <a:cubicBezTo>
                  <a:pt x="208" y="123"/>
                  <a:pt x="208" y="123"/>
                  <a:pt x="208" y="123"/>
                </a:cubicBezTo>
                <a:cubicBezTo>
                  <a:pt x="197" y="136"/>
                  <a:pt x="188" y="152"/>
                  <a:pt x="181" y="170"/>
                </a:cubicBezTo>
                <a:cubicBezTo>
                  <a:pt x="180" y="170"/>
                  <a:pt x="180" y="170"/>
                  <a:pt x="180" y="170"/>
                </a:cubicBezTo>
                <a:cubicBezTo>
                  <a:pt x="146" y="170"/>
                  <a:pt x="146" y="170"/>
                  <a:pt x="146" y="170"/>
                </a:cubicBezTo>
                <a:lnTo>
                  <a:pt x="147" y="169"/>
                </a:lnTo>
                <a:close/>
                <a:moveTo>
                  <a:pt x="104" y="275"/>
                </a:moveTo>
                <a:cubicBezTo>
                  <a:pt x="106" y="246"/>
                  <a:pt x="114" y="220"/>
                  <a:pt x="128" y="195"/>
                </a:cubicBezTo>
                <a:cubicBezTo>
                  <a:pt x="128" y="195"/>
                  <a:pt x="128" y="195"/>
                  <a:pt x="128" y="195"/>
                </a:cubicBezTo>
                <a:cubicBezTo>
                  <a:pt x="171" y="195"/>
                  <a:pt x="171" y="195"/>
                  <a:pt x="171" y="195"/>
                </a:cubicBezTo>
                <a:cubicBezTo>
                  <a:pt x="171" y="196"/>
                  <a:pt x="171" y="196"/>
                  <a:pt x="171" y="196"/>
                </a:cubicBezTo>
                <a:cubicBezTo>
                  <a:pt x="164" y="221"/>
                  <a:pt x="159" y="247"/>
                  <a:pt x="158" y="275"/>
                </a:cubicBezTo>
                <a:cubicBezTo>
                  <a:pt x="158" y="275"/>
                  <a:pt x="158" y="275"/>
                  <a:pt x="158" y="275"/>
                </a:cubicBezTo>
                <a:cubicBezTo>
                  <a:pt x="104" y="275"/>
                  <a:pt x="104" y="275"/>
                  <a:pt x="104" y="275"/>
                </a:cubicBezTo>
                <a:close/>
                <a:moveTo>
                  <a:pt x="128" y="380"/>
                </a:moveTo>
                <a:cubicBezTo>
                  <a:pt x="128" y="380"/>
                  <a:pt x="128" y="380"/>
                  <a:pt x="128" y="380"/>
                </a:cubicBezTo>
                <a:cubicBezTo>
                  <a:pt x="114" y="356"/>
                  <a:pt x="106" y="329"/>
                  <a:pt x="104" y="301"/>
                </a:cubicBezTo>
                <a:cubicBezTo>
                  <a:pt x="104" y="301"/>
                  <a:pt x="104" y="301"/>
                  <a:pt x="104" y="301"/>
                </a:cubicBezTo>
                <a:cubicBezTo>
                  <a:pt x="158" y="301"/>
                  <a:pt x="158" y="301"/>
                  <a:pt x="158" y="301"/>
                </a:cubicBezTo>
                <a:cubicBezTo>
                  <a:pt x="158" y="301"/>
                  <a:pt x="158" y="301"/>
                  <a:pt x="158" y="301"/>
                </a:cubicBezTo>
                <a:cubicBezTo>
                  <a:pt x="159" y="329"/>
                  <a:pt x="164" y="355"/>
                  <a:pt x="171" y="380"/>
                </a:cubicBezTo>
                <a:cubicBezTo>
                  <a:pt x="171" y="380"/>
                  <a:pt x="171" y="380"/>
                  <a:pt x="171" y="380"/>
                </a:cubicBezTo>
                <a:lnTo>
                  <a:pt x="128" y="380"/>
                </a:lnTo>
                <a:close/>
                <a:moveTo>
                  <a:pt x="207" y="454"/>
                </a:moveTo>
                <a:cubicBezTo>
                  <a:pt x="184" y="442"/>
                  <a:pt x="163" y="426"/>
                  <a:pt x="147" y="407"/>
                </a:cubicBezTo>
                <a:cubicBezTo>
                  <a:pt x="146" y="406"/>
                  <a:pt x="146" y="406"/>
                  <a:pt x="146" y="406"/>
                </a:cubicBezTo>
                <a:cubicBezTo>
                  <a:pt x="180" y="406"/>
                  <a:pt x="180" y="406"/>
                  <a:pt x="180" y="406"/>
                </a:cubicBezTo>
                <a:cubicBezTo>
                  <a:pt x="181" y="406"/>
                  <a:pt x="181" y="406"/>
                  <a:pt x="181" y="406"/>
                </a:cubicBezTo>
                <a:cubicBezTo>
                  <a:pt x="188" y="424"/>
                  <a:pt x="197" y="439"/>
                  <a:pt x="208" y="453"/>
                </a:cubicBezTo>
                <a:cubicBezTo>
                  <a:pt x="209" y="455"/>
                  <a:pt x="209" y="455"/>
                  <a:pt x="209" y="455"/>
                </a:cubicBezTo>
                <a:lnTo>
                  <a:pt x="207" y="454"/>
                </a:lnTo>
                <a:close/>
                <a:moveTo>
                  <a:pt x="275" y="471"/>
                </a:moveTo>
                <a:cubicBezTo>
                  <a:pt x="275" y="471"/>
                  <a:pt x="275" y="471"/>
                  <a:pt x="275" y="471"/>
                </a:cubicBezTo>
                <a:cubicBezTo>
                  <a:pt x="249" y="465"/>
                  <a:pt x="226" y="442"/>
                  <a:pt x="209" y="407"/>
                </a:cubicBezTo>
                <a:cubicBezTo>
                  <a:pt x="208" y="406"/>
                  <a:pt x="208" y="406"/>
                  <a:pt x="208" y="406"/>
                </a:cubicBezTo>
                <a:cubicBezTo>
                  <a:pt x="275" y="406"/>
                  <a:pt x="275" y="406"/>
                  <a:pt x="275" y="406"/>
                </a:cubicBezTo>
                <a:lnTo>
                  <a:pt x="275" y="471"/>
                </a:lnTo>
                <a:close/>
                <a:moveTo>
                  <a:pt x="275" y="380"/>
                </a:moveTo>
                <a:cubicBezTo>
                  <a:pt x="198" y="380"/>
                  <a:pt x="198" y="380"/>
                  <a:pt x="198" y="380"/>
                </a:cubicBezTo>
                <a:cubicBezTo>
                  <a:pt x="198" y="380"/>
                  <a:pt x="198" y="380"/>
                  <a:pt x="198" y="380"/>
                </a:cubicBezTo>
                <a:cubicBezTo>
                  <a:pt x="190" y="356"/>
                  <a:pt x="185" y="329"/>
                  <a:pt x="184" y="301"/>
                </a:cubicBezTo>
                <a:cubicBezTo>
                  <a:pt x="184" y="301"/>
                  <a:pt x="184" y="301"/>
                  <a:pt x="184" y="301"/>
                </a:cubicBezTo>
                <a:cubicBezTo>
                  <a:pt x="275" y="301"/>
                  <a:pt x="275" y="301"/>
                  <a:pt x="275" y="301"/>
                </a:cubicBezTo>
                <a:lnTo>
                  <a:pt x="275" y="380"/>
                </a:lnTo>
                <a:close/>
                <a:moveTo>
                  <a:pt x="275" y="275"/>
                </a:moveTo>
                <a:cubicBezTo>
                  <a:pt x="184" y="275"/>
                  <a:pt x="184" y="275"/>
                  <a:pt x="184" y="275"/>
                </a:cubicBezTo>
                <a:cubicBezTo>
                  <a:pt x="184" y="275"/>
                  <a:pt x="184" y="275"/>
                  <a:pt x="184" y="275"/>
                </a:cubicBezTo>
                <a:cubicBezTo>
                  <a:pt x="185" y="247"/>
                  <a:pt x="190" y="220"/>
                  <a:pt x="198" y="196"/>
                </a:cubicBezTo>
                <a:cubicBezTo>
                  <a:pt x="198" y="195"/>
                  <a:pt x="198" y="195"/>
                  <a:pt x="198" y="195"/>
                </a:cubicBezTo>
                <a:cubicBezTo>
                  <a:pt x="275" y="195"/>
                  <a:pt x="275" y="195"/>
                  <a:pt x="275" y="195"/>
                </a:cubicBezTo>
                <a:lnTo>
                  <a:pt x="275" y="275"/>
                </a:lnTo>
                <a:close/>
                <a:moveTo>
                  <a:pt x="275" y="170"/>
                </a:moveTo>
                <a:cubicBezTo>
                  <a:pt x="208" y="170"/>
                  <a:pt x="208" y="170"/>
                  <a:pt x="208" y="170"/>
                </a:cubicBezTo>
                <a:cubicBezTo>
                  <a:pt x="209" y="169"/>
                  <a:pt x="209" y="169"/>
                  <a:pt x="209" y="169"/>
                </a:cubicBezTo>
                <a:cubicBezTo>
                  <a:pt x="226" y="134"/>
                  <a:pt x="249" y="111"/>
                  <a:pt x="275" y="105"/>
                </a:cubicBezTo>
                <a:cubicBezTo>
                  <a:pt x="275" y="105"/>
                  <a:pt x="275" y="105"/>
                  <a:pt x="275" y="105"/>
                </a:cubicBezTo>
                <a:lnTo>
                  <a:pt x="275" y="170"/>
                </a:lnTo>
                <a:close/>
                <a:moveTo>
                  <a:pt x="369" y="122"/>
                </a:moveTo>
                <a:cubicBezTo>
                  <a:pt x="392" y="133"/>
                  <a:pt x="413" y="149"/>
                  <a:pt x="429" y="169"/>
                </a:cubicBezTo>
                <a:cubicBezTo>
                  <a:pt x="430" y="170"/>
                  <a:pt x="430" y="170"/>
                  <a:pt x="430" y="170"/>
                </a:cubicBezTo>
                <a:cubicBezTo>
                  <a:pt x="396" y="170"/>
                  <a:pt x="396" y="170"/>
                  <a:pt x="396" y="170"/>
                </a:cubicBezTo>
                <a:cubicBezTo>
                  <a:pt x="395" y="170"/>
                  <a:pt x="395" y="170"/>
                  <a:pt x="395" y="170"/>
                </a:cubicBezTo>
                <a:cubicBezTo>
                  <a:pt x="388" y="152"/>
                  <a:pt x="379" y="136"/>
                  <a:pt x="368" y="123"/>
                </a:cubicBezTo>
                <a:cubicBezTo>
                  <a:pt x="367" y="121"/>
                  <a:pt x="367" y="121"/>
                  <a:pt x="367" y="121"/>
                </a:cubicBezTo>
                <a:lnTo>
                  <a:pt x="369" y="122"/>
                </a:lnTo>
                <a:close/>
                <a:moveTo>
                  <a:pt x="301" y="105"/>
                </a:moveTo>
                <a:cubicBezTo>
                  <a:pt x="301" y="105"/>
                  <a:pt x="301" y="105"/>
                  <a:pt x="301" y="105"/>
                </a:cubicBezTo>
                <a:cubicBezTo>
                  <a:pt x="327" y="111"/>
                  <a:pt x="350" y="134"/>
                  <a:pt x="367" y="169"/>
                </a:cubicBezTo>
                <a:cubicBezTo>
                  <a:pt x="368" y="170"/>
                  <a:pt x="368" y="170"/>
                  <a:pt x="368" y="170"/>
                </a:cubicBezTo>
                <a:cubicBezTo>
                  <a:pt x="301" y="170"/>
                  <a:pt x="301" y="170"/>
                  <a:pt x="301" y="170"/>
                </a:cubicBezTo>
                <a:lnTo>
                  <a:pt x="301" y="105"/>
                </a:lnTo>
                <a:close/>
                <a:moveTo>
                  <a:pt x="301" y="195"/>
                </a:moveTo>
                <a:cubicBezTo>
                  <a:pt x="378" y="195"/>
                  <a:pt x="378" y="195"/>
                  <a:pt x="378" y="195"/>
                </a:cubicBezTo>
                <a:cubicBezTo>
                  <a:pt x="378" y="196"/>
                  <a:pt x="378" y="196"/>
                  <a:pt x="378" y="196"/>
                </a:cubicBezTo>
                <a:cubicBezTo>
                  <a:pt x="386" y="220"/>
                  <a:pt x="391" y="247"/>
                  <a:pt x="392" y="275"/>
                </a:cubicBezTo>
                <a:cubicBezTo>
                  <a:pt x="392" y="275"/>
                  <a:pt x="392" y="275"/>
                  <a:pt x="392" y="275"/>
                </a:cubicBezTo>
                <a:cubicBezTo>
                  <a:pt x="301" y="275"/>
                  <a:pt x="301" y="275"/>
                  <a:pt x="301" y="275"/>
                </a:cubicBezTo>
                <a:lnTo>
                  <a:pt x="301" y="195"/>
                </a:lnTo>
                <a:close/>
                <a:moveTo>
                  <a:pt x="301" y="301"/>
                </a:moveTo>
                <a:cubicBezTo>
                  <a:pt x="392" y="301"/>
                  <a:pt x="392" y="301"/>
                  <a:pt x="392" y="301"/>
                </a:cubicBezTo>
                <a:cubicBezTo>
                  <a:pt x="392" y="301"/>
                  <a:pt x="392" y="301"/>
                  <a:pt x="392" y="301"/>
                </a:cubicBezTo>
                <a:cubicBezTo>
                  <a:pt x="391" y="329"/>
                  <a:pt x="386" y="355"/>
                  <a:pt x="378" y="380"/>
                </a:cubicBezTo>
                <a:cubicBezTo>
                  <a:pt x="378" y="380"/>
                  <a:pt x="378" y="380"/>
                  <a:pt x="378" y="380"/>
                </a:cubicBezTo>
                <a:cubicBezTo>
                  <a:pt x="301" y="380"/>
                  <a:pt x="301" y="380"/>
                  <a:pt x="301" y="380"/>
                </a:cubicBezTo>
                <a:lnTo>
                  <a:pt x="301" y="301"/>
                </a:lnTo>
                <a:close/>
                <a:moveTo>
                  <a:pt x="301" y="471"/>
                </a:moveTo>
                <a:cubicBezTo>
                  <a:pt x="301" y="471"/>
                  <a:pt x="301" y="471"/>
                  <a:pt x="301" y="471"/>
                </a:cubicBezTo>
                <a:cubicBezTo>
                  <a:pt x="301" y="406"/>
                  <a:pt x="301" y="406"/>
                  <a:pt x="301" y="406"/>
                </a:cubicBezTo>
                <a:cubicBezTo>
                  <a:pt x="368" y="406"/>
                  <a:pt x="368" y="406"/>
                  <a:pt x="368" y="406"/>
                </a:cubicBezTo>
                <a:cubicBezTo>
                  <a:pt x="367" y="407"/>
                  <a:pt x="367" y="407"/>
                  <a:pt x="367" y="407"/>
                </a:cubicBezTo>
                <a:cubicBezTo>
                  <a:pt x="350" y="442"/>
                  <a:pt x="327" y="465"/>
                  <a:pt x="301" y="471"/>
                </a:cubicBezTo>
                <a:close/>
                <a:moveTo>
                  <a:pt x="429" y="407"/>
                </a:moveTo>
                <a:cubicBezTo>
                  <a:pt x="413" y="426"/>
                  <a:pt x="392" y="442"/>
                  <a:pt x="369" y="454"/>
                </a:cubicBezTo>
                <a:cubicBezTo>
                  <a:pt x="367" y="455"/>
                  <a:pt x="367" y="455"/>
                  <a:pt x="367" y="455"/>
                </a:cubicBezTo>
                <a:cubicBezTo>
                  <a:pt x="368" y="453"/>
                  <a:pt x="368" y="453"/>
                  <a:pt x="368" y="453"/>
                </a:cubicBezTo>
                <a:cubicBezTo>
                  <a:pt x="379" y="439"/>
                  <a:pt x="388" y="424"/>
                  <a:pt x="395" y="406"/>
                </a:cubicBezTo>
                <a:cubicBezTo>
                  <a:pt x="396" y="406"/>
                  <a:pt x="396" y="406"/>
                  <a:pt x="396" y="406"/>
                </a:cubicBezTo>
                <a:cubicBezTo>
                  <a:pt x="430" y="406"/>
                  <a:pt x="430" y="406"/>
                  <a:pt x="430" y="406"/>
                </a:cubicBezTo>
                <a:lnTo>
                  <a:pt x="429" y="407"/>
                </a:lnTo>
                <a:close/>
                <a:moveTo>
                  <a:pt x="472" y="301"/>
                </a:moveTo>
                <a:cubicBezTo>
                  <a:pt x="470" y="329"/>
                  <a:pt x="462" y="356"/>
                  <a:pt x="448" y="380"/>
                </a:cubicBezTo>
                <a:cubicBezTo>
                  <a:pt x="448" y="380"/>
                  <a:pt x="448" y="380"/>
                  <a:pt x="448" y="380"/>
                </a:cubicBezTo>
                <a:cubicBezTo>
                  <a:pt x="405" y="380"/>
                  <a:pt x="405" y="380"/>
                  <a:pt x="405" y="380"/>
                </a:cubicBezTo>
                <a:cubicBezTo>
                  <a:pt x="405" y="380"/>
                  <a:pt x="405" y="380"/>
                  <a:pt x="405" y="380"/>
                </a:cubicBezTo>
                <a:cubicBezTo>
                  <a:pt x="412" y="355"/>
                  <a:pt x="417" y="329"/>
                  <a:pt x="418" y="301"/>
                </a:cubicBezTo>
                <a:cubicBezTo>
                  <a:pt x="418" y="301"/>
                  <a:pt x="418" y="301"/>
                  <a:pt x="418" y="301"/>
                </a:cubicBezTo>
                <a:cubicBezTo>
                  <a:pt x="472" y="301"/>
                  <a:pt x="472" y="301"/>
                  <a:pt x="472" y="301"/>
                </a:cubicBezTo>
                <a:close/>
                <a:moveTo>
                  <a:pt x="448" y="195"/>
                </a:moveTo>
                <a:cubicBezTo>
                  <a:pt x="462" y="220"/>
                  <a:pt x="470" y="246"/>
                  <a:pt x="472" y="275"/>
                </a:cubicBezTo>
                <a:cubicBezTo>
                  <a:pt x="472" y="275"/>
                  <a:pt x="472" y="275"/>
                  <a:pt x="472" y="275"/>
                </a:cubicBezTo>
                <a:cubicBezTo>
                  <a:pt x="418" y="275"/>
                  <a:pt x="418" y="275"/>
                  <a:pt x="418" y="275"/>
                </a:cubicBezTo>
                <a:cubicBezTo>
                  <a:pt x="418" y="275"/>
                  <a:pt x="418" y="275"/>
                  <a:pt x="418" y="275"/>
                </a:cubicBezTo>
                <a:cubicBezTo>
                  <a:pt x="417" y="247"/>
                  <a:pt x="412" y="221"/>
                  <a:pt x="405" y="196"/>
                </a:cubicBezTo>
                <a:cubicBezTo>
                  <a:pt x="405" y="195"/>
                  <a:pt x="405" y="195"/>
                  <a:pt x="405" y="195"/>
                </a:cubicBezTo>
                <a:cubicBezTo>
                  <a:pt x="448" y="195"/>
                  <a:pt x="448" y="195"/>
                  <a:pt x="448" y="195"/>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335" name="Freeform 13">
            <a:extLst>
              <a:ext uri="{FF2B5EF4-FFF2-40B4-BE49-F238E27FC236}">
                <a16:creationId xmlns:a16="http://schemas.microsoft.com/office/drawing/2014/main" id="{9CA25627-FC12-423B-8B7C-FEAD3C4050B8}"/>
              </a:ext>
            </a:extLst>
          </p:cNvPr>
          <p:cNvSpPr>
            <a:spLocks noChangeAspect="1" noEditPoints="1"/>
          </p:cNvSpPr>
          <p:nvPr/>
        </p:nvSpPr>
        <p:spPr bwMode="auto">
          <a:xfrm>
            <a:off x="7888459" y="5063277"/>
            <a:ext cx="457200"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rgbClr val="013476"/>
          </a:solidFill>
          <a:ln>
            <a:noFill/>
          </a:ln>
        </p:spPr>
        <p:txBody>
          <a:bodyPr vert="horz" wrap="square" lIns="68580" tIns="34290" rIns="68580" bIns="34290" numCol="1" anchor="t" anchorCtr="0" compatLnSpc="1">
            <a:prstTxWarp prst="textNoShape">
              <a:avLst/>
            </a:prstTxWarp>
          </a:bodyPr>
          <a:lstStyle/>
          <a:p>
            <a:endParaRPr lang="en-US" sz="800">
              <a:solidFill>
                <a:schemeClr val="accent1"/>
              </a:solidFill>
            </a:endParaRPr>
          </a:p>
        </p:txBody>
      </p:sp>
      <p:sp>
        <p:nvSpPr>
          <p:cNvPr id="336" name="Freeform 77">
            <a:extLst>
              <a:ext uri="{FF2B5EF4-FFF2-40B4-BE49-F238E27FC236}">
                <a16:creationId xmlns:a16="http://schemas.microsoft.com/office/drawing/2014/main" id="{F4C3D1EF-480E-4D9B-80D6-3C319C97F42B}"/>
              </a:ext>
            </a:extLst>
          </p:cNvPr>
          <p:cNvSpPr>
            <a:spLocks noChangeAspect="1" noEditPoints="1"/>
          </p:cNvSpPr>
          <p:nvPr/>
        </p:nvSpPr>
        <p:spPr bwMode="auto">
          <a:xfrm>
            <a:off x="7873957" y="4329427"/>
            <a:ext cx="455905" cy="457200"/>
          </a:xfrm>
          <a:custGeom>
            <a:avLst/>
            <a:gdLst>
              <a:gd name="T0" fmla="*/ 0 w 704"/>
              <a:gd name="T1" fmla="*/ 706 h 706"/>
              <a:gd name="T2" fmla="*/ 704 w 704"/>
              <a:gd name="T3" fmla="*/ 0 h 706"/>
              <a:gd name="T4" fmla="*/ 29 w 704"/>
              <a:gd name="T5" fmla="*/ 675 h 706"/>
              <a:gd name="T6" fmla="*/ 673 w 704"/>
              <a:gd name="T7" fmla="*/ 29 h 706"/>
              <a:gd name="T8" fmla="*/ 29 w 704"/>
              <a:gd name="T9" fmla="*/ 675 h 706"/>
              <a:gd name="T10" fmla="*/ 465 w 704"/>
              <a:gd name="T11" fmla="*/ 402 h 706"/>
              <a:gd name="T12" fmla="*/ 451 w 704"/>
              <a:gd name="T13" fmla="*/ 353 h 706"/>
              <a:gd name="T14" fmla="*/ 465 w 704"/>
              <a:gd name="T15" fmla="*/ 304 h 706"/>
              <a:gd name="T16" fmla="*/ 584 w 704"/>
              <a:gd name="T17" fmla="*/ 335 h 706"/>
              <a:gd name="T18" fmla="*/ 584 w 704"/>
              <a:gd name="T19" fmla="*/ 159 h 706"/>
              <a:gd name="T20" fmla="*/ 432 w 704"/>
              <a:gd name="T21" fmla="*/ 247 h 706"/>
              <a:gd name="T22" fmla="*/ 418 w 704"/>
              <a:gd name="T23" fmla="*/ 295 h 706"/>
              <a:gd name="T24" fmla="*/ 365 w 704"/>
              <a:gd name="T25" fmla="*/ 265 h 706"/>
              <a:gd name="T26" fmla="*/ 401 w 704"/>
              <a:gd name="T27" fmla="*/ 229 h 706"/>
              <a:gd name="T28" fmla="*/ 401 w 704"/>
              <a:gd name="T29" fmla="*/ 54 h 706"/>
              <a:gd name="T30" fmla="*/ 249 w 704"/>
              <a:gd name="T31" fmla="*/ 141 h 706"/>
              <a:gd name="T32" fmla="*/ 335 w 704"/>
              <a:gd name="T33" fmla="*/ 229 h 706"/>
              <a:gd name="T34" fmla="*/ 299 w 704"/>
              <a:gd name="T35" fmla="*/ 265 h 706"/>
              <a:gd name="T36" fmla="*/ 253 w 704"/>
              <a:gd name="T37" fmla="*/ 279 h 706"/>
              <a:gd name="T38" fmla="*/ 220 w 704"/>
              <a:gd name="T39" fmla="*/ 159 h 706"/>
              <a:gd name="T40" fmla="*/ 68 w 704"/>
              <a:gd name="T41" fmla="*/ 247 h 706"/>
              <a:gd name="T42" fmla="*/ 220 w 704"/>
              <a:gd name="T43" fmla="*/ 335 h 706"/>
              <a:gd name="T44" fmla="*/ 266 w 704"/>
              <a:gd name="T45" fmla="*/ 322 h 706"/>
              <a:gd name="T46" fmla="*/ 266 w 704"/>
              <a:gd name="T47" fmla="*/ 384 h 706"/>
              <a:gd name="T48" fmla="*/ 220 w 704"/>
              <a:gd name="T49" fmla="*/ 371 h 706"/>
              <a:gd name="T50" fmla="*/ 68 w 704"/>
              <a:gd name="T51" fmla="*/ 458 h 706"/>
              <a:gd name="T52" fmla="*/ 220 w 704"/>
              <a:gd name="T53" fmla="*/ 547 h 706"/>
              <a:gd name="T54" fmla="*/ 253 w 704"/>
              <a:gd name="T55" fmla="*/ 426 h 706"/>
              <a:gd name="T56" fmla="*/ 299 w 704"/>
              <a:gd name="T57" fmla="*/ 440 h 706"/>
              <a:gd name="T58" fmla="*/ 335 w 704"/>
              <a:gd name="T59" fmla="*/ 477 h 706"/>
              <a:gd name="T60" fmla="*/ 249 w 704"/>
              <a:gd name="T61" fmla="*/ 564 h 706"/>
              <a:gd name="T62" fmla="*/ 401 w 704"/>
              <a:gd name="T63" fmla="*/ 652 h 706"/>
              <a:gd name="T64" fmla="*/ 401 w 704"/>
              <a:gd name="T65" fmla="*/ 477 h 706"/>
              <a:gd name="T66" fmla="*/ 365 w 704"/>
              <a:gd name="T67" fmla="*/ 440 h 706"/>
              <a:gd name="T68" fmla="*/ 418 w 704"/>
              <a:gd name="T69" fmla="*/ 409 h 706"/>
              <a:gd name="T70" fmla="*/ 432 w 704"/>
              <a:gd name="T71" fmla="*/ 458 h 706"/>
              <a:gd name="T72" fmla="*/ 584 w 704"/>
              <a:gd name="T73" fmla="*/ 547 h 706"/>
              <a:gd name="T74" fmla="*/ 584 w 704"/>
              <a:gd name="T75" fmla="*/ 371 h 706"/>
              <a:gd name="T76" fmla="*/ 500 w 704"/>
              <a:gd name="T77" fmla="*/ 190 h 706"/>
              <a:gd name="T78" fmla="*/ 600 w 704"/>
              <a:gd name="T79" fmla="*/ 247 h 706"/>
              <a:gd name="T80" fmla="*/ 500 w 704"/>
              <a:gd name="T81" fmla="*/ 305 h 706"/>
              <a:gd name="T82" fmla="*/ 500 w 704"/>
              <a:gd name="T83" fmla="*/ 190 h 706"/>
              <a:gd name="T84" fmla="*/ 283 w 704"/>
              <a:gd name="T85" fmla="*/ 141 h 706"/>
              <a:gd name="T86" fmla="*/ 384 w 704"/>
              <a:gd name="T87" fmla="*/ 83 h 706"/>
              <a:gd name="T88" fmla="*/ 384 w 704"/>
              <a:gd name="T89" fmla="*/ 198 h 706"/>
              <a:gd name="T90" fmla="*/ 203 w 704"/>
              <a:gd name="T91" fmla="*/ 305 h 706"/>
              <a:gd name="T92" fmla="*/ 104 w 704"/>
              <a:gd name="T93" fmla="*/ 247 h 706"/>
              <a:gd name="T94" fmla="*/ 203 w 704"/>
              <a:gd name="T95" fmla="*/ 190 h 706"/>
              <a:gd name="T96" fmla="*/ 203 w 704"/>
              <a:gd name="T97" fmla="*/ 305 h 706"/>
              <a:gd name="T98" fmla="*/ 137 w 704"/>
              <a:gd name="T99" fmla="*/ 516 h 706"/>
              <a:gd name="T100" fmla="*/ 137 w 704"/>
              <a:gd name="T101" fmla="*/ 401 h 706"/>
              <a:gd name="T102" fmla="*/ 236 w 704"/>
              <a:gd name="T103" fmla="*/ 458 h 706"/>
              <a:gd name="T104" fmla="*/ 384 w 704"/>
              <a:gd name="T105" fmla="*/ 506 h 706"/>
              <a:gd name="T106" fmla="*/ 384 w 704"/>
              <a:gd name="T107" fmla="*/ 621 h 706"/>
              <a:gd name="T108" fmla="*/ 283 w 704"/>
              <a:gd name="T109" fmla="*/ 564 h 706"/>
              <a:gd name="T110" fmla="*/ 384 w 704"/>
              <a:gd name="T111" fmla="*/ 506 h 706"/>
              <a:gd name="T112" fmla="*/ 316 w 704"/>
              <a:gd name="T113" fmla="*/ 411 h 706"/>
              <a:gd name="T114" fmla="*/ 316 w 704"/>
              <a:gd name="T115" fmla="*/ 295 h 706"/>
              <a:gd name="T116" fmla="*/ 417 w 704"/>
              <a:gd name="T117" fmla="*/ 353 h 706"/>
              <a:gd name="T118" fmla="*/ 567 w 704"/>
              <a:gd name="T119" fmla="*/ 516 h 706"/>
              <a:gd name="T120" fmla="*/ 467 w 704"/>
              <a:gd name="T121" fmla="*/ 458 h 706"/>
              <a:gd name="T122" fmla="*/ 567 w 704"/>
              <a:gd name="T123" fmla="*/ 401 h 706"/>
              <a:gd name="T124" fmla="*/ 567 w 704"/>
              <a:gd name="T125" fmla="*/ 51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4" h="706">
                <a:moveTo>
                  <a:pt x="704" y="706"/>
                </a:moveTo>
                <a:lnTo>
                  <a:pt x="0" y="706"/>
                </a:lnTo>
                <a:lnTo>
                  <a:pt x="0" y="0"/>
                </a:lnTo>
                <a:lnTo>
                  <a:pt x="704" y="0"/>
                </a:lnTo>
                <a:lnTo>
                  <a:pt x="704" y="706"/>
                </a:lnTo>
                <a:close/>
                <a:moveTo>
                  <a:pt x="29" y="675"/>
                </a:moveTo>
                <a:lnTo>
                  <a:pt x="673" y="675"/>
                </a:lnTo>
                <a:lnTo>
                  <a:pt x="673" y="29"/>
                </a:lnTo>
                <a:lnTo>
                  <a:pt x="29" y="29"/>
                </a:lnTo>
                <a:lnTo>
                  <a:pt x="29" y="675"/>
                </a:lnTo>
                <a:close/>
                <a:moveTo>
                  <a:pt x="483" y="371"/>
                </a:moveTo>
                <a:lnTo>
                  <a:pt x="465" y="402"/>
                </a:lnTo>
                <a:lnTo>
                  <a:pt x="434" y="384"/>
                </a:lnTo>
                <a:lnTo>
                  <a:pt x="451" y="353"/>
                </a:lnTo>
                <a:lnTo>
                  <a:pt x="434" y="322"/>
                </a:lnTo>
                <a:lnTo>
                  <a:pt x="465" y="304"/>
                </a:lnTo>
                <a:lnTo>
                  <a:pt x="483" y="335"/>
                </a:lnTo>
                <a:lnTo>
                  <a:pt x="584" y="335"/>
                </a:lnTo>
                <a:lnTo>
                  <a:pt x="634" y="247"/>
                </a:lnTo>
                <a:lnTo>
                  <a:pt x="584" y="159"/>
                </a:lnTo>
                <a:lnTo>
                  <a:pt x="483" y="159"/>
                </a:lnTo>
                <a:lnTo>
                  <a:pt x="432" y="247"/>
                </a:lnTo>
                <a:lnTo>
                  <a:pt x="450" y="278"/>
                </a:lnTo>
                <a:lnTo>
                  <a:pt x="418" y="295"/>
                </a:lnTo>
                <a:lnTo>
                  <a:pt x="401" y="265"/>
                </a:lnTo>
                <a:lnTo>
                  <a:pt x="365" y="265"/>
                </a:lnTo>
                <a:lnTo>
                  <a:pt x="365" y="229"/>
                </a:lnTo>
                <a:lnTo>
                  <a:pt x="401" y="229"/>
                </a:lnTo>
                <a:lnTo>
                  <a:pt x="451" y="141"/>
                </a:lnTo>
                <a:lnTo>
                  <a:pt x="401" y="54"/>
                </a:lnTo>
                <a:lnTo>
                  <a:pt x="299" y="54"/>
                </a:lnTo>
                <a:lnTo>
                  <a:pt x="249" y="141"/>
                </a:lnTo>
                <a:lnTo>
                  <a:pt x="299" y="229"/>
                </a:lnTo>
                <a:lnTo>
                  <a:pt x="335" y="229"/>
                </a:lnTo>
                <a:lnTo>
                  <a:pt x="335" y="265"/>
                </a:lnTo>
                <a:lnTo>
                  <a:pt x="299" y="265"/>
                </a:lnTo>
                <a:lnTo>
                  <a:pt x="282" y="295"/>
                </a:lnTo>
                <a:lnTo>
                  <a:pt x="253" y="279"/>
                </a:lnTo>
                <a:lnTo>
                  <a:pt x="271" y="247"/>
                </a:lnTo>
                <a:lnTo>
                  <a:pt x="220" y="159"/>
                </a:lnTo>
                <a:lnTo>
                  <a:pt x="120" y="159"/>
                </a:lnTo>
                <a:lnTo>
                  <a:pt x="68" y="247"/>
                </a:lnTo>
                <a:lnTo>
                  <a:pt x="120" y="335"/>
                </a:lnTo>
                <a:lnTo>
                  <a:pt x="220" y="335"/>
                </a:lnTo>
                <a:lnTo>
                  <a:pt x="237" y="305"/>
                </a:lnTo>
                <a:lnTo>
                  <a:pt x="266" y="322"/>
                </a:lnTo>
                <a:lnTo>
                  <a:pt x="249" y="353"/>
                </a:lnTo>
                <a:lnTo>
                  <a:pt x="266" y="384"/>
                </a:lnTo>
                <a:lnTo>
                  <a:pt x="237" y="401"/>
                </a:lnTo>
                <a:lnTo>
                  <a:pt x="220" y="371"/>
                </a:lnTo>
                <a:lnTo>
                  <a:pt x="120" y="371"/>
                </a:lnTo>
                <a:lnTo>
                  <a:pt x="68" y="458"/>
                </a:lnTo>
                <a:lnTo>
                  <a:pt x="120" y="547"/>
                </a:lnTo>
                <a:lnTo>
                  <a:pt x="220" y="547"/>
                </a:lnTo>
                <a:lnTo>
                  <a:pt x="271" y="458"/>
                </a:lnTo>
                <a:lnTo>
                  <a:pt x="253" y="426"/>
                </a:lnTo>
                <a:lnTo>
                  <a:pt x="282" y="409"/>
                </a:lnTo>
                <a:lnTo>
                  <a:pt x="299" y="440"/>
                </a:lnTo>
                <a:lnTo>
                  <a:pt x="335" y="440"/>
                </a:lnTo>
                <a:lnTo>
                  <a:pt x="335" y="477"/>
                </a:lnTo>
                <a:lnTo>
                  <a:pt x="299" y="477"/>
                </a:lnTo>
                <a:lnTo>
                  <a:pt x="249" y="564"/>
                </a:lnTo>
                <a:lnTo>
                  <a:pt x="299" y="652"/>
                </a:lnTo>
                <a:lnTo>
                  <a:pt x="401" y="652"/>
                </a:lnTo>
                <a:lnTo>
                  <a:pt x="451" y="564"/>
                </a:lnTo>
                <a:lnTo>
                  <a:pt x="401" y="477"/>
                </a:lnTo>
                <a:lnTo>
                  <a:pt x="365" y="477"/>
                </a:lnTo>
                <a:lnTo>
                  <a:pt x="365" y="440"/>
                </a:lnTo>
                <a:lnTo>
                  <a:pt x="401" y="440"/>
                </a:lnTo>
                <a:lnTo>
                  <a:pt x="418" y="409"/>
                </a:lnTo>
                <a:lnTo>
                  <a:pt x="450" y="428"/>
                </a:lnTo>
                <a:lnTo>
                  <a:pt x="432" y="458"/>
                </a:lnTo>
                <a:lnTo>
                  <a:pt x="483" y="547"/>
                </a:lnTo>
                <a:lnTo>
                  <a:pt x="584" y="547"/>
                </a:lnTo>
                <a:lnTo>
                  <a:pt x="634" y="458"/>
                </a:lnTo>
                <a:lnTo>
                  <a:pt x="584" y="371"/>
                </a:lnTo>
                <a:lnTo>
                  <a:pt x="483" y="371"/>
                </a:lnTo>
                <a:close/>
                <a:moveTo>
                  <a:pt x="500" y="190"/>
                </a:moveTo>
                <a:lnTo>
                  <a:pt x="567" y="190"/>
                </a:lnTo>
                <a:lnTo>
                  <a:pt x="600" y="247"/>
                </a:lnTo>
                <a:lnTo>
                  <a:pt x="567" y="305"/>
                </a:lnTo>
                <a:lnTo>
                  <a:pt x="500" y="305"/>
                </a:lnTo>
                <a:lnTo>
                  <a:pt x="467" y="247"/>
                </a:lnTo>
                <a:lnTo>
                  <a:pt x="500" y="190"/>
                </a:lnTo>
                <a:close/>
                <a:moveTo>
                  <a:pt x="316" y="198"/>
                </a:moveTo>
                <a:lnTo>
                  <a:pt x="283" y="141"/>
                </a:lnTo>
                <a:lnTo>
                  <a:pt x="316" y="83"/>
                </a:lnTo>
                <a:lnTo>
                  <a:pt x="384" y="83"/>
                </a:lnTo>
                <a:lnTo>
                  <a:pt x="417" y="141"/>
                </a:lnTo>
                <a:lnTo>
                  <a:pt x="384" y="198"/>
                </a:lnTo>
                <a:lnTo>
                  <a:pt x="316" y="198"/>
                </a:lnTo>
                <a:close/>
                <a:moveTo>
                  <a:pt x="203" y="305"/>
                </a:moveTo>
                <a:lnTo>
                  <a:pt x="137" y="305"/>
                </a:lnTo>
                <a:lnTo>
                  <a:pt x="104" y="247"/>
                </a:lnTo>
                <a:lnTo>
                  <a:pt x="137" y="190"/>
                </a:lnTo>
                <a:lnTo>
                  <a:pt x="203" y="190"/>
                </a:lnTo>
                <a:lnTo>
                  <a:pt x="236" y="247"/>
                </a:lnTo>
                <a:lnTo>
                  <a:pt x="203" y="305"/>
                </a:lnTo>
                <a:close/>
                <a:moveTo>
                  <a:pt x="203" y="516"/>
                </a:moveTo>
                <a:lnTo>
                  <a:pt x="137" y="516"/>
                </a:lnTo>
                <a:lnTo>
                  <a:pt x="104" y="458"/>
                </a:lnTo>
                <a:lnTo>
                  <a:pt x="137" y="401"/>
                </a:lnTo>
                <a:lnTo>
                  <a:pt x="203" y="401"/>
                </a:lnTo>
                <a:lnTo>
                  <a:pt x="236" y="458"/>
                </a:lnTo>
                <a:lnTo>
                  <a:pt x="203" y="516"/>
                </a:lnTo>
                <a:close/>
                <a:moveTo>
                  <a:pt x="384" y="506"/>
                </a:moveTo>
                <a:lnTo>
                  <a:pt x="417" y="564"/>
                </a:lnTo>
                <a:lnTo>
                  <a:pt x="384" y="621"/>
                </a:lnTo>
                <a:lnTo>
                  <a:pt x="316" y="621"/>
                </a:lnTo>
                <a:lnTo>
                  <a:pt x="283" y="564"/>
                </a:lnTo>
                <a:lnTo>
                  <a:pt x="316" y="506"/>
                </a:lnTo>
                <a:lnTo>
                  <a:pt x="384" y="506"/>
                </a:lnTo>
                <a:close/>
                <a:moveTo>
                  <a:pt x="384" y="411"/>
                </a:moveTo>
                <a:lnTo>
                  <a:pt x="316" y="411"/>
                </a:lnTo>
                <a:lnTo>
                  <a:pt x="283" y="353"/>
                </a:lnTo>
                <a:lnTo>
                  <a:pt x="316" y="295"/>
                </a:lnTo>
                <a:lnTo>
                  <a:pt x="384" y="295"/>
                </a:lnTo>
                <a:lnTo>
                  <a:pt x="417" y="353"/>
                </a:lnTo>
                <a:lnTo>
                  <a:pt x="384" y="411"/>
                </a:lnTo>
                <a:close/>
                <a:moveTo>
                  <a:pt x="567" y="516"/>
                </a:moveTo>
                <a:lnTo>
                  <a:pt x="500" y="516"/>
                </a:lnTo>
                <a:lnTo>
                  <a:pt x="467" y="458"/>
                </a:lnTo>
                <a:lnTo>
                  <a:pt x="500" y="401"/>
                </a:lnTo>
                <a:lnTo>
                  <a:pt x="567" y="401"/>
                </a:lnTo>
                <a:lnTo>
                  <a:pt x="600" y="458"/>
                </a:lnTo>
                <a:lnTo>
                  <a:pt x="567" y="516"/>
                </a:lnTo>
                <a:close/>
              </a:path>
            </a:pathLst>
          </a:custGeom>
          <a:solidFill>
            <a:srgbClr val="013476"/>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337" name="Google Shape;116;p3">
            <a:extLst>
              <a:ext uri="{FF2B5EF4-FFF2-40B4-BE49-F238E27FC236}">
                <a16:creationId xmlns:a16="http://schemas.microsoft.com/office/drawing/2014/main" id="{4D00CAAB-D0BA-43EF-8B2D-1C53CB9F66CD}"/>
              </a:ext>
            </a:extLst>
          </p:cNvPr>
          <p:cNvSpPr/>
          <p:nvPr/>
        </p:nvSpPr>
        <p:spPr>
          <a:xfrm>
            <a:off x="520090" y="213433"/>
            <a:ext cx="11071456" cy="777663"/>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spcBef>
                <a:spcPts val="0"/>
              </a:spcBef>
              <a:spcAft>
                <a:spcPts val="0"/>
              </a:spcAft>
              <a:buNone/>
            </a:pPr>
            <a:r>
              <a:rPr lang="el-GR" sz="2400" dirty="0">
                <a:solidFill>
                  <a:srgbClr val="FFFFFF"/>
                </a:solidFill>
                <a:latin typeface="Calibri"/>
                <a:ea typeface="Calibri"/>
                <a:cs typeface="Calibri"/>
                <a:sym typeface="Calibri"/>
              </a:rPr>
              <a:t>Στρατηγικοί Άξονες </a:t>
            </a:r>
            <a:endParaRPr dirty="0"/>
          </a:p>
        </p:txBody>
      </p:sp>
    </p:spTree>
    <p:extLst>
      <p:ext uri="{BB962C8B-B14F-4D97-AF65-F5344CB8AC3E}">
        <p14:creationId xmlns:p14="http://schemas.microsoft.com/office/powerpoint/2010/main" val="622760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5nyMv1tapVIry7Y4_jG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eFbEyrCQJ6lWZM0s0M7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5nyMv1tapVIry7Y4_jG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5nyMv1tapVIry7Y4_jG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5nyMv1tapVIry7Y4_jG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5nyMv1tapVIry7Y4_jG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5nyMv1tapVIry7Y4_jG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208</TotalTime>
  <Words>3049</Words>
  <Application>Microsoft Office PowerPoint</Application>
  <PresentationFormat>Widescreen</PresentationFormat>
  <Paragraphs>455</Paragraphs>
  <Slides>30</Slides>
  <Notes>29</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6" baseType="lpstr">
      <vt:lpstr>等线</vt:lpstr>
      <vt:lpstr>游ゴシック</vt:lpstr>
      <vt:lpstr>Arial</vt:lpstr>
      <vt:lpstr>Calibri</vt:lpstr>
      <vt:lpstr>Calibri Light</vt:lpstr>
      <vt:lpstr>Century Gothic</vt:lpstr>
      <vt:lpstr>Fira Sans Light</vt:lpstr>
      <vt:lpstr>Fira Sans Light Bold</vt:lpstr>
      <vt:lpstr>Fira Sans Medium Bold</vt:lpstr>
      <vt:lpstr>Georgia</vt:lpstr>
      <vt:lpstr>KPMG Extralight</vt:lpstr>
      <vt:lpstr>Migra ExtraBold</vt:lpstr>
      <vt:lpstr>Times New Roman</vt:lpstr>
      <vt:lpstr>Wingdings</vt:lpstr>
      <vt:lpstr>Office Theme</vt:lpstr>
      <vt:lpstr>think-cell Slide</vt:lpstr>
      <vt:lpstr>ΣΤΡΑΤΗΓΙΚΟ ΣΧΕΔΙΟ 2022-2025 ΕΠΙΧΕΙΡΗΣΙΑΚΟ ΣΧΕΔΙΟ 2022  Ιούλιος 2022  </vt:lpstr>
      <vt:lpstr>PowerPoint Presentation</vt:lpstr>
      <vt:lpstr>PowerPoint Presentation</vt:lpstr>
      <vt:lpstr>PowerPoint Presentation</vt:lpstr>
      <vt:lpstr>PowerPoint Presentation</vt:lpstr>
      <vt:lpstr>PowerPoint Presentation</vt:lpstr>
      <vt:lpstr>Lorem ipsum  dolor sit amet consectetu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Ορισμοί</dc:title>
  <dc:creator>user1</dc:creator>
  <cp:lastModifiedBy>ΝΠ</cp:lastModifiedBy>
  <cp:revision>293</cp:revision>
  <cp:lastPrinted>2022-07-05T09:06:19Z</cp:lastPrinted>
  <dcterms:created xsi:type="dcterms:W3CDTF">2021-11-10T12:20:41Z</dcterms:created>
  <dcterms:modified xsi:type="dcterms:W3CDTF">2022-07-07T07:44:09Z</dcterms:modified>
</cp:coreProperties>
</file>